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4.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5.xml" ContentType="application/vnd.openxmlformats-officedocument.theme+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6.xml" ContentType="application/vnd.openxmlformats-officedocument.theme+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notesSlides/notesSlide1.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2.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 id="2147483684" r:id="rId2"/>
    <p:sldMasterId id="2147483691" r:id="rId3"/>
    <p:sldMasterId id="2147483703" r:id="rId4"/>
    <p:sldMasterId id="2147483775" r:id="rId5"/>
    <p:sldMasterId id="2147483792" r:id="rId6"/>
    <p:sldMasterId id="2147483804" r:id="rId7"/>
  </p:sldMasterIdLst>
  <p:notesMasterIdLst>
    <p:notesMasterId r:id="rId34"/>
  </p:notesMasterIdLst>
  <p:sldIdLst>
    <p:sldId id="256" r:id="rId8"/>
    <p:sldId id="257" r:id="rId9"/>
    <p:sldId id="747" r:id="rId10"/>
    <p:sldId id="745" r:id="rId11"/>
    <p:sldId id="746" r:id="rId12"/>
    <p:sldId id="258" r:id="rId13"/>
    <p:sldId id="748" r:id="rId14"/>
    <p:sldId id="749" r:id="rId15"/>
    <p:sldId id="750" r:id="rId16"/>
    <p:sldId id="751" r:id="rId17"/>
    <p:sldId id="259" r:id="rId18"/>
    <p:sldId id="752" r:id="rId19"/>
    <p:sldId id="753" r:id="rId20"/>
    <p:sldId id="260" r:id="rId21"/>
    <p:sldId id="764" r:id="rId22"/>
    <p:sldId id="765" r:id="rId23"/>
    <p:sldId id="261" r:id="rId24"/>
    <p:sldId id="756" r:id="rId25"/>
    <p:sldId id="757" r:id="rId26"/>
    <p:sldId id="262" r:id="rId27"/>
    <p:sldId id="758" r:id="rId28"/>
    <p:sldId id="759" r:id="rId29"/>
    <p:sldId id="760" r:id="rId30"/>
    <p:sldId id="761" r:id="rId31"/>
    <p:sldId id="762" r:id="rId32"/>
    <p:sldId id="763" r:id="rId3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816" autoAdjust="0"/>
    <p:restoredTop sz="94660"/>
  </p:normalViewPr>
  <p:slideViewPr>
    <p:cSldViewPr snapToGrid="0">
      <p:cViewPr>
        <p:scale>
          <a:sx n="53" d="100"/>
          <a:sy n="53" d="100"/>
        </p:scale>
        <p:origin x="2586" y="114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21" Type="http://schemas.openxmlformats.org/officeDocument/2006/relationships/slide" Target="slides/slide14.xml"/><Relationship Id="rId34" Type="http://schemas.openxmlformats.org/officeDocument/2006/relationships/notesMaster" Target="notesMasters/notesMaster1.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viewProps" Target="viewProp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presProps" Target="presProps.xml"/><Relationship Id="rId8" Type="http://schemas.openxmlformats.org/officeDocument/2006/relationships/slide" Target="slides/slide1.xml"/><Relationship Id="rId3" Type="http://schemas.openxmlformats.org/officeDocument/2006/relationships/slideMaster" Target="slideMasters/slideMaster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B60BD7F-3CA3-4253-8635-C6AAD2B06ADD}" type="datetimeFigureOut">
              <a:rPr lang="en-GB" smtClean="0"/>
              <a:t>23/06/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99F5F82-4481-43C3-AD45-E250B625D763}" type="slidenum">
              <a:rPr lang="en-GB" smtClean="0"/>
              <a:t>‹#›</a:t>
            </a:fld>
            <a:endParaRPr lang="en-GB"/>
          </a:p>
        </p:txBody>
      </p:sp>
    </p:spTree>
    <p:extLst>
      <p:ext uri="{BB962C8B-B14F-4D97-AF65-F5344CB8AC3E}">
        <p14:creationId xmlns:p14="http://schemas.microsoft.com/office/powerpoint/2010/main" val="19080672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Presentation</a:t>
            </a:r>
            <a:r>
              <a:rPr lang="en-US" baseline="0" dirty="0"/>
              <a:t> as of 18.08.2020</a:t>
            </a:r>
            <a:endParaRPr lang="en-US"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CD765A-54DF-49BF-BCFD-E807B018BC89}"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3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03451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3"/>
        <p:cNvGrpSpPr/>
        <p:nvPr/>
      </p:nvGrpSpPr>
      <p:grpSpPr>
        <a:xfrm>
          <a:off x="0" y="0"/>
          <a:ext cx="0" cy="0"/>
          <a:chOff x="0" y="0"/>
          <a:chExt cx="0" cy="0"/>
        </a:xfrm>
      </p:grpSpPr>
      <p:sp>
        <p:nvSpPr>
          <p:cNvPr id="74" name="Google Shape;74;g2e7b04f8130_0_25:notes"/>
          <p:cNvSpPr>
            <a:spLocks noGrp="1" noRot="1" noChangeAspect="1"/>
          </p:cNvSpPr>
          <p:nvPr>
            <p:ph type="sldImg" idx="2"/>
          </p:nvPr>
        </p:nvSpPr>
        <p:spPr>
          <a:xfrm>
            <a:off x="3813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5" name="Google Shape;75;g2e7b04f8130_0_2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p:cNvGrpSpPr/>
        <p:nvPr/>
      </p:nvGrpSpPr>
      <p:grpSpPr>
        <a:xfrm>
          <a:off x="0" y="0"/>
          <a:ext cx="0" cy="0"/>
          <a:chOff x="0" y="0"/>
          <a:chExt cx="0" cy="0"/>
        </a:xfrm>
      </p:grpSpPr>
      <p:sp>
        <p:nvSpPr>
          <p:cNvPr id="86" name="Google Shape;86;g2e7b04f8130_0_47:notes"/>
          <p:cNvSpPr>
            <a:spLocks noGrp="1" noRot="1" noChangeAspect="1"/>
          </p:cNvSpPr>
          <p:nvPr>
            <p:ph type="sldImg" idx="2"/>
          </p:nvPr>
        </p:nvSpPr>
        <p:spPr>
          <a:xfrm>
            <a:off x="3813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7" name="Google Shape;87;g2e7b04f8130_0_4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7"/>
        <p:cNvGrpSpPr/>
        <p:nvPr/>
      </p:nvGrpSpPr>
      <p:grpSpPr>
        <a:xfrm>
          <a:off x="0" y="0"/>
          <a:ext cx="0" cy="0"/>
          <a:chOff x="0" y="0"/>
          <a:chExt cx="0" cy="0"/>
        </a:xfrm>
      </p:grpSpPr>
      <p:sp>
        <p:nvSpPr>
          <p:cNvPr id="98" name="Google Shape;98;g2e7b04f8130_0_36:notes"/>
          <p:cNvSpPr>
            <a:spLocks noGrp="1" noRot="1" noChangeAspect="1"/>
          </p:cNvSpPr>
          <p:nvPr>
            <p:ph type="sldImg" idx="2"/>
          </p:nvPr>
        </p:nvSpPr>
        <p:spPr>
          <a:xfrm>
            <a:off x="3813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9" name="Google Shape;99;g2e7b04f8130_0_3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9"/>
        <p:cNvGrpSpPr/>
        <p:nvPr/>
      </p:nvGrpSpPr>
      <p:grpSpPr>
        <a:xfrm>
          <a:off x="0" y="0"/>
          <a:ext cx="0" cy="0"/>
          <a:chOff x="0" y="0"/>
          <a:chExt cx="0" cy="0"/>
        </a:xfrm>
      </p:grpSpPr>
      <p:sp>
        <p:nvSpPr>
          <p:cNvPr id="110" name="Google Shape;110;g2e7b04f8130_0_58:notes"/>
          <p:cNvSpPr>
            <a:spLocks noGrp="1" noRot="1" noChangeAspect="1"/>
          </p:cNvSpPr>
          <p:nvPr>
            <p:ph type="sldImg" idx="2"/>
          </p:nvPr>
        </p:nvSpPr>
        <p:spPr>
          <a:xfrm>
            <a:off x="3813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1" name="Google Shape;111;g2e7b04f8130_0_5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CD765A-54DF-49BF-BCFD-E807B018BC89}"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3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812837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52E89D-6633-4D6D-B3C4-874625FA6BCE}"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3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435219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97"/>
        <p:cNvGrpSpPr/>
        <p:nvPr/>
      </p:nvGrpSpPr>
      <p:grpSpPr>
        <a:xfrm>
          <a:off x="0" y="0"/>
          <a:ext cx="0" cy="0"/>
          <a:chOff x="0" y="0"/>
          <a:chExt cx="0" cy="0"/>
        </a:xfrm>
      </p:grpSpPr>
      <p:sp>
        <p:nvSpPr>
          <p:cNvPr id="2898" name="Google Shape;2898;p: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899" name="Google Shape;2899;p: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GB">
                <a:solidFill>
                  <a:srgbClr val="222222"/>
                </a:solidFill>
                <a:highlight>
                  <a:srgbClr val="FFFFFF"/>
                </a:highlight>
              </a:rPr>
              <a:t>In 2017 I began a PhD at the University of Sheffield studying photon induced WW boson production at the ATLAS experiment. I had a teaching scholarship at the University so I spent several hours a week teaching the first year undergraduate maths course alongside my research. As a PhD student, I developed my understanding of statistics and data science and contributed to the significant observation (8.4 sig) of photon-induced WW boson production in 2020. After submitting my thesis and gaining my PhD, I decided that I wanted to take a step away from academia in search of something more people-focussed. I leant into my teaching skills and worked as a tutor for a while, before finding a job as a Data Coach at a company called "Multiverse". Multiverse is a scale-up company that offers digital apprenticeships to a mix of career starters and career builders. My role is largely guiding and coaching apprentices through their Level 4 Data Analyst apprenticeship, however the fast-paced nature of a scale-up organisation means that no day is ever the same. We are driven by the needs of our clients, which means I have the opportunity to stay in touch with the latest data science tools and techniques industry. Whilst some days I spend my time teaching and coaching, other days I am applying my data skills to improve processes and identify strategies. I enjoy this role because it has a good mix of people-facing tasks and analytical tasks. </a:t>
            </a:r>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07"/>
        <p:cNvGrpSpPr/>
        <p:nvPr/>
      </p:nvGrpSpPr>
      <p:grpSpPr>
        <a:xfrm>
          <a:off x="0" y="0"/>
          <a:ext cx="0" cy="0"/>
          <a:chOff x="0" y="0"/>
          <a:chExt cx="0" cy="0"/>
        </a:xfrm>
      </p:grpSpPr>
      <p:sp>
        <p:nvSpPr>
          <p:cNvPr id="2908" name="Google Shape;2908;g2e6d9169be1_0_289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909" name="Google Shape;2909;g2e6d9169be1_0_289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b="0" i="1" dirty="0">
                <a:solidFill>
                  <a:srgbClr val="000000"/>
                </a:solidFill>
                <a:effectLst/>
                <a:latin typeface="Arial" panose="020B0604020202020204" pitchFamily="34" charset="0"/>
              </a:rPr>
              <a:t>The Civil Service supports the government of the day to implement its policies effectively on behalf of every community across the UK. From benefits and pensions to employment services, prisons to driving licenses, our work touches every aspect of UK life.</a:t>
            </a:r>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1ECAB90-98C6-4A7A-820D-9D4871E34D3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5815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0" i="1" dirty="0">
                <a:solidFill>
                  <a:srgbClr val="000000"/>
                </a:solidFill>
                <a:effectLst/>
                <a:latin typeface="Arial" panose="020B0604020202020204" pitchFamily="34" charset="0"/>
              </a:rPr>
              <a:t>Our award-winning Fast Stream programme accelerates careers, developing talented, high-potential people into future Civil Service leaders and managers.</a:t>
            </a:r>
          </a:p>
          <a:p>
            <a:endParaRPr lang="en-GB" sz="1200" i="1" dirty="0"/>
          </a:p>
          <a:p>
            <a:r>
              <a:rPr lang="en-GB" sz="1200" i="1" dirty="0"/>
              <a:t>Fast Stream, Mainstream and Civil Service Job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1ECAB90-98C6-4A7A-820D-9D4871E34D3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123831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
        <p:cNvGrpSpPr/>
        <p:nvPr/>
      </p:nvGrpSpPr>
      <p:grpSpPr>
        <a:xfrm>
          <a:off x="0" y="0"/>
          <a:ext cx="0" cy="0"/>
          <a:chOff x="0" y="0"/>
          <a:chExt cx="0" cy="0"/>
        </a:xfrm>
      </p:grpSpPr>
      <p:sp>
        <p:nvSpPr>
          <p:cNvPr id="51" name="Google Shape;51;g2d0732f4df3_0_0:notes"/>
          <p:cNvSpPr>
            <a:spLocks noGrp="1" noRot="1" noChangeAspect="1"/>
          </p:cNvSpPr>
          <p:nvPr>
            <p:ph type="sldImg" idx="2"/>
          </p:nvPr>
        </p:nvSpPr>
        <p:spPr>
          <a:xfrm>
            <a:off x="3813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2" name="Google Shape;52;g2d0732f4df3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8"/>
        <p:cNvGrpSpPr/>
        <p:nvPr/>
      </p:nvGrpSpPr>
      <p:grpSpPr>
        <a:xfrm>
          <a:off x="0" y="0"/>
          <a:ext cx="0" cy="0"/>
          <a:chOff x="0" y="0"/>
          <a:chExt cx="0" cy="0"/>
        </a:xfrm>
      </p:grpSpPr>
      <p:sp>
        <p:nvSpPr>
          <p:cNvPr id="59" name="Google Shape;59;g2e2be075a81_0_191:notes"/>
          <p:cNvSpPr>
            <a:spLocks noGrp="1" noRot="1" noChangeAspect="1"/>
          </p:cNvSpPr>
          <p:nvPr>
            <p:ph type="sldImg" idx="2"/>
          </p:nvPr>
        </p:nvSpPr>
        <p:spPr>
          <a:xfrm>
            <a:off x="3813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0" name="Google Shape;60;g2e2be075a81_0_19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3.jpe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emf"/><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4.jpe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11.xml"/><Relationship Id="rId6" Type="http://schemas.openxmlformats.org/officeDocument/2006/relationships/image" Target="../media/image2.emf"/><Relationship Id="rId5" Type="http://schemas.openxmlformats.org/officeDocument/2006/relationships/image" Target="../media/image5.jpeg"/><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F5B510-DABE-B549-44A8-896BB058569A}"/>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p>
        </p:txBody>
      </p:sp>
      <p:sp>
        <p:nvSpPr>
          <p:cNvPr id="3" name="Subtitle 2">
            <a:extLst>
              <a:ext uri="{FF2B5EF4-FFF2-40B4-BE49-F238E27FC236}">
                <a16:creationId xmlns:a16="http://schemas.microsoft.com/office/drawing/2014/main" id="{4DFA6D81-3173-0430-E729-CB70EA43000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4" name="Date Placeholder 3">
            <a:extLst>
              <a:ext uri="{FF2B5EF4-FFF2-40B4-BE49-F238E27FC236}">
                <a16:creationId xmlns:a16="http://schemas.microsoft.com/office/drawing/2014/main" id="{2F50C2AD-0D32-AA93-0936-8F64E3D10691}"/>
              </a:ext>
            </a:extLst>
          </p:cNvPr>
          <p:cNvSpPr>
            <a:spLocks noGrp="1"/>
          </p:cNvSpPr>
          <p:nvPr>
            <p:ph type="dt" sz="half" idx="10"/>
          </p:nvPr>
        </p:nvSpPr>
        <p:spPr/>
        <p:txBody>
          <a:bodyPr/>
          <a:lstStyle/>
          <a:p>
            <a:fld id="{923CFB00-16CD-4A5D-8353-B2F2FFED28E8}" type="datetimeFigureOut">
              <a:rPr lang="en-GB" smtClean="0"/>
              <a:t>23/06/2024</a:t>
            </a:fld>
            <a:endParaRPr lang="en-GB"/>
          </a:p>
        </p:txBody>
      </p:sp>
      <p:sp>
        <p:nvSpPr>
          <p:cNvPr id="5" name="Footer Placeholder 4">
            <a:extLst>
              <a:ext uri="{FF2B5EF4-FFF2-40B4-BE49-F238E27FC236}">
                <a16:creationId xmlns:a16="http://schemas.microsoft.com/office/drawing/2014/main" id="{AC2AAEB0-4160-58B3-6C50-4590C6F1A2E0}"/>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D6FBCEFA-54E9-0A61-E164-E7206FFE1CD9}"/>
              </a:ext>
            </a:extLst>
          </p:cNvPr>
          <p:cNvSpPr>
            <a:spLocks noGrp="1"/>
          </p:cNvSpPr>
          <p:nvPr>
            <p:ph type="sldNum" sz="quarter" idx="12"/>
          </p:nvPr>
        </p:nvSpPr>
        <p:spPr/>
        <p:txBody>
          <a:bodyPr/>
          <a:lstStyle/>
          <a:p>
            <a:fld id="{140D1FED-518D-4FB4-BCAB-05C56058F68A}" type="slidenum">
              <a:rPr lang="en-GB" smtClean="0"/>
              <a:t>‹#›</a:t>
            </a:fld>
            <a:endParaRPr lang="en-GB"/>
          </a:p>
        </p:txBody>
      </p:sp>
    </p:spTree>
    <p:extLst>
      <p:ext uri="{BB962C8B-B14F-4D97-AF65-F5344CB8AC3E}">
        <p14:creationId xmlns:p14="http://schemas.microsoft.com/office/powerpoint/2010/main" val="5752815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2EB8C5-2A27-A653-FA38-B7ABD8BD0330}"/>
              </a:ext>
            </a:extLst>
          </p:cNvPr>
          <p:cNvSpPr>
            <a:spLocks noGrp="1"/>
          </p:cNvSpPr>
          <p:nvPr>
            <p:ph type="title"/>
          </p:nvPr>
        </p:nvSpPr>
        <p:spPr/>
        <p:txBody>
          <a:bodyPr/>
          <a:lstStyle/>
          <a:p>
            <a:r>
              <a:rPr lang="en-GB"/>
              <a:t>Click to edit Master title style</a:t>
            </a:r>
          </a:p>
        </p:txBody>
      </p:sp>
      <p:sp>
        <p:nvSpPr>
          <p:cNvPr id="3" name="Vertical Text Placeholder 2">
            <a:extLst>
              <a:ext uri="{FF2B5EF4-FFF2-40B4-BE49-F238E27FC236}">
                <a16:creationId xmlns:a16="http://schemas.microsoft.com/office/drawing/2014/main" id="{49EF0DED-AB49-0FD6-D676-8DEE7A8130A4}"/>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B9D2757B-A444-C355-3D31-AC16D6003F94}"/>
              </a:ext>
            </a:extLst>
          </p:cNvPr>
          <p:cNvSpPr>
            <a:spLocks noGrp="1"/>
          </p:cNvSpPr>
          <p:nvPr>
            <p:ph type="dt" sz="half" idx="10"/>
          </p:nvPr>
        </p:nvSpPr>
        <p:spPr/>
        <p:txBody>
          <a:bodyPr/>
          <a:lstStyle/>
          <a:p>
            <a:fld id="{923CFB00-16CD-4A5D-8353-B2F2FFED28E8}" type="datetimeFigureOut">
              <a:rPr lang="en-GB" smtClean="0"/>
              <a:t>23/06/2024</a:t>
            </a:fld>
            <a:endParaRPr lang="en-GB"/>
          </a:p>
        </p:txBody>
      </p:sp>
      <p:sp>
        <p:nvSpPr>
          <p:cNvPr id="5" name="Footer Placeholder 4">
            <a:extLst>
              <a:ext uri="{FF2B5EF4-FFF2-40B4-BE49-F238E27FC236}">
                <a16:creationId xmlns:a16="http://schemas.microsoft.com/office/drawing/2014/main" id="{A8513CDA-EA8E-F6AE-0381-77593818FC5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A4FF9D8A-1D80-2715-78F6-EC8ACA93C8D6}"/>
              </a:ext>
            </a:extLst>
          </p:cNvPr>
          <p:cNvSpPr>
            <a:spLocks noGrp="1"/>
          </p:cNvSpPr>
          <p:nvPr>
            <p:ph type="sldNum" sz="quarter" idx="12"/>
          </p:nvPr>
        </p:nvSpPr>
        <p:spPr/>
        <p:txBody>
          <a:bodyPr/>
          <a:lstStyle/>
          <a:p>
            <a:fld id="{140D1FED-518D-4FB4-BCAB-05C56058F68A}" type="slidenum">
              <a:rPr lang="en-GB" smtClean="0"/>
              <a:t>‹#›</a:t>
            </a:fld>
            <a:endParaRPr lang="en-GB"/>
          </a:p>
        </p:txBody>
      </p:sp>
    </p:spTree>
    <p:extLst>
      <p:ext uri="{BB962C8B-B14F-4D97-AF65-F5344CB8AC3E}">
        <p14:creationId xmlns:p14="http://schemas.microsoft.com/office/powerpoint/2010/main" val="286077984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32" name="Straight Connector 31"/>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4"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Isosceles Triangle 26"/>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0"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31" name="Isosceles Triangle 30"/>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9" name="Isosceles Triangle 18"/>
            <p:cNvSpPr/>
            <p:nvPr/>
          </p:nvSpPr>
          <p:spPr>
            <a:xfrm rot="10800000">
              <a:off x="0" y="0"/>
              <a:ext cx="842596" cy="5666154"/>
            </a:xfrm>
            <a:prstGeom prst="triangle">
              <a:avLst>
                <a:gd name="adj" fmla="val 10000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ctrTitle"/>
          </p:nvPr>
        </p:nvSpPr>
        <p:spPr>
          <a:xfrm>
            <a:off x="1507067" y="2404534"/>
            <a:ext cx="7766936" cy="1646302"/>
          </a:xfrm>
        </p:spPr>
        <p:txBody>
          <a:bodyPr anchor="b">
            <a:noAutofit/>
          </a:bodyPr>
          <a:lstStyle>
            <a:lvl1pPr algn="r">
              <a:defRPr sz="5400">
                <a:solidFill>
                  <a:schemeClr val="accent1"/>
                </a:solidFill>
              </a:defRPr>
            </a:lvl1pPr>
          </a:lstStyle>
          <a:p>
            <a:r>
              <a:rPr lang="en-GB"/>
              <a:t>Click to edit Master title style</a:t>
            </a:r>
            <a:endParaRPr lang="en-US" dirty="0"/>
          </a:p>
        </p:txBody>
      </p:sp>
      <p:sp>
        <p:nvSpPr>
          <p:cNvPr id="3" name="Subtitle 2"/>
          <p:cNvSpPr>
            <a:spLocks noGrp="1"/>
          </p:cNvSpPr>
          <p:nvPr>
            <p:ph type="subTitle" idx="1"/>
          </p:nvPr>
        </p:nvSpPr>
        <p:spPr>
          <a:xfrm>
            <a:off x="1507067" y="4050833"/>
            <a:ext cx="7766936" cy="1096899"/>
          </a:xfrm>
        </p:spPr>
        <p:txBody>
          <a:bodyPr anchor="t"/>
          <a:lstStyle>
            <a:lvl1pPr marL="0" indent="0" algn="r">
              <a:buNone/>
              <a:defRPr>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edit Master subtitle style</a:t>
            </a:r>
            <a:endParaRPr lang="en-US" dirty="0"/>
          </a:p>
        </p:txBody>
      </p:sp>
      <p:sp>
        <p:nvSpPr>
          <p:cNvPr id="4" name="Date Placeholder 3"/>
          <p:cNvSpPr>
            <a:spLocks noGrp="1"/>
          </p:cNvSpPr>
          <p:nvPr>
            <p:ph type="dt" sz="half" idx="10"/>
          </p:nvPr>
        </p:nvSpPr>
        <p:spPr/>
        <p:txBody>
          <a:bodyPr/>
          <a:lstStyle/>
          <a:p>
            <a:fld id="{65681DF2-9414-453D-AEBD-942B0A5AEB8E}" type="datetimeFigureOut">
              <a:rPr lang="en-GB" smtClean="0"/>
              <a:t>23/06/2024</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0FD5D1F4-30DC-4E3A-978A-8E7DE87D4386}" type="slidenum">
              <a:rPr lang="en-GB" smtClean="0"/>
              <a:t>‹#›</a:t>
            </a:fld>
            <a:endParaRPr lang="en-GB"/>
          </a:p>
        </p:txBody>
      </p:sp>
    </p:spTree>
    <p:extLst>
      <p:ext uri="{BB962C8B-B14F-4D97-AF65-F5344CB8AC3E}">
        <p14:creationId xmlns:p14="http://schemas.microsoft.com/office/powerpoint/2010/main" val="293098689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600"/>
            </a:lvl1pPr>
          </a:lstStyle>
          <a:p>
            <a:r>
              <a:rPr lang="en-GB"/>
              <a:t>Click to edit Master title style</a:t>
            </a:r>
            <a:endParaRPr lang="en-US" dirty="0"/>
          </a:p>
        </p:txBody>
      </p:sp>
      <p:sp>
        <p:nvSpPr>
          <p:cNvPr id="3" name="Content Placeholder 2"/>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Date Placeholder 3"/>
          <p:cNvSpPr>
            <a:spLocks noGrp="1"/>
          </p:cNvSpPr>
          <p:nvPr>
            <p:ph type="dt" sz="half" idx="10"/>
          </p:nvPr>
        </p:nvSpPr>
        <p:spPr/>
        <p:txBody>
          <a:bodyPr/>
          <a:lstStyle/>
          <a:p>
            <a:fld id="{65681DF2-9414-453D-AEBD-942B0A5AEB8E}" type="datetimeFigureOut">
              <a:rPr lang="en-GB" smtClean="0"/>
              <a:t>23/06/2024</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0FD5D1F4-30DC-4E3A-978A-8E7DE87D4386}" type="slidenum">
              <a:rPr lang="en-GB" smtClean="0"/>
              <a:t>‹#›</a:t>
            </a:fld>
            <a:endParaRPr lang="en-GB"/>
          </a:p>
        </p:txBody>
      </p:sp>
    </p:spTree>
    <p:extLst>
      <p:ext uri="{BB962C8B-B14F-4D97-AF65-F5344CB8AC3E}">
        <p14:creationId xmlns:p14="http://schemas.microsoft.com/office/powerpoint/2010/main" val="140651462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7335" y="2700867"/>
            <a:ext cx="8596668" cy="1826581"/>
          </a:xfrm>
        </p:spPr>
        <p:txBody>
          <a:bodyPr anchor="b"/>
          <a:lstStyle>
            <a:lvl1pPr algn="l">
              <a:defRPr sz="4000" b="0" cap="none"/>
            </a:lvl1pPr>
          </a:lstStyle>
          <a:p>
            <a:r>
              <a:rPr lang="en-GB"/>
              <a:t>Click to edit Master title style</a:t>
            </a:r>
            <a:endParaRPr lang="en-US" dirty="0"/>
          </a:p>
        </p:txBody>
      </p:sp>
      <p:sp>
        <p:nvSpPr>
          <p:cNvPr id="3" name="Text Placeholder 2"/>
          <p:cNvSpPr>
            <a:spLocks noGrp="1"/>
          </p:cNvSpPr>
          <p:nvPr>
            <p:ph type="body" idx="1"/>
          </p:nvPr>
        </p:nvSpPr>
        <p:spPr>
          <a:xfrm>
            <a:off x="677335" y="4527448"/>
            <a:ext cx="8596668" cy="860400"/>
          </a:xfrm>
        </p:spPr>
        <p:txBody>
          <a:bodyPr anchor="t"/>
          <a:lstStyle>
            <a:lvl1pPr marL="0" indent="0" algn="l">
              <a:buNone/>
              <a:defRPr sz="20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a:t>Click to edit Master text styles</a:t>
            </a:r>
          </a:p>
        </p:txBody>
      </p:sp>
      <p:sp>
        <p:nvSpPr>
          <p:cNvPr id="4" name="Date Placeholder 3"/>
          <p:cNvSpPr>
            <a:spLocks noGrp="1"/>
          </p:cNvSpPr>
          <p:nvPr>
            <p:ph type="dt" sz="half" idx="10"/>
          </p:nvPr>
        </p:nvSpPr>
        <p:spPr/>
        <p:txBody>
          <a:bodyPr/>
          <a:lstStyle/>
          <a:p>
            <a:fld id="{65681DF2-9414-453D-AEBD-942B0A5AEB8E}" type="datetimeFigureOut">
              <a:rPr lang="en-GB" smtClean="0"/>
              <a:t>23/06/2024</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0FD5D1F4-30DC-4E3A-978A-8E7DE87D4386}" type="slidenum">
              <a:rPr lang="en-GB" smtClean="0"/>
              <a:t>‹#›</a:t>
            </a:fld>
            <a:endParaRPr lang="en-GB"/>
          </a:p>
        </p:txBody>
      </p:sp>
    </p:spTree>
    <p:extLst>
      <p:ext uri="{BB962C8B-B14F-4D97-AF65-F5344CB8AC3E}">
        <p14:creationId xmlns:p14="http://schemas.microsoft.com/office/powerpoint/2010/main" val="2151821354"/>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dirty="0"/>
          </a:p>
        </p:txBody>
      </p:sp>
      <p:sp>
        <p:nvSpPr>
          <p:cNvPr id="3" name="Content Placeholder 2"/>
          <p:cNvSpPr>
            <a:spLocks noGrp="1"/>
          </p:cNvSpPr>
          <p:nvPr>
            <p:ph sz="half" idx="1"/>
          </p:nvPr>
        </p:nvSpPr>
        <p:spPr>
          <a:xfrm>
            <a:off x="677334" y="2160589"/>
            <a:ext cx="4184035" cy="388077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Content Placeholder 3"/>
          <p:cNvSpPr>
            <a:spLocks noGrp="1"/>
          </p:cNvSpPr>
          <p:nvPr>
            <p:ph sz="half" idx="2"/>
          </p:nvPr>
        </p:nvSpPr>
        <p:spPr>
          <a:xfrm>
            <a:off x="5089970" y="2160589"/>
            <a:ext cx="4184034" cy="3880773"/>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5" name="Date Placeholder 4"/>
          <p:cNvSpPr>
            <a:spLocks noGrp="1"/>
          </p:cNvSpPr>
          <p:nvPr>
            <p:ph type="dt" sz="half" idx="10"/>
          </p:nvPr>
        </p:nvSpPr>
        <p:spPr/>
        <p:txBody>
          <a:bodyPr/>
          <a:lstStyle/>
          <a:p>
            <a:fld id="{65681DF2-9414-453D-AEBD-942B0A5AEB8E}" type="datetimeFigureOut">
              <a:rPr lang="en-GB" smtClean="0"/>
              <a:t>23/06/2024</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0FD5D1F4-30DC-4E3A-978A-8E7DE87D4386}" type="slidenum">
              <a:rPr lang="en-GB" smtClean="0"/>
              <a:t>‹#›</a:t>
            </a:fld>
            <a:endParaRPr lang="en-GB"/>
          </a:p>
        </p:txBody>
      </p:sp>
    </p:spTree>
    <p:extLst>
      <p:ext uri="{BB962C8B-B14F-4D97-AF65-F5344CB8AC3E}">
        <p14:creationId xmlns:p14="http://schemas.microsoft.com/office/powerpoint/2010/main" val="3329558626"/>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GB"/>
              <a:t>Click to edit Master title style</a:t>
            </a:r>
            <a:endParaRPr lang="en-US" dirty="0"/>
          </a:p>
        </p:txBody>
      </p:sp>
      <p:sp>
        <p:nvSpPr>
          <p:cNvPr id="3" name="Text Placeholder 2"/>
          <p:cNvSpPr>
            <a:spLocks noGrp="1"/>
          </p:cNvSpPr>
          <p:nvPr>
            <p:ph type="body" idx="1"/>
          </p:nvPr>
        </p:nvSpPr>
        <p:spPr>
          <a:xfrm>
            <a:off x="675745" y="2160983"/>
            <a:ext cx="4185623"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p:cNvSpPr>
            <a:spLocks noGrp="1"/>
          </p:cNvSpPr>
          <p:nvPr>
            <p:ph sz="half" idx="2"/>
          </p:nvPr>
        </p:nvSpPr>
        <p:spPr>
          <a:xfrm>
            <a:off x="675745" y="2737245"/>
            <a:ext cx="4185623" cy="3304117"/>
          </a:xfrm>
        </p:spPr>
        <p:txBody>
          <a:bodyPr>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5" name="Text Placeholder 4"/>
          <p:cNvSpPr>
            <a:spLocks noGrp="1"/>
          </p:cNvSpPr>
          <p:nvPr>
            <p:ph type="body" sz="quarter" idx="3"/>
          </p:nvPr>
        </p:nvSpPr>
        <p:spPr>
          <a:xfrm>
            <a:off x="5088383" y="2160983"/>
            <a:ext cx="4185618"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p:cNvSpPr>
            <a:spLocks noGrp="1"/>
          </p:cNvSpPr>
          <p:nvPr>
            <p:ph sz="quarter" idx="4"/>
          </p:nvPr>
        </p:nvSpPr>
        <p:spPr>
          <a:xfrm>
            <a:off x="5088384" y="2737245"/>
            <a:ext cx="4185617" cy="3304117"/>
          </a:xfrm>
        </p:spPr>
        <p:txBody>
          <a:bodyPr>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7" name="Date Placeholder 6"/>
          <p:cNvSpPr>
            <a:spLocks noGrp="1"/>
          </p:cNvSpPr>
          <p:nvPr>
            <p:ph type="dt" sz="half" idx="10"/>
          </p:nvPr>
        </p:nvSpPr>
        <p:spPr/>
        <p:txBody>
          <a:bodyPr/>
          <a:lstStyle/>
          <a:p>
            <a:fld id="{65681DF2-9414-453D-AEBD-942B0A5AEB8E}" type="datetimeFigureOut">
              <a:rPr lang="en-GB" smtClean="0"/>
              <a:t>23/06/2024</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0FD5D1F4-30DC-4E3A-978A-8E7DE87D4386}" type="slidenum">
              <a:rPr lang="en-GB" smtClean="0"/>
              <a:t>‹#›</a:t>
            </a:fld>
            <a:endParaRPr lang="en-GB"/>
          </a:p>
        </p:txBody>
      </p:sp>
    </p:spTree>
    <p:extLst>
      <p:ext uri="{BB962C8B-B14F-4D97-AF65-F5344CB8AC3E}">
        <p14:creationId xmlns:p14="http://schemas.microsoft.com/office/powerpoint/2010/main" val="3373784041"/>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8596668" cy="1320800"/>
          </a:xfrm>
        </p:spPr>
        <p:txBody>
          <a:bodyPr/>
          <a:lstStyle/>
          <a:p>
            <a:r>
              <a:rPr lang="en-GB"/>
              <a:t>Click to edit Master title style</a:t>
            </a:r>
            <a:endParaRPr lang="en-US" dirty="0"/>
          </a:p>
        </p:txBody>
      </p:sp>
      <p:sp>
        <p:nvSpPr>
          <p:cNvPr id="3" name="Date Placeholder 2"/>
          <p:cNvSpPr>
            <a:spLocks noGrp="1"/>
          </p:cNvSpPr>
          <p:nvPr>
            <p:ph type="dt" sz="half" idx="10"/>
          </p:nvPr>
        </p:nvSpPr>
        <p:spPr/>
        <p:txBody>
          <a:bodyPr/>
          <a:lstStyle/>
          <a:p>
            <a:fld id="{65681DF2-9414-453D-AEBD-942B0A5AEB8E}" type="datetimeFigureOut">
              <a:rPr lang="en-GB" smtClean="0"/>
              <a:t>23/06/2024</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0FD5D1F4-30DC-4E3A-978A-8E7DE87D4386}" type="slidenum">
              <a:rPr lang="en-GB" smtClean="0"/>
              <a:t>‹#›</a:t>
            </a:fld>
            <a:endParaRPr lang="en-GB"/>
          </a:p>
        </p:txBody>
      </p:sp>
    </p:spTree>
    <p:extLst>
      <p:ext uri="{BB962C8B-B14F-4D97-AF65-F5344CB8AC3E}">
        <p14:creationId xmlns:p14="http://schemas.microsoft.com/office/powerpoint/2010/main" val="1101246997"/>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5681DF2-9414-453D-AEBD-942B0A5AEB8E}" type="datetimeFigureOut">
              <a:rPr lang="en-GB" smtClean="0"/>
              <a:t>23/06/2024</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0FD5D1F4-30DC-4E3A-978A-8E7DE87D4386}" type="slidenum">
              <a:rPr lang="en-GB" smtClean="0"/>
              <a:t>‹#›</a:t>
            </a:fld>
            <a:endParaRPr lang="en-GB"/>
          </a:p>
        </p:txBody>
      </p:sp>
    </p:spTree>
    <p:extLst>
      <p:ext uri="{BB962C8B-B14F-4D97-AF65-F5344CB8AC3E}">
        <p14:creationId xmlns:p14="http://schemas.microsoft.com/office/powerpoint/2010/main" val="19836264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1498604"/>
            <a:ext cx="3854528" cy="1278466"/>
          </a:xfrm>
        </p:spPr>
        <p:txBody>
          <a:bodyPr anchor="b">
            <a:normAutofit/>
          </a:bodyPr>
          <a:lstStyle>
            <a:lvl1pPr>
              <a:defRPr sz="2000"/>
            </a:lvl1pPr>
          </a:lstStyle>
          <a:p>
            <a:r>
              <a:rPr lang="en-GB"/>
              <a:t>Click to edit Master title style</a:t>
            </a:r>
            <a:endParaRPr lang="en-US" dirty="0"/>
          </a:p>
        </p:txBody>
      </p:sp>
      <p:sp>
        <p:nvSpPr>
          <p:cNvPr id="3" name="Content Placeholder 2"/>
          <p:cNvSpPr>
            <a:spLocks noGrp="1"/>
          </p:cNvSpPr>
          <p:nvPr>
            <p:ph idx="1"/>
          </p:nvPr>
        </p:nvSpPr>
        <p:spPr>
          <a:xfrm>
            <a:off x="4760461" y="514924"/>
            <a:ext cx="4513541" cy="5526437"/>
          </a:xfrm>
        </p:spPr>
        <p:txBody>
          <a:bodyPr>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Text Placeholder 3"/>
          <p:cNvSpPr>
            <a:spLocks noGrp="1"/>
          </p:cNvSpPr>
          <p:nvPr>
            <p:ph type="body" sz="half" idx="2"/>
          </p:nvPr>
        </p:nvSpPr>
        <p:spPr>
          <a:xfrm>
            <a:off x="677334" y="2777069"/>
            <a:ext cx="3854528" cy="2584449"/>
          </a:xfrm>
        </p:spPr>
        <p:txBody>
          <a:bodyPr>
            <a:normAutofit/>
          </a:bodyPr>
          <a:lstStyle>
            <a:lvl1pPr marL="0" indent="0">
              <a:buNone/>
              <a:defRPr sz="14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GB"/>
              <a:t>Click to edit Master text styles</a:t>
            </a:r>
          </a:p>
        </p:txBody>
      </p:sp>
      <p:sp>
        <p:nvSpPr>
          <p:cNvPr id="5" name="Date Placeholder 4"/>
          <p:cNvSpPr>
            <a:spLocks noGrp="1"/>
          </p:cNvSpPr>
          <p:nvPr>
            <p:ph type="dt" sz="half" idx="10"/>
          </p:nvPr>
        </p:nvSpPr>
        <p:spPr/>
        <p:txBody>
          <a:bodyPr/>
          <a:lstStyle/>
          <a:p>
            <a:fld id="{65681DF2-9414-453D-AEBD-942B0A5AEB8E}" type="datetimeFigureOut">
              <a:rPr lang="en-GB" smtClean="0"/>
              <a:t>23/06/2024</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0FD5D1F4-30DC-4E3A-978A-8E7DE87D4386}" type="slidenum">
              <a:rPr lang="en-GB" smtClean="0"/>
              <a:t>‹#›</a:t>
            </a:fld>
            <a:endParaRPr lang="en-GB"/>
          </a:p>
        </p:txBody>
      </p:sp>
    </p:spTree>
    <p:extLst>
      <p:ext uri="{BB962C8B-B14F-4D97-AF65-F5344CB8AC3E}">
        <p14:creationId xmlns:p14="http://schemas.microsoft.com/office/powerpoint/2010/main" val="4231567645"/>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4800600"/>
            <a:ext cx="8596667" cy="566738"/>
          </a:xfrm>
        </p:spPr>
        <p:txBody>
          <a:bodyPr anchor="b">
            <a:normAutofit/>
          </a:bodyPr>
          <a:lstStyle>
            <a:lvl1pPr algn="l">
              <a:defRPr sz="2400" b="0"/>
            </a:lvl1pPr>
          </a:lstStyle>
          <a:p>
            <a:r>
              <a:rPr lang="en-GB"/>
              <a:t>Click to edit Master title style</a:t>
            </a:r>
            <a:endParaRPr lang="en-US" dirty="0"/>
          </a:p>
        </p:txBody>
      </p:sp>
      <p:sp>
        <p:nvSpPr>
          <p:cNvPr id="3" name="Picture Placeholder 2"/>
          <p:cNvSpPr>
            <a:spLocks noGrp="1" noChangeAspect="1"/>
          </p:cNvSpPr>
          <p:nvPr>
            <p:ph type="pic" idx="1"/>
          </p:nvPr>
        </p:nvSpPr>
        <p:spPr>
          <a:xfrm>
            <a:off x="677334" y="609600"/>
            <a:ext cx="8596668" cy="3845718"/>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GB"/>
              <a:t>Click icon to add picture</a:t>
            </a:r>
            <a:endParaRPr lang="en-US" dirty="0"/>
          </a:p>
        </p:txBody>
      </p:sp>
      <p:sp>
        <p:nvSpPr>
          <p:cNvPr id="4" name="Text Placeholder 3"/>
          <p:cNvSpPr>
            <a:spLocks noGrp="1"/>
          </p:cNvSpPr>
          <p:nvPr>
            <p:ph type="body" sz="half" idx="2"/>
          </p:nvPr>
        </p:nvSpPr>
        <p:spPr>
          <a:xfrm>
            <a:off x="677334" y="5367338"/>
            <a:ext cx="8596667" cy="674024"/>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GB"/>
              <a:t>Click to edit Master text styles</a:t>
            </a:r>
          </a:p>
        </p:txBody>
      </p:sp>
      <p:sp>
        <p:nvSpPr>
          <p:cNvPr id="5" name="Date Placeholder 4"/>
          <p:cNvSpPr>
            <a:spLocks noGrp="1"/>
          </p:cNvSpPr>
          <p:nvPr>
            <p:ph type="dt" sz="half" idx="10"/>
          </p:nvPr>
        </p:nvSpPr>
        <p:spPr/>
        <p:txBody>
          <a:bodyPr/>
          <a:lstStyle/>
          <a:p>
            <a:fld id="{65681DF2-9414-453D-AEBD-942B0A5AEB8E}" type="datetimeFigureOut">
              <a:rPr lang="en-GB" smtClean="0"/>
              <a:t>23/06/2024</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0FD5D1F4-30DC-4E3A-978A-8E7DE87D4386}" type="slidenum">
              <a:rPr lang="en-GB" smtClean="0"/>
              <a:t>‹#›</a:t>
            </a:fld>
            <a:endParaRPr lang="en-GB"/>
          </a:p>
        </p:txBody>
      </p:sp>
    </p:spTree>
    <p:extLst>
      <p:ext uri="{BB962C8B-B14F-4D97-AF65-F5344CB8AC3E}">
        <p14:creationId xmlns:p14="http://schemas.microsoft.com/office/powerpoint/2010/main" val="3545064712"/>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5" y="609600"/>
            <a:ext cx="8596668" cy="3403600"/>
          </a:xfrm>
        </p:spPr>
        <p:txBody>
          <a:bodyPr anchor="ctr">
            <a:normAutofit/>
          </a:bodyPr>
          <a:lstStyle>
            <a:lvl1pPr algn="l">
              <a:defRPr sz="4400" b="0" cap="none"/>
            </a:lvl1pPr>
          </a:lstStyle>
          <a:p>
            <a:r>
              <a:rPr lang="en-GB"/>
              <a:t>Click to edit Master title style</a:t>
            </a:r>
            <a:endParaRPr lang="en-US" dirty="0"/>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a:t>Click to edit Master text styles</a:t>
            </a:r>
          </a:p>
        </p:txBody>
      </p:sp>
      <p:sp>
        <p:nvSpPr>
          <p:cNvPr id="4" name="Date Placeholder 3"/>
          <p:cNvSpPr>
            <a:spLocks noGrp="1"/>
          </p:cNvSpPr>
          <p:nvPr>
            <p:ph type="dt" sz="half" idx="10"/>
          </p:nvPr>
        </p:nvSpPr>
        <p:spPr/>
        <p:txBody>
          <a:bodyPr/>
          <a:lstStyle/>
          <a:p>
            <a:fld id="{65681DF2-9414-453D-AEBD-942B0A5AEB8E}" type="datetimeFigureOut">
              <a:rPr lang="en-GB" smtClean="0"/>
              <a:t>23/06/2024</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0FD5D1F4-30DC-4E3A-978A-8E7DE87D4386}" type="slidenum">
              <a:rPr lang="en-GB" smtClean="0"/>
              <a:t>‹#›</a:t>
            </a:fld>
            <a:endParaRPr lang="en-GB"/>
          </a:p>
        </p:txBody>
      </p:sp>
    </p:spTree>
    <p:extLst>
      <p:ext uri="{BB962C8B-B14F-4D97-AF65-F5344CB8AC3E}">
        <p14:creationId xmlns:p14="http://schemas.microsoft.com/office/powerpoint/2010/main" val="284115643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1C7D407-6F8C-20D0-0757-B0835E6BFE25}"/>
              </a:ext>
            </a:extLst>
          </p:cNvPr>
          <p:cNvSpPr>
            <a:spLocks noGrp="1"/>
          </p:cNvSpPr>
          <p:nvPr>
            <p:ph type="title" orient="vert"/>
          </p:nvPr>
        </p:nvSpPr>
        <p:spPr>
          <a:xfrm>
            <a:off x="8724900" y="365125"/>
            <a:ext cx="2628900" cy="5811838"/>
          </a:xfrm>
        </p:spPr>
        <p:txBody>
          <a:bodyPr vert="eaVert"/>
          <a:lstStyle/>
          <a:p>
            <a:r>
              <a:rPr lang="en-GB"/>
              <a:t>Click to edit Master title style</a:t>
            </a:r>
          </a:p>
        </p:txBody>
      </p:sp>
      <p:sp>
        <p:nvSpPr>
          <p:cNvPr id="3" name="Vertical Text Placeholder 2">
            <a:extLst>
              <a:ext uri="{FF2B5EF4-FFF2-40B4-BE49-F238E27FC236}">
                <a16:creationId xmlns:a16="http://schemas.microsoft.com/office/drawing/2014/main" id="{48A1F377-1494-DF0F-6192-3D0FF76C879A}"/>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68533A11-3967-0783-C2E9-34DFA6BAC2F8}"/>
              </a:ext>
            </a:extLst>
          </p:cNvPr>
          <p:cNvSpPr>
            <a:spLocks noGrp="1"/>
          </p:cNvSpPr>
          <p:nvPr>
            <p:ph type="dt" sz="half" idx="10"/>
          </p:nvPr>
        </p:nvSpPr>
        <p:spPr/>
        <p:txBody>
          <a:bodyPr/>
          <a:lstStyle/>
          <a:p>
            <a:fld id="{923CFB00-16CD-4A5D-8353-B2F2FFED28E8}" type="datetimeFigureOut">
              <a:rPr lang="en-GB" smtClean="0"/>
              <a:t>23/06/2024</a:t>
            </a:fld>
            <a:endParaRPr lang="en-GB"/>
          </a:p>
        </p:txBody>
      </p:sp>
      <p:sp>
        <p:nvSpPr>
          <p:cNvPr id="5" name="Footer Placeholder 4">
            <a:extLst>
              <a:ext uri="{FF2B5EF4-FFF2-40B4-BE49-F238E27FC236}">
                <a16:creationId xmlns:a16="http://schemas.microsoft.com/office/drawing/2014/main" id="{33E260C6-D100-B37C-EEEA-50AE38100C14}"/>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F00F72E4-EC53-5B9A-9FB3-14147816083A}"/>
              </a:ext>
            </a:extLst>
          </p:cNvPr>
          <p:cNvSpPr>
            <a:spLocks noGrp="1"/>
          </p:cNvSpPr>
          <p:nvPr>
            <p:ph type="sldNum" sz="quarter" idx="12"/>
          </p:nvPr>
        </p:nvSpPr>
        <p:spPr/>
        <p:txBody>
          <a:bodyPr/>
          <a:lstStyle/>
          <a:p>
            <a:fld id="{140D1FED-518D-4FB4-BCAB-05C56058F68A}" type="slidenum">
              <a:rPr lang="en-GB" smtClean="0"/>
              <a:t>‹#›</a:t>
            </a:fld>
            <a:endParaRPr lang="en-GB"/>
          </a:p>
        </p:txBody>
      </p:sp>
    </p:spTree>
    <p:extLst>
      <p:ext uri="{BB962C8B-B14F-4D97-AF65-F5344CB8AC3E}">
        <p14:creationId xmlns:p14="http://schemas.microsoft.com/office/powerpoint/2010/main" val="356727410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GB"/>
              <a:t>Click to edit Master title style</a:t>
            </a:r>
            <a:endParaRPr lang="en-US" dirty="0"/>
          </a:p>
        </p:txBody>
      </p:sp>
      <p:sp>
        <p:nvSpPr>
          <p:cNvPr id="23" name="Text Placeholder 9"/>
          <p:cNvSpPr>
            <a:spLocks noGrp="1"/>
          </p:cNvSpPr>
          <p:nvPr>
            <p:ph type="body" sz="quarter" idx="13"/>
          </p:nvPr>
        </p:nvSpPr>
        <p:spPr>
          <a:xfrm>
            <a:off x="1366139" y="3632200"/>
            <a:ext cx="722452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GB"/>
              <a:t>Click to edit Master text styles</a:t>
            </a:r>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a:t>Click to edit Master text styles</a:t>
            </a:r>
          </a:p>
        </p:txBody>
      </p:sp>
      <p:sp>
        <p:nvSpPr>
          <p:cNvPr id="4" name="Date Placeholder 3"/>
          <p:cNvSpPr>
            <a:spLocks noGrp="1"/>
          </p:cNvSpPr>
          <p:nvPr>
            <p:ph type="dt" sz="half" idx="10"/>
          </p:nvPr>
        </p:nvSpPr>
        <p:spPr/>
        <p:txBody>
          <a:bodyPr/>
          <a:lstStyle/>
          <a:p>
            <a:fld id="{65681DF2-9414-453D-AEBD-942B0A5AEB8E}" type="datetimeFigureOut">
              <a:rPr lang="en-GB" smtClean="0"/>
              <a:t>23/06/2024</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0FD5D1F4-30DC-4E3A-978A-8E7DE87D4386}" type="slidenum">
              <a:rPr lang="en-GB" smtClean="0"/>
              <a:t>‹#›</a:t>
            </a:fld>
            <a:endParaRPr lang="en-GB"/>
          </a:p>
        </p:txBody>
      </p:sp>
      <p:sp>
        <p:nvSpPr>
          <p:cNvPr id="20" name="TextBox 19"/>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2" name="TextBox 21"/>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latin typeface="Arial"/>
              </a:rPr>
              <a:t>”</a:t>
            </a:r>
            <a:endParaRPr lang="en-US" dirty="0">
              <a:solidFill>
                <a:schemeClr val="accent1">
                  <a:lumMod val="60000"/>
                  <a:lumOff val="40000"/>
                </a:schemeClr>
              </a:solidFill>
              <a:latin typeface="Arial"/>
            </a:endParaRPr>
          </a:p>
        </p:txBody>
      </p:sp>
    </p:spTree>
    <p:extLst>
      <p:ext uri="{BB962C8B-B14F-4D97-AF65-F5344CB8AC3E}">
        <p14:creationId xmlns:p14="http://schemas.microsoft.com/office/powerpoint/2010/main" val="1584955526"/>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677335" y="1931988"/>
            <a:ext cx="8596668" cy="2595460"/>
          </a:xfrm>
        </p:spPr>
        <p:txBody>
          <a:bodyPr anchor="b">
            <a:normAutofit/>
          </a:bodyPr>
          <a:lstStyle>
            <a:lvl1pPr algn="l">
              <a:defRPr sz="4400" b="0" cap="none"/>
            </a:lvl1pPr>
          </a:lstStyle>
          <a:p>
            <a:r>
              <a:rPr lang="en-GB"/>
              <a:t>Click to edit Master title style</a:t>
            </a:r>
            <a:endParaRPr lang="en-US" dirty="0"/>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a:t>Click to edit Master text styles</a:t>
            </a:r>
          </a:p>
        </p:txBody>
      </p:sp>
      <p:sp>
        <p:nvSpPr>
          <p:cNvPr id="4" name="Date Placeholder 3"/>
          <p:cNvSpPr>
            <a:spLocks noGrp="1"/>
          </p:cNvSpPr>
          <p:nvPr>
            <p:ph type="dt" sz="half" idx="10"/>
          </p:nvPr>
        </p:nvSpPr>
        <p:spPr/>
        <p:txBody>
          <a:bodyPr/>
          <a:lstStyle/>
          <a:p>
            <a:fld id="{65681DF2-9414-453D-AEBD-942B0A5AEB8E}" type="datetimeFigureOut">
              <a:rPr lang="en-GB" smtClean="0"/>
              <a:t>23/06/2024</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0FD5D1F4-30DC-4E3A-978A-8E7DE87D4386}" type="slidenum">
              <a:rPr lang="en-GB" smtClean="0"/>
              <a:t>‹#›</a:t>
            </a:fld>
            <a:endParaRPr lang="en-GB"/>
          </a:p>
        </p:txBody>
      </p:sp>
    </p:spTree>
    <p:extLst>
      <p:ext uri="{BB962C8B-B14F-4D97-AF65-F5344CB8AC3E}">
        <p14:creationId xmlns:p14="http://schemas.microsoft.com/office/powerpoint/2010/main" val="3521839835"/>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GB"/>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tx1">
                    <a:lumMod val="75000"/>
                    <a:lumOff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GB"/>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a:t>Click to edit Master text styles</a:t>
            </a:r>
          </a:p>
        </p:txBody>
      </p:sp>
      <p:sp>
        <p:nvSpPr>
          <p:cNvPr id="4" name="Date Placeholder 3"/>
          <p:cNvSpPr>
            <a:spLocks noGrp="1"/>
          </p:cNvSpPr>
          <p:nvPr>
            <p:ph type="dt" sz="half" idx="10"/>
          </p:nvPr>
        </p:nvSpPr>
        <p:spPr/>
        <p:txBody>
          <a:bodyPr/>
          <a:lstStyle/>
          <a:p>
            <a:fld id="{65681DF2-9414-453D-AEBD-942B0A5AEB8E}" type="datetimeFigureOut">
              <a:rPr lang="en-GB" smtClean="0"/>
              <a:t>23/06/2024</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0FD5D1F4-30DC-4E3A-978A-8E7DE87D4386}" type="slidenum">
              <a:rPr lang="en-GB" smtClean="0"/>
              <a:t>‹#›</a:t>
            </a:fld>
            <a:endParaRPr lang="en-GB"/>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Tree>
    <p:extLst>
      <p:ext uri="{BB962C8B-B14F-4D97-AF65-F5344CB8AC3E}">
        <p14:creationId xmlns:p14="http://schemas.microsoft.com/office/powerpoint/2010/main" val="3102160246"/>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685799" y="609600"/>
            <a:ext cx="8588203" cy="3022600"/>
          </a:xfrm>
        </p:spPr>
        <p:txBody>
          <a:bodyPr anchor="ctr">
            <a:normAutofit/>
          </a:bodyPr>
          <a:lstStyle>
            <a:lvl1pPr algn="l">
              <a:defRPr sz="4400" b="0" cap="none"/>
            </a:lvl1pPr>
          </a:lstStyle>
          <a:p>
            <a:r>
              <a:rPr lang="en-GB"/>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GB"/>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a:t>Click to edit Master text styles</a:t>
            </a:r>
          </a:p>
        </p:txBody>
      </p:sp>
      <p:sp>
        <p:nvSpPr>
          <p:cNvPr id="4" name="Date Placeholder 3"/>
          <p:cNvSpPr>
            <a:spLocks noGrp="1"/>
          </p:cNvSpPr>
          <p:nvPr>
            <p:ph type="dt" sz="half" idx="10"/>
          </p:nvPr>
        </p:nvSpPr>
        <p:spPr/>
        <p:txBody>
          <a:bodyPr/>
          <a:lstStyle/>
          <a:p>
            <a:fld id="{65681DF2-9414-453D-AEBD-942B0A5AEB8E}" type="datetimeFigureOut">
              <a:rPr lang="en-GB" smtClean="0"/>
              <a:t>23/06/2024</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0FD5D1F4-30DC-4E3A-978A-8E7DE87D4386}" type="slidenum">
              <a:rPr lang="en-GB" smtClean="0"/>
              <a:t>‹#›</a:t>
            </a:fld>
            <a:endParaRPr lang="en-GB"/>
          </a:p>
        </p:txBody>
      </p:sp>
    </p:spTree>
    <p:extLst>
      <p:ext uri="{BB962C8B-B14F-4D97-AF65-F5344CB8AC3E}">
        <p14:creationId xmlns:p14="http://schemas.microsoft.com/office/powerpoint/2010/main" val="146759690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Date Placeholder 3"/>
          <p:cNvSpPr>
            <a:spLocks noGrp="1"/>
          </p:cNvSpPr>
          <p:nvPr>
            <p:ph type="dt" sz="half" idx="10"/>
          </p:nvPr>
        </p:nvSpPr>
        <p:spPr/>
        <p:txBody>
          <a:bodyPr/>
          <a:lstStyle/>
          <a:p>
            <a:fld id="{65681DF2-9414-453D-AEBD-942B0A5AEB8E}" type="datetimeFigureOut">
              <a:rPr lang="en-GB" smtClean="0"/>
              <a:t>23/06/2024</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0FD5D1F4-30DC-4E3A-978A-8E7DE87D4386}" type="slidenum">
              <a:rPr lang="en-GB" smtClean="0"/>
              <a:t>‹#›</a:t>
            </a:fld>
            <a:endParaRPr lang="en-GB"/>
          </a:p>
        </p:txBody>
      </p:sp>
    </p:spTree>
    <p:extLst>
      <p:ext uri="{BB962C8B-B14F-4D97-AF65-F5344CB8AC3E}">
        <p14:creationId xmlns:p14="http://schemas.microsoft.com/office/powerpoint/2010/main" val="182274759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67673" y="609599"/>
            <a:ext cx="1304743" cy="5251451"/>
          </a:xfrm>
        </p:spPr>
        <p:txBody>
          <a:bodyPr vert="eaVert" anchor="ctr"/>
          <a:lstStyle/>
          <a:p>
            <a:r>
              <a:rPr lang="en-GB"/>
              <a:t>Click to edit Master title style</a:t>
            </a:r>
            <a:endParaRPr lang="en-US" dirty="0"/>
          </a:p>
        </p:txBody>
      </p:sp>
      <p:sp>
        <p:nvSpPr>
          <p:cNvPr id="3" name="Vertical Text Placeholder 2"/>
          <p:cNvSpPr>
            <a:spLocks noGrp="1"/>
          </p:cNvSpPr>
          <p:nvPr>
            <p:ph type="body" orient="vert" idx="1"/>
          </p:nvPr>
        </p:nvSpPr>
        <p:spPr>
          <a:xfrm>
            <a:off x="677335" y="609600"/>
            <a:ext cx="7060150" cy="5251450"/>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Date Placeholder 3"/>
          <p:cNvSpPr>
            <a:spLocks noGrp="1"/>
          </p:cNvSpPr>
          <p:nvPr>
            <p:ph type="dt" sz="half" idx="10"/>
          </p:nvPr>
        </p:nvSpPr>
        <p:spPr/>
        <p:txBody>
          <a:bodyPr/>
          <a:lstStyle/>
          <a:p>
            <a:fld id="{65681DF2-9414-453D-AEBD-942B0A5AEB8E}" type="datetimeFigureOut">
              <a:rPr lang="en-GB" smtClean="0"/>
              <a:t>23/06/2024</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0FD5D1F4-30DC-4E3A-978A-8E7DE87D4386}" type="slidenum">
              <a:rPr lang="en-GB" smtClean="0"/>
              <a:t>‹#›</a:t>
            </a:fld>
            <a:endParaRPr lang="en-GB"/>
          </a:p>
        </p:txBody>
      </p:sp>
    </p:spTree>
    <p:extLst>
      <p:ext uri="{BB962C8B-B14F-4D97-AF65-F5344CB8AC3E}">
        <p14:creationId xmlns:p14="http://schemas.microsoft.com/office/powerpoint/2010/main" val="46949789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9"/>
        <p:cNvGrpSpPr/>
        <p:nvPr/>
      </p:nvGrpSpPr>
      <p:grpSpPr>
        <a:xfrm>
          <a:off x="0" y="0"/>
          <a:ext cx="0" cy="0"/>
          <a:chOff x="0" y="0"/>
          <a:chExt cx="0" cy="0"/>
        </a:xfrm>
      </p:grpSpPr>
      <p:sp>
        <p:nvSpPr>
          <p:cNvPr id="10" name="Google Shape;10;p2"/>
          <p:cNvSpPr txBox="1">
            <a:spLocks noGrp="1"/>
          </p:cNvSpPr>
          <p:nvPr>
            <p:ph type="ctrTitle"/>
          </p:nvPr>
        </p:nvSpPr>
        <p:spPr>
          <a:xfrm>
            <a:off x="415611" y="992767"/>
            <a:ext cx="11360800" cy="2736800"/>
          </a:xfrm>
          <a:prstGeom prst="rect">
            <a:avLst/>
          </a:prstGeom>
        </p:spPr>
        <p:txBody>
          <a:bodyPr spcFirstLastPara="1" wrap="square" lIns="91425" tIns="91425" rIns="91425" bIns="91425" anchor="b" anchorCtr="0">
            <a:normAutofit/>
          </a:bodyPr>
          <a:lstStyle>
            <a:lvl1pPr lvl="0" algn="ctr">
              <a:spcBef>
                <a:spcPts val="0"/>
              </a:spcBef>
              <a:spcAft>
                <a:spcPts val="0"/>
              </a:spcAft>
              <a:buSzPts val="5200"/>
              <a:buNone/>
              <a:defRPr sz="6933"/>
            </a:lvl1pPr>
            <a:lvl2pPr lvl="1" algn="ctr">
              <a:spcBef>
                <a:spcPts val="0"/>
              </a:spcBef>
              <a:spcAft>
                <a:spcPts val="0"/>
              </a:spcAft>
              <a:buSzPts val="5200"/>
              <a:buNone/>
              <a:defRPr sz="6933"/>
            </a:lvl2pPr>
            <a:lvl3pPr lvl="2" algn="ctr">
              <a:spcBef>
                <a:spcPts val="0"/>
              </a:spcBef>
              <a:spcAft>
                <a:spcPts val="0"/>
              </a:spcAft>
              <a:buSzPts val="5200"/>
              <a:buNone/>
              <a:defRPr sz="6933"/>
            </a:lvl3pPr>
            <a:lvl4pPr lvl="3" algn="ctr">
              <a:spcBef>
                <a:spcPts val="0"/>
              </a:spcBef>
              <a:spcAft>
                <a:spcPts val="0"/>
              </a:spcAft>
              <a:buSzPts val="5200"/>
              <a:buNone/>
              <a:defRPr sz="6933"/>
            </a:lvl4pPr>
            <a:lvl5pPr lvl="4" algn="ctr">
              <a:spcBef>
                <a:spcPts val="0"/>
              </a:spcBef>
              <a:spcAft>
                <a:spcPts val="0"/>
              </a:spcAft>
              <a:buSzPts val="5200"/>
              <a:buNone/>
              <a:defRPr sz="6933"/>
            </a:lvl5pPr>
            <a:lvl6pPr lvl="5" algn="ctr">
              <a:spcBef>
                <a:spcPts val="0"/>
              </a:spcBef>
              <a:spcAft>
                <a:spcPts val="0"/>
              </a:spcAft>
              <a:buSzPts val="5200"/>
              <a:buNone/>
              <a:defRPr sz="6933"/>
            </a:lvl6pPr>
            <a:lvl7pPr lvl="6" algn="ctr">
              <a:spcBef>
                <a:spcPts val="0"/>
              </a:spcBef>
              <a:spcAft>
                <a:spcPts val="0"/>
              </a:spcAft>
              <a:buSzPts val="5200"/>
              <a:buNone/>
              <a:defRPr sz="6933"/>
            </a:lvl7pPr>
            <a:lvl8pPr lvl="7" algn="ctr">
              <a:spcBef>
                <a:spcPts val="0"/>
              </a:spcBef>
              <a:spcAft>
                <a:spcPts val="0"/>
              </a:spcAft>
              <a:buSzPts val="5200"/>
              <a:buNone/>
              <a:defRPr sz="6933"/>
            </a:lvl8pPr>
            <a:lvl9pPr lvl="8" algn="ctr">
              <a:spcBef>
                <a:spcPts val="0"/>
              </a:spcBef>
              <a:spcAft>
                <a:spcPts val="0"/>
              </a:spcAft>
              <a:buSzPts val="5200"/>
              <a:buNone/>
              <a:defRPr sz="6933"/>
            </a:lvl9pPr>
          </a:lstStyle>
          <a:p>
            <a:endParaRPr/>
          </a:p>
        </p:txBody>
      </p:sp>
      <p:sp>
        <p:nvSpPr>
          <p:cNvPr id="11" name="Google Shape;11;p2"/>
          <p:cNvSpPr txBox="1">
            <a:spLocks noGrp="1"/>
          </p:cNvSpPr>
          <p:nvPr>
            <p:ph type="subTitle" idx="1"/>
          </p:nvPr>
        </p:nvSpPr>
        <p:spPr>
          <a:xfrm>
            <a:off x="415600" y="3778833"/>
            <a:ext cx="11360800" cy="1056800"/>
          </a:xfrm>
          <a:prstGeom prst="rect">
            <a:avLst/>
          </a:prstGeom>
        </p:spPr>
        <p:txBody>
          <a:bodyPr spcFirstLastPara="1" wrap="square" lIns="91425" tIns="91425" rIns="91425" bIns="91425" anchor="t" anchorCtr="0">
            <a:normAutofit/>
          </a:bodyPr>
          <a:lstStyle>
            <a:lvl1pPr lvl="0" algn="ctr">
              <a:lnSpc>
                <a:spcPct val="100000"/>
              </a:lnSpc>
              <a:spcBef>
                <a:spcPts val="0"/>
              </a:spcBef>
              <a:spcAft>
                <a:spcPts val="0"/>
              </a:spcAft>
              <a:buSzPts val="2800"/>
              <a:buNone/>
              <a:defRPr sz="3733"/>
            </a:lvl1pPr>
            <a:lvl2pPr lvl="1" algn="ctr">
              <a:lnSpc>
                <a:spcPct val="100000"/>
              </a:lnSpc>
              <a:spcBef>
                <a:spcPts val="0"/>
              </a:spcBef>
              <a:spcAft>
                <a:spcPts val="0"/>
              </a:spcAft>
              <a:buSzPts val="2800"/>
              <a:buNone/>
              <a:defRPr sz="3733"/>
            </a:lvl2pPr>
            <a:lvl3pPr lvl="2" algn="ctr">
              <a:lnSpc>
                <a:spcPct val="100000"/>
              </a:lnSpc>
              <a:spcBef>
                <a:spcPts val="0"/>
              </a:spcBef>
              <a:spcAft>
                <a:spcPts val="0"/>
              </a:spcAft>
              <a:buSzPts val="2800"/>
              <a:buNone/>
              <a:defRPr sz="3733"/>
            </a:lvl3pPr>
            <a:lvl4pPr lvl="3" algn="ctr">
              <a:lnSpc>
                <a:spcPct val="100000"/>
              </a:lnSpc>
              <a:spcBef>
                <a:spcPts val="0"/>
              </a:spcBef>
              <a:spcAft>
                <a:spcPts val="0"/>
              </a:spcAft>
              <a:buSzPts val="2800"/>
              <a:buNone/>
              <a:defRPr sz="3733"/>
            </a:lvl4pPr>
            <a:lvl5pPr lvl="4" algn="ctr">
              <a:lnSpc>
                <a:spcPct val="100000"/>
              </a:lnSpc>
              <a:spcBef>
                <a:spcPts val="0"/>
              </a:spcBef>
              <a:spcAft>
                <a:spcPts val="0"/>
              </a:spcAft>
              <a:buSzPts val="2800"/>
              <a:buNone/>
              <a:defRPr sz="3733"/>
            </a:lvl5pPr>
            <a:lvl6pPr lvl="5" algn="ctr">
              <a:lnSpc>
                <a:spcPct val="100000"/>
              </a:lnSpc>
              <a:spcBef>
                <a:spcPts val="0"/>
              </a:spcBef>
              <a:spcAft>
                <a:spcPts val="0"/>
              </a:spcAft>
              <a:buSzPts val="2800"/>
              <a:buNone/>
              <a:defRPr sz="3733"/>
            </a:lvl6pPr>
            <a:lvl7pPr lvl="6" algn="ctr">
              <a:lnSpc>
                <a:spcPct val="100000"/>
              </a:lnSpc>
              <a:spcBef>
                <a:spcPts val="0"/>
              </a:spcBef>
              <a:spcAft>
                <a:spcPts val="0"/>
              </a:spcAft>
              <a:buSzPts val="2800"/>
              <a:buNone/>
              <a:defRPr sz="3733"/>
            </a:lvl7pPr>
            <a:lvl8pPr lvl="7" algn="ctr">
              <a:lnSpc>
                <a:spcPct val="100000"/>
              </a:lnSpc>
              <a:spcBef>
                <a:spcPts val="0"/>
              </a:spcBef>
              <a:spcAft>
                <a:spcPts val="0"/>
              </a:spcAft>
              <a:buSzPts val="2800"/>
              <a:buNone/>
              <a:defRPr sz="3733"/>
            </a:lvl8pPr>
            <a:lvl9pPr lvl="8" algn="ctr">
              <a:lnSpc>
                <a:spcPct val="100000"/>
              </a:lnSpc>
              <a:spcBef>
                <a:spcPts val="0"/>
              </a:spcBef>
              <a:spcAft>
                <a:spcPts val="0"/>
              </a:spcAft>
              <a:buSzPts val="2800"/>
              <a:buNone/>
              <a:defRPr sz="3733"/>
            </a:lvl9pPr>
          </a:lstStyle>
          <a:p>
            <a:endParaRPr/>
          </a:p>
        </p:txBody>
      </p:sp>
      <p:sp>
        <p:nvSpPr>
          <p:cNvPr id="12" name="Google Shape;12;p2"/>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485730875"/>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13"/>
        <p:cNvGrpSpPr/>
        <p:nvPr/>
      </p:nvGrpSpPr>
      <p:grpSpPr>
        <a:xfrm>
          <a:off x="0" y="0"/>
          <a:ext cx="0" cy="0"/>
          <a:chOff x="0" y="0"/>
          <a:chExt cx="0" cy="0"/>
        </a:xfrm>
      </p:grpSpPr>
      <p:sp>
        <p:nvSpPr>
          <p:cNvPr id="14" name="Google Shape;14;p3"/>
          <p:cNvSpPr txBox="1">
            <a:spLocks noGrp="1"/>
          </p:cNvSpPr>
          <p:nvPr>
            <p:ph type="title"/>
          </p:nvPr>
        </p:nvSpPr>
        <p:spPr>
          <a:xfrm>
            <a:off x="415600" y="2867800"/>
            <a:ext cx="11360800" cy="1122400"/>
          </a:xfrm>
          <a:prstGeom prst="rect">
            <a:avLst/>
          </a:prstGeom>
        </p:spPr>
        <p:txBody>
          <a:bodyPr spcFirstLastPara="1" wrap="square" lIns="91425" tIns="91425" rIns="91425" bIns="91425" anchor="ctr" anchorCtr="0">
            <a:normAutofit/>
          </a:bodyPr>
          <a:lstStyle>
            <a:lvl1pPr lvl="0" algn="ctr">
              <a:spcBef>
                <a:spcPts val="0"/>
              </a:spcBef>
              <a:spcAft>
                <a:spcPts val="0"/>
              </a:spcAft>
              <a:buSzPts val="3600"/>
              <a:buNone/>
              <a:defRPr sz="4800"/>
            </a:lvl1pPr>
            <a:lvl2pPr lvl="1" algn="ctr">
              <a:spcBef>
                <a:spcPts val="0"/>
              </a:spcBef>
              <a:spcAft>
                <a:spcPts val="0"/>
              </a:spcAft>
              <a:buSzPts val="3600"/>
              <a:buNone/>
              <a:defRPr sz="4800"/>
            </a:lvl2pPr>
            <a:lvl3pPr lvl="2" algn="ctr">
              <a:spcBef>
                <a:spcPts val="0"/>
              </a:spcBef>
              <a:spcAft>
                <a:spcPts val="0"/>
              </a:spcAft>
              <a:buSzPts val="3600"/>
              <a:buNone/>
              <a:defRPr sz="4800"/>
            </a:lvl3pPr>
            <a:lvl4pPr lvl="3" algn="ctr">
              <a:spcBef>
                <a:spcPts val="0"/>
              </a:spcBef>
              <a:spcAft>
                <a:spcPts val="0"/>
              </a:spcAft>
              <a:buSzPts val="3600"/>
              <a:buNone/>
              <a:defRPr sz="4800"/>
            </a:lvl4pPr>
            <a:lvl5pPr lvl="4" algn="ctr">
              <a:spcBef>
                <a:spcPts val="0"/>
              </a:spcBef>
              <a:spcAft>
                <a:spcPts val="0"/>
              </a:spcAft>
              <a:buSzPts val="3600"/>
              <a:buNone/>
              <a:defRPr sz="4800"/>
            </a:lvl5pPr>
            <a:lvl6pPr lvl="5" algn="ctr">
              <a:spcBef>
                <a:spcPts val="0"/>
              </a:spcBef>
              <a:spcAft>
                <a:spcPts val="0"/>
              </a:spcAft>
              <a:buSzPts val="3600"/>
              <a:buNone/>
              <a:defRPr sz="4800"/>
            </a:lvl6pPr>
            <a:lvl7pPr lvl="6" algn="ctr">
              <a:spcBef>
                <a:spcPts val="0"/>
              </a:spcBef>
              <a:spcAft>
                <a:spcPts val="0"/>
              </a:spcAft>
              <a:buSzPts val="3600"/>
              <a:buNone/>
              <a:defRPr sz="4800"/>
            </a:lvl7pPr>
            <a:lvl8pPr lvl="7" algn="ctr">
              <a:spcBef>
                <a:spcPts val="0"/>
              </a:spcBef>
              <a:spcAft>
                <a:spcPts val="0"/>
              </a:spcAft>
              <a:buSzPts val="3600"/>
              <a:buNone/>
              <a:defRPr sz="4800"/>
            </a:lvl8pPr>
            <a:lvl9pPr lvl="8" algn="ctr">
              <a:spcBef>
                <a:spcPts val="0"/>
              </a:spcBef>
              <a:spcAft>
                <a:spcPts val="0"/>
              </a:spcAft>
              <a:buSzPts val="3600"/>
              <a:buNone/>
              <a:defRPr sz="4800"/>
            </a:lvl9pPr>
          </a:lstStyle>
          <a:p>
            <a:endParaRPr/>
          </a:p>
        </p:txBody>
      </p:sp>
      <p:sp>
        <p:nvSpPr>
          <p:cNvPr id="15" name="Google Shape;15;p3"/>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662263342"/>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Google Shape;18;p4"/>
          <p:cNvSpPr txBox="1">
            <a:spLocks noGrp="1"/>
          </p:cNvSpPr>
          <p:nvPr>
            <p:ph type="body" idx="1"/>
          </p:nvPr>
        </p:nvSpPr>
        <p:spPr>
          <a:xfrm>
            <a:off x="415600" y="1536633"/>
            <a:ext cx="11360800" cy="4555200"/>
          </a:xfrm>
          <a:prstGeom prst="rect">
            <a:avLst/>
          </a:prstGeom>
        </p:spPr>
        <p:txBody>
          <a:bodyPr spcFirstLastPara="1" wrap="square" lIns="91425" tIns="91425" rIns="91425" bIns="91425" anchor="t" anchorCtr="0">
            <a:normAutofit/>
          </a:bodyPr>
          <a:lstStyle>
            <a:lvl1pPr marL="609585" lvl="0" indent="-457189">
              <a:spcBef>
                <a:spcPts val="0"/>
              </a:spcBef>
              <a:spcAft>
                <a:spcPts val="0"/>
              </a:spcAft>
              <a:buSzPts val="1800"/>
              <a:buChar char="●"/>
              <a:defRPr/>
            </a:lvl1pPr>
            <a:lvl2pPr marL="1219170" lvl="1" indent="-423323">
              <a:spcBef>
                <a:spcPts val="0"/>
              </a:spcBef>
              <a:spcAft>
                <a:spcPts val="0"/>
              </a:spcAft>
              <a:buSzPts val="1400"/>
              <a:buChar char="○"/>
              <a:defRPr/>
            </a:lvl2pPr>
            <a:lvl3pPr marL="1828754" lvl="2" indent="-423323">
              <a:spcBef>
                <a:spcPts val="0"/>
              </a:spcBef>
              <a:spcAft>
                <a:spcPts val="0"/>
              </a:spcAft>
              <a:buSzPts val="1400"/>
              <a:buChar char="■"/>
              <a:defRPr/>
            </a:lvl3pPr>
            <a:lvl4pPr marL="2438339" lvl="3" indent="-423323">
              <a:spcBef>
                <a:spcPts val="0"/>
              </a:spcBef>
              <a:spcAft>
                <a:spcPts val="0"/>
              </a:spcAft>
              <a:buSzPts val="1400"/>
              <a:buChar char="●"/>
              <a:defRPr/>
            </a:lvl4pPr>
            <a:lvl5pPr marL="3047924" lvl="4" indent="-423323">
              <a:spcBef>
                <a:spcPts val="0"/>
              </a:spcBef>
              <a:spcAft>
                <a:spcPts val="0"/>
              </a:spcAft>
              <a:buSzPts val="1400"/>
              <a:buChar char="○"/>
              <a:defRPr/>
            </a:lvl5pPr>
            <a:lvl6pPr marL="3657509" lvl="5" indent="-423323">
              <a:spcBef>
                <a:spcPts val="0"/>
              </a:spcBef>
              <a:spcAft>
                <a:spcPts val="0"/>
              </a:spcAft>
              <a:buSzPts val="1400"/>
              <a:buChar char="■"/>
              <a:defRPr/>
            </a:lvl6pPr>
            <a:lvl7pPr marL="4267093" lvl="6" indent="-423323">
              <a:spcBef>
                <a:spcPts val="0"/>
              </a:spcBef>
              <a:spcAft>
                <a:spcPts val="0"/>
              </a:spcAft>
              <a:buSzPts val="1400"/>
              <a:buChar char="●"/>
              <a:defRPr/>
            </a:lvl7pPr>
            <a:lvl8pPr marL="4876678" lvl="7" indent="-423323">
              <a:spcBef>
                <a:spcPts val="0"/>
              </a:spcBef>
              <a:spcAft>
                <a:spcPts val="0"/>
              </a:spcAft>
              <a:buSzPts val="1400"/>
              <a:buChar char="○"/>
              <a:defRPr/>
            </a:lvl8pPr>
            <a:lvl9pPr marL="5486263" lvl="8" indent="-423323">
              <a:spcBef>
                <a:spcPts val="0"/>
              </a:spcBef>
              <a:spcAft>
                <a:spcPts val="0"/>
              </a:spcAft>
              <a:buSzPts val="1400"/>
              <a:buChar char="■"/>
              <a:defRPr/>
            </a:lvl9pPr>
          </a:lstStyle>
          <a:p>
            <a:endParaRPr/>
          </a:p>
        </p:txBody>
      </p:sp>
      <p:sp>
        <p:nvSpPr>
          <p:cNvPr id="19" name="Google Shape;19;p4"/>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411926278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matchingName="Title and two columns" type="twoColTx">
  <p:cSld name="Title and two columns">
    <p:spTree>
      <p:nvGrpSpPr>
        <p:cNvPr id="1" name="Shape 20"/>
        <p:cNvGrpSpPr/>
        <p:nvPr/>
      </p:nvGrpSpPr>
      <p:grpSpPr>
        <a:xfrm>
          <a:off x="0" y="0"/>
          <a:ext cx="0" cy="0"/>
          <a:chOff x="0" y="0"/>
          <a:chExt cx="0" cy="0"/>
        </a:xfrm>
      </p:grpSpPr>
      <p:sp>
        <p:nvSpPr>
          <p:cNvPr id="21" name="Google Shape;21;p5"/>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2" name="Google Shape;22;p5"/>
          <p:cNvSpPr txBox="1">
            <a:spLocks noGrp="1"/>
          </p:cNvSpPr>
          <p:nvPr>
            <p:ph type="body" idx="1"/>
          </p:nvPr>
        </p:nvSpPr>
        <p:spPr>
          <a:xfrm>
            <a:off x="415600" y="1536633"/>
            <a:ext cx="5333200" cy="4555200"/>
          </a:xfrm>
          <a:prstGeom prst="rect">
            <a:avLst/>
          </a:prstGeom>
        </p:spPr>
        <p:txBody>
          <a:bodyPr spcFirstLastPara="1" wrap="square" lIns="91425" tIns="91425" rIns="91425" bIns="91425" anchor="t" anchorCtr="0">
            <a:normAutofit/>
          </a:bodyPr>
          <a:lstStyle>
            <a:lvl1pPr marL="609585" lvl="0" indent="-423323">
              <a:spcBef>
                <a:spcPts val="0"/>
              </a:spcBef>
              <a:spcAft>
                <a:spcPts val="0"/>
              </a:spcAft>
              <a:buSzPts val="1400"/>
              <a:buChar char="●"/>
              <a:defRPr sz="1867"/>
            </a:lvl1pPr>
            <a:lvl2pPr marL="1219170" lvl="1" indent="-406390">
              <a:spcBef>
                <a:spcPts val="0"/>
              </a:spcBef>
              <a:spcAft>
                <a:spcPts val="0"/>
              </a:spcAft>
              <a:buSzPts val="1200"/>
              <a:buChar char="○"/>
              <a:defRPr sz="1600"/>
            </a:lvl2pPr>
            <a:lvl3pPr marL="1828754" lvl="2" indent="-406390">
              <a:spcBef>
                <a:spcPts val="0"/>
              </a:spcBef>
              <a:spcAft>
                <a:spcPts val="0"/>
              </a:spcAft>
              <a:buSzPts val="1200"/>
              <a:buChar char="■"/>
              <a:defRPr sz="1600"/>
            </a:lvl3pPr>
            <a:lvl4pPr marL="2438339" lvl="3" indent="-406390">
              <a:spcBef>
                <a:spcPts val="0"/>
              </a:spcBef>
              <a:spcAft>
                <a:spcPts val="0"/>
              </a:spcAft>
              <a:buSzPts val="1200"/>
              <a:buChar char="●"/>
              <a:defRPr sz="1600"/>
            </a:lvl4pPr>
            <a:lvl5pPr marL="3047924" lvl="4" indent="-406390">
              <a:spcBef>
                <a:spcPts val="0"/>
              </a:spcBef>
              <a:spcAft>
                <a:spcPts val="0"/>
              </a:spcAft>
              <a:buSzPts val="1200"/>
              <a:buChar char="○"/>
              <a:defRPr sz="1600"/>
            </a:lvl5pPr>
            <a:lvl6pPr marL="3657509" lvl="5" indent="-406390">
              <a:spcBef>
                <a:spcPts val="0"/>
              </a:spcBef>
              <a:spcAft>
                <a:spcPts val="0"/>
              </a:spcAft>
              <a:buSzPts val="1200"/>
              <a:buChar char="■"/>
              <a:defRPr sz="1600"/>
            </a:lvl6pPr>
            <a:lvl7pPr marL="4267093" lvl="6" indent="-406390">
              <a:spcBef>
                <a:spcPts val="0"/>
              </a:spcBef>
              <a:spcAft>
                <a:spcPts val="0"/>
              </a:spcAft>
              <a:buSzPts val="1200"/>
              <a:buChar char="●"/>
              <a:defRPr sz="1600"/>
            </a:lvl7pPr>
            <a:lvl8pPr marL="4876678" lvl="7" indent="-406390">
              <a:spcBef>
                <a:spcPts val="0"/>
              </a:spcBef>
              <a:spcAft>
                <a:spcPts val="0"/>
              </a:spcAft>
              <a:buSzPts val="1200"/>
              <a:buChar char="○"/>
              <a:defRPr sz="1600"/>
            </a:lvl8pPr>
            <a:lvl9pPr marL="5486263" lvl="8" indent="-406390">
              <a:spcBef>
                <a:spcPts val="0"/>
              </a:spcBef>
              <a:spcAft>
                <a:spcPts val="0"/>
              </a:spcAft>
              <a:buSzPts val="1200"/>
              <a:buChar char="■"/>
              <a:defRPr sz="1600"/>
            </a:lvl9pPr>
          </a:lstStyle>
          <a:p>
            <a:endParaRPr/>
          </a:p>
        </p:txBody>
      </p:sp>
      <p:sp>
        <p:nvSpPr>
          <p:cNvPr id="23" name="Google Shape;23;p5"/>
          <p:cNvSpPr txBox="1">
            <a:spLocks noGrp="1"/>
          </p:cNvSpPr>
          <p:nvPr>
            <p:ph type="body" idx="2"/>
          </p:nvPr>
        </p:nvSpPr>
        <p:spPr>
          <a:xfrm>
            <a:off x="6443200" y="1536633"/>
            <a:ext cx="5333200" cy="4555200"/>
          </a:xfrm>
          <a:prstGeom prst="rect">
            <a:avLst/>
          </a:prstGeom>
        </p:spPr>
        <p:txBody>
          <a:bodyPr spcFirstLastPara="1" wrap="square" lIns="91425" tIns="91425" rIns="91425" bIns="91425" anchor="t" anchorCtr="0">
            <a:normAutofit/>
          </a:bodyPr>
          <a:lstStyle>
            <a:lvl1pPr marL="609585" lvl="0" indent="-423323">
              <a:spcBef>
                <a:spcPts val="0"/>
              </a:spcBef>
              <a:spcAft>
                <a:spcPts val="0"/>
              </a:spcAft>
              <a:buSzPts val="1400"/>
              <a:buChar char="●"/>
              <a:defRPr sz="1867"/>
            </a:lvl1pPr>
            <a:lvl2pPr marL="1219170" lvl="1" indent="-406390">
              <a:spcBef>
                <a:spcPts val="0"/>
              </a:spcBef>
              <a:spcAft>
                <a:spcPts val="0"/>
              </a:spcAft>
              <a:buSzPts val="1200"/>
              <a:buChar char="○"/>
              <a:defRPr sz="1600"/>
            </a:lvl2pPr>
            <a:lvl3pPr marL="1828754" lvl="2" indent="-406390">
              <a:spcBef>
                <a:spcPts val="0"/>
              </a:spcBef>
              <a:spcAft>
                <a:spcPts val="0"/>
              </a:spcAft>
              <a:buSzPts val="1200"/>
              <a:buChar char="■"/>
              <a:defRPr sz="1600"/>
            </a:lvl3pPr>
            <a:lvl4pPr marL="2438339" lvl="3" indent="-406390">
              <a:spcBef>
                <a:spcPts val="0"/>
              </a:spcBef>
              <a:spcAft>
                <a:spcPts val="0"/>
              </a:spcAft>
              <a:buSzPts val="1200"/>
              <a:buChar char="●"/>
              <a:defRPr sz="1600"/>
            </a:lvl4pPr>
            <a:lvl5pPr marL="3047924" lvl="4" indent="-406390">
              <a:spcBef>
                <a:spcPts val="0"/>
              </a:spcBef>
              <a:spcAft>
                <a:spcPts val="0"/>
              </a:spcAft>
              <a:buSzPts val="1200"/>
              <a:buChar char="○"/>
              <a:defRPr sz="1600"/>
            </a:lvl5pPr>
            <a:lvl6pPr marL="3657509" lvl="5" indent="-406390">
              <a:spcBef>
                <a:spcPts val="0"/>
              </a:spcBef>
              <a:spcAft>
                <a:spcPts val="0"/>
              </a:spcAft>
              <a:buSzPts val="1200"/>
              <a:buChar char="■"/>
              <a:defRPr sz="1600"/>
            </a:lvl6pPr>
            <a:lvl7pPr marL="4267093" lvl="6" indent="-406390">
              <a:spcBef>
                <a:spcPts val="0"/>
              </a:spcBef>
              <a:spcAft>
                <a:spcPts val="0"/>
              </a:spcAft>
              <a:buSzPts val="1200"/>
              <a:buChar char="●"/>
              <a:defRPr sz="1600"/>
            </a:lvl7pPr>
            <a:lvl8pPr marL="4876678" lvl="7" indent="-406390">
              <a:spcBef>
                <a:spcPts val="0"/>
              </a:spcBef>
              <a:spcAft>
                <a:spcPts val="0"/>
              </a:spcAft>
              <a:buSzPts val="1200"/>
              <a:buChar char="○"/>
              <a:defRPr sz="1600"/>
            </a:lvl8pPr>
            <a:lvl9pPr marL="5486263" lvl="8" indent="-406390">
              <a:spcBef>
                <a:spcPts val="0"/>
              </a:spcBef>
              <a:spcAft>
                <a:spcPts val="0"/>
              </a:spcAft>
              <a:buSzPts val="1200"/>
              <a:buChar char="■"/>
              <a:defRPr sz="1600"/>
            </a:lvl9pPr>
          </a:lstStyle>
          <a:p>
            <a:endParaRPr/>
          </a:p>
        </p:txBody>
      </p:sp>
      <p:sp>
        <p:nvSpPr>
          <p:cNvPr id="24" name="Google Shape;24;p5"/>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6623593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_light_blue">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1"/>
            </p:custDataLst>
            <p:extLst>
              <p:ext uri="{D42A27DB-BD31-4B8C-83A1-F6EECF244321}">
                <p14:modId xmlns:p14="http://schemas.microsoft.com/office/powerpoint/2010/main" val="35290634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73" imgH="476" progId="TCLayout.ActiveDocument.1">
                  <p:embed/>
                </p:oleObj>
              </mc:Choice>
              <mc:Fallback>
                <p:oleObj name="think-cell Folie" r:id="rId4" imgW="473" imgH="476" progId="TCLayout.ActiveDocument.1">
                  <p:embed/>
                  <p:pic>
                    <p:nvPicPr>
                      <p:cNvPr id="9" name="Objekt 8"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8" name="Grafik 17"/>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1" y="1524000"/>
            <a:ext cx="12191999" cy="5334000"/>
          </a:xfrm>
          <a:prstGeom prst="rect">
            <a:avLst/>
          </a:prstGeom>
        </p:spPr>
      </p:pic>
      <p:sp>
        <p:nvSpPr>
          <p:cNvPr id="8" name="Rechteck 7"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endParaRPr lang="en-GB" sz="4400" b="0" i="0" baseline="0" dirty="0">
              <a:latin typeface="Calibri Light" panose="020F0302020204030204" pitchFamily="34" charset="0"/>
              <a:ea typeface="+mj-ea"/>
              <a:cs typeface="+mj-cs"/>
              <a:sym typeface="Calibri Light" panose="020F0302020204030204" pitchFamily="34" charset="0"/>
            </a:endParaRPr>
          </a:p>
        </p:txBody>
      </p:sp>
      <p:sp>
        <p:nvSpPr>
          <p:cNvPr id="2" name="Titel 1"/>
          <p:cNvSpPr>
            <a:spLocks noGrp="1"/>
          </p:cNvSpPr>
          <p:nvPr>
            <p:ph type="ctrTitle" hasCustomPrompt="1"/>
          </p:nvPr>
        </p:nvSpPr>
        <p:spPr>
          <a:xfrm>
            <a:off x="436881" y="257612"/>
            <a:ext cx="8913066" cy="851370"/>
          </a:xfrm>
          <a:noFill/>
        </p:spPr>
        <p:txBody>
          <a:bodyPr vert="horz" tIns="180000" bIns="144000" anchor="ctr" anchorCtr="0"/>
          <a:lstStyle>
            <a:lvl1pPr algn="l" rtl="0">
              <a:defRPr sz="4400" b="0" cap="none" baseline="0">
                <a:solidFill>
                  <a:schemeClr val="accent3"/>
                </a:solidFill>
              </a:defRPr>
            </a:lvl1pPr>
          </a:lstStyle>
          <a:p>
            <a:r>
              <a:rPr lang="en-GB" dirty="0"/>
              <a:t>Add Title by clicking</a:t>
            </a:r>
          </a:p>
        </p:txBody>
      </p:sp>
      <p:sp>
        <p:nvSpPr>
          <p:cNvPr id="3" name="Untertitel 2"/>
          <p:cNvSpPr>
            <a:spLocks noGrp="1"/>
          </p:cNvSpPr>
          <p:nvPr>
            <p:ph type="subTitle" idx="1" hasCustomPrompt="1"/>
          </p:nvPr>
        </p:nvSpPr>
        <p:spPr>
          <a:xfrm>
            <a:off x="436880" y="984917"/>
            <a:ext cx="8913066" cy="433420"/>
          </a:xfrm>
          <a:noFill/>
        </p:spPr>
        <p:txBody>
          <a:bodyPr/>
          <a:lstStyle>
            <a:lvl1pPr marL="0" indent="0" algn="l" rtl="0">
              <a:buNone/>
              <a:defRPr sz="2400">
                <a:solidFill>
                  <a:schemeClr val="accent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Add subtitle or delete</a:t>
            </a:r>
          </a:p>
        </p:txBody>
      </p:sp>
      <p:pic>
        <p:nvPicPr>
          <p:cNvPr id="10" name="Grafik 9"/>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060349" y="333933"/>
            <a:ext cx="1803660" cy="526876"/>
          </a:xfrm>
          <a:prstGeom prst="rect">
            <a:avLst/>
          </a:prstGeom>
        </p:spPr>
      </p:pic>
    </p:spTree>
    <p:extLst>
      <p:ext uri="{BB962C8B-B14F-4D97-AF65-F5344CB8AC3E}">
        <p14:creationId xmlns:p14="http://schemas.microsoft.com/office/powerpoint/2010/main" val="2629970746"/>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25"/>
        <p:cNvGrpSpPr/>
        <p:nvPr/>
      </p:nvGrpSpPr>
      <p:grpSpPr>
        <a:xfrm>
          <a:off x="0" y="0"/>
          <a:ext cx="0" cy="0"/>
          <a:chOff x="0" y="0"/>
          <a:chExt cx="0" cy="0"/>
        </a:xfrm>
      </p:grpSpPr>
      <p:sp>
        <p:nvSpPr>
          <p:cNvPr id="26" name="Google Shape;26;p6"/>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7" name="Google Shape;27;p6"/>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981097450"/>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matchingName="One column text">
  <p:cSld name="One column text">
    <p:spTree>
      <p:nvGrpSpPr>
        <p:cNvPr id="1" name="Shape 28"/>
        <p:cNvGrpSpPr/>
        <p:nvPr/>
      </p:nvGrpSpPr>
      <p:grpSpPr>
        <a:xfrm>
          <a:off x="0" y="0"/>
          <a:ext cx="0" cy="0"/>
          <a:chOff x="0" y="0"/>
          <a:chExt cx="0" cy="0"/>
        </a:xfrm>
      </p:grpSpPr>
      <p:sp>
        <p:nvSpPr>
          <p:cNvPr id="29" name="Google Shape;29;p7"/>
          <p:cNvSpPr txBox="1">
            <a:spLocks noGrp="1"/>
          </p:cNvSpPr>
          <p:nvPr>
            <p:ph type="title"/>
          </p:nvPr>
        </p:nvSpPr>
        <p:spPr>
          <a:xfrm>
            <a:off x="415600" y="740800"/>
            <a:ext cx="3744000" cy="1007600"/>
          </a:xfrm>
          <a:prstGeom prst="rect">
            <a:avLst/>
          </a:prstGeom>
        </p:spPr>
        <p:txBody>
          <a:bodyPr spcFirstLastPara="1" wrap="square" lIns="91425" tIns="91425" rIns="91425" bIns="91425" anchor="b" anchorCtr="0">
            <a:normAutofit/>
          </a:bodyPr>
          <a:lstStyle>
            <a:lvl1pPr lvl="0">
              <a:spcBef>
                <a:spcPts val="0"/>
              </a:spcBef>
              <a:spcAft>
                <a:spcPts val="0"/>
              </a:spcAft>
              <a:buSzPts val="2400"/>
              <a:buNone/>
              <a:defRPr sz="3200"/>
            </a:lvl1pPr>
            <a:lvl2pPr lvl="1">
              <a:spcBef>
                <a:spcPts val="0"/>
              </a:spcBef>
              <a:spcAft>
                <a:spcPts val="0"/>
              </a:spcAft>
              <a:buSzPts val="2400"/>
              <a:buNone/>
              <a:defRPr sz="3200"/>
            </a:lvl2pPr>
            <a:lvl3pPr lvl="2">
              <a:spcBef>
                <a:spcPts val="0"/>
              </a:spcBef>
              <a:spcAft>
                <a:spcPts val="0"/>
              </a:spcAft>
              <a:buSzPts val="2400"/>
              <a:buNone/>
              <a:defRPr sz="3200"/>
            </a:lvl3pPr>
            <a:lvl4pPr lvl="3">
              <a:spcBef>
                <a:spcPts val="0"/>
              </a:spcBef>
              <a:spcAft>
                <a:spcPts val="0"/>
              </a:spcAft>
              <a:buSzPts val="2400"/>
              <a:buNone/>
              <a:defRPr sz="3200"/>
            </a:lvl4pPr>
            <a:lvl5pPr lvl="4">
              <a:spcBef>
                <a:spcPts val="0"/>
              </a:spcBef>
              <a:spcAft>
                <a:spcPts val="0"/>
              </a:spcAft>
              <a:buSzPts val="2400"/>
              <a:buNone/>
              <a:defRPr sz="3200"/>
            </a:lvl5pPr>
            <a:lvl6pPr lvl="5">
              <a:spcBef>
                <a:spcPts val="0"/>
              </a:spcBef>
              <a:spcAft>
                <a:spcPts val="0"/>
              </a:spcAft>
              <a:buSzPts val="2400"/>
              <a:buNone/>
              <a:defRPr sz="3200"/>
            </a:lvl6pPr>
            <a:lvl7pPr lvl="6">
              <a:spcBef>
                <a:spcPts val="0"/>
              </a:spcBef>
              <a:spcAft>
                <a:spcPts val="0"/>
              </a:spcAft>
              <a:buSzPts val="2400"/>
              <a:buNone/>
              <a:defRPr sz="3200"/>
            </a:lvl7pPr>
            <a:lvl8pPr lvl="7">
              <a:spcBef>
                <a:spcPts val="0"/>
              </a:spcBef>
              <a:spcAft>
                <a:spcPts val="0"/>
              </a:spcAft>
              <a:buSzPts val="2400"/>
              <a:buNone/>
              <a:defRPr sz="3200"/>
            </a:lvl8pPr>
            <a:lvl9pPr lvl="8">
              <a:spcBef>
                <a:spcPts val="0"/>
              </a:spcBef>
              <a:spcAft>
                <a:spcPts val="0"/>
              </a:spcAft>
              <a:buSzPts val="2400"/>
              <a:buNone/>
              <a:defRPr sz="3200"/>
            </a:lvl9pPr>
          </a:lstStyle>
          <a:p>
            <a:endParaRPr/>
          </a:p>
        </p:txBody>
      </p:sp>
      <p:sp>
        <p:nvSpPr>
          <p:cNvPr id="30" name="Google Shape;30;p7"/>
          <p:cNvSpPr txBox="1">
            <a:spLocks noGrp="1"/>
          </p:cNvSpPr>
          <p:nvPr>
            <p:ph type="body" idx="1"/>
          </p:nvPr>
        </p:nvSpPr>
        <p:spPr>
          <a:xfrm>
            <a:off x="415600" y="1852800"/>
            <a:ext cx="3744000" cy="4239200"/>
          </a:xfrm>
          <a:prstGeom prst="rect">
            <a:avLst/>
          </a:prstGeom>
        </p:spPr>
        <p:txBody>
          <a:bodyPr spcFirstLastPara="1" wrap="square" lIns="91425" tIns="91425" rIns="91425" bIns="91425" anchor="t" anchorCtr="0">
            <a:normAutofit/>
          </a:bodyPr>
          <a:lstStyle>
            <a:lvl1pPr marL="609585" lvl="0" indent="-406390">
              <a:spcBef>
                <a:spcPts val="0"/>
              </a:spcBef>
              <a:spcAft>
                <a:spcPts val="0"/>
              </a:spcAft>
              <a:buSzPts val="1200"/>
              <a:buChar char="●"/>
              <a:defRPr sz="1600"/>
            </a:lvl1pPr>
            <a:lvl2pPr marL="1219170" lvl="1" indent="-406390">
              <a:spcBef>
                <a:spcPts val="0"/>
              </a:spcBef>
              <a:spcAft>
                <a:spcPts val="0"/>
              </a:spcAft>
              <a:buSzPts val="1200"/>
              <a:buChar char="○"/>
              <a:defRPr sz="1600"/>
            </a:lvl2pPr>
            <a:lvl3pPr marL="1828754" lvl="2" indent="-406390">
              <a:spcBef>
                <a:spcPts val="0"/>
              </a:spcBef>
              <a:spcAft>
                <a:spcPts val="0"/>
              </a:spcAft>
              <a:buSzPts val="1200"/>
              <a:buChar char="■"/>
              <a:defRPr sz="1600"/>
            </a:lvl3pPr>
            <a:lvl4pPr marL="2438339" lvl="3" indent="-406390">
              <a:spcBef>
                <a:spcPts val="0"/>
              </a:spcBef>
              <a:spcAft>
                <a:spcPts val="0"/>
              </a:spcAft>
              <a:buSzPts val="1200"/>
              <a:buChar char="●"/>
              <a:defRPr sz="1600"/>
            </a:lvl4pPr>
            <a:lvl5pPr marL="3047924" lvl="4" indent="-406390">
              <a:spcBef>
                <a:spcPts val="0"/>
              </a:spcBef>
              <a:spcAft>
                <a:spcPts val="0"/>
              </a:spcAft>
              <a:buSzPts val="1200"/>
              <a:buChar char="○"/>
              <a:defRPr sz="1600"/>
            </a:lvl5pPr>
            <a:lvl6pPr marL="3657509" lvl="5" indent="-406390">
              <a:spcBef>
                <a:spcPts val="0"/>
              </a:spcBef>
              <a:spcAft>
                <a:spcPts val="0"/>
              </a:spcAft>
              <a:buSzPts val="1200"/>
              <a:buChar char="■"/>
              <a:defRPr sz="1600"/>
            </a:lvl6pPr>
            <a:lvl7pPr marL="4267093" lvl="6" indent="-406390">
              <a:spcBef>
                <a:spcPts val="0"/>
              </a:spcBef>
              <a:spcAft>
                <a:spcPts val="0"/>
              </a:spcAft>
              <a:buSzPts val="1200"/>
              <a:buChar char="●"/>
              <a:defRPr sz="1600"/>
            </a:lvl7pPr>
            <a:lvl8pPr marL="4876678" lvl="7" indent="-406390">
              <a:spcBef>
                <a:spcPts val="0"/>
              </a:spcBef>
              <a:spcAft>
                <a:spcPts val="0"/>
              </a:spcAft>
              <a:buSzPts val="1200"/>
              <a:buChar char="○"/>
              <a:defRPr sz="1600"/>
            </a:lvl8pPr>
            <a:lvl9pPr marL="5486263" lvl="8" indent="-406390">
              <a:spcBef>
                <a:spcPts val="0"/>
              </a:spcBef>
              <a:spcAft>
                <a:spcPts val="0"/>
              </a:spcAft>
              <a:buSzPts val="1200"/>
              <a:buChar char="■"/>
              <a:defRPr sz="1600"/>
            </a:lvl9pPr>
          </a:lstStyle>
          <a:p>
            <a:endParaRPr/>
          </a:p>
        </p:txBody>
      </p:sp>
      <p:sp>
        <p:nvSpPr>
          <p:cNvPr id="31" name="Google Shape;31;p7"/>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96651547"/>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matchingName="Main point">
  <p:cSld name="Main point">
    <p:spTree>
      <p:nvGrpSpPr>
        <p:cNvPr id="1" name="Shape 32"/>
        <p:cNvGrpSpPr/>
        <p:nvPr/>
      </p:nvGrpSpPr>
      <p:grpSpPr>
        <a:xfrm>
          <a:off x="0" y="0"/>
          <a:ext cx="0" cy="0"/>
          <a:chOff x="0" y="0"/>
          <a:chExt cx="0" cy="0"/>
        </a:xfrm>
      </p:grpSpPr>
      <p:sp>
        <p:nvSpPr>
          <p:cNvPr id="33" name="Google Shape;33;p8"/>
          <p:cNvSpPr txBox="1">
            <a:spLocks noGrp="1"/>
          </p:cNvSpPr>
          <p:nvPr>
            <p:ph type="title"/>
          </p:nvPr>
        </p:nvSpPr>
        <p:spPr>
          <a:xfrm>
            <a:off x="653667" y="600200"/>
            <a:ext cx="8490400" cy="5454400"/>
          </a:xfrm>
          <a:prstGeom prst="rect">
            <a:avLst/>
          </a:prstGeom>
        </p:spPr>
        <p:txBody>
          <a:bodyPr spcFirstLastPara="1" wrap="square" lIns="91425" tIns="91425" rIns="91425" bIns="91425" anchor="ctr" anchorCtr="0">
            <a:normAutofit/>
          </a:bodyPr>
          <a:lstStyle>
            <a:lvl1pPr lvl="0">
              <a:spcBef>
                <a:spcPts val="0"/>
              </a:spcBef>
              <a:spcAft>
                <a:spcPts val="0"/>
              </a:spcAft>
              <a:buSzPts val="4800"/>
              <a:buNone/>
              <a:defRPr sz="6400"/>
            </a:lvl1pPr>
            <a:lvl2pPr lvl="1">
              <a:spcBef>
                <a:spcPts val="0"/>
              </a:spcBef>
              <a:spcAft>
                <a:spcPts val="0"/>
              </a:spcAft>
              <a:buSzPts val="4800"/>
              <a:buNone/>
              <a:defRPr sz="6400"/>
            </a:lvl2pPr>
            <a:lvl3pPr lvl="2">
              <a:spcBef>
                <a:spcPts val="0"/>
              </a:spcBef>
              <a:spcAft>
                <a:spcPts val="0"/>
              </a:spcAft>
              <a:buSzPts val="4800"/>
              <a:buNone/>
              <a:defRPr sz="6400"/>
            </a:lvl3pPr>
            <a:lvl4pPr lvl="3">
              <a:spcBef>
                <a:spcPts val="0"/>
              </a:spcBef>
              <a:spcAft>
                <a:spcPts val="0"/>
              </a:spcAft>
              <a:buSzPts val="4800"/>
              <a:buNone/>
              <a:defRPr sz="6400"/>
            </a:lvl4pPr>
            <a:lvl5pPr lvl="4">
              <a:spcBef>
                <a:spcPts val="0"/>
              </a:spcBef>
              <a:spcAft>
                <a:spcPts val="0"/>
              </a:spcAft>
              <a:buSzPts val="4800"/>
              <a:buNone/>
              <a:defRPr sz="6400"/>
            </a:lvl5pPr>
            <a:lvl6pPr lvl="5">
              <a:spcBef>
                <a:spcPts val="0"/>
              </a:spcBef>
              <a:spcAft>
                <a:spcPts val="0"/>
              </a:spcAft>
              <a:buSzPts val="4800"/>
              <a:buNone/>
              <a:defRPr sz="6400"/>
            </a:lvl6pPr>
            <a:lvl7pPr lvl="6">
              <a:spcBef>
                <a:spcPts val="0"/>
              </a:spcBef>
              <a:spcAft>
                <a:spcPts val="0"/>
              </a:spcAft>
              <a:buSzPts val="4800"/>
              <a:buNone/>
              <a:defRPr sz="6400"/>
            </a:lvl7pPr>
            <a:lvl8pPr lvl="7">
              <a:spcBef>
                <a:spcPts val="0"/>
              </a:spcBef>
              <a:spcAft>
                <a:spcPts val="0"/>
              </a:spcAft>
              <a:buSzPts val="4800"/>
              <a:buNone/>
              <a:defRPr sz="6400"/>
            </a:lvl8pPr>
            <a:lvl9pPr lvl="8">
              <a:spcBef>
                <a:spcPts val="0"/>
              </a:spcBef>
              <a:spcAft>
                <a:spcPts val="0"/>
              </a:spcAft>
              <a:buSzPts val="4800"/>
              <a:buNone/>
              <a:defRPr sz="6400"/>
            </a:lvl9pPr>
          </a:lstStyle>
          <a:p>
            <a:endParaRPr/>
          </a:p>
        </p:txBody>
      </p:sp>
      <p:sp>
        <p:nvSpPr>
          <p:cNvPr id="34" name="Google Shape;34;p8"/>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506395706"/>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matchingName="Section title and description">
  <p:cSld name="Section title and description">
    <p:spTree>
      <p:nvGrpSpPr>
        <p:cNvPr id="1" name="Shape 35"/>
        <p:cNvGrpSpPr/>
        <p:nvPr/>
      </p:nvGrpSpPr>
      <p:grpSpPr>
        <a:xfrm>
          <a:off x="0" y="0"/>
          <a:ext cx="0" cy="0"/>
          <a:chOff x="0" y="0"/>
          <a:chExt cx="0" cy="0"/>
        </a:xfrm>
      </p:grpSpPr>
      <p:sp>
        <p:nvSpPr>
          <p:cNvPr id="36" name="Google Shape;36;p9"/>
          <p:cNvSpPr/>
          <p:nvPr/>
        </p:nvSpPr>
        <p:spPr>
          <a:xfrm>
            <a:off x="6096000" y="-167"/>
            <a:ext cx="6096000" cy="6858000"/>
          </a:xfrm>
          <a:prstGeom prst="rect">
            <a:avLst/>
          </a:prstGeom>
          <a:solidFill>
            <a:schemeClr val="l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37" name="Google Shape;37;p9"/>
          <p:cNvSpPr txBox="1">
            <a:spLocks noGrp="1"/>
          </p:cNvSpPr>
          <p:nvPr>
            <p:ph type="title"/>
          </p:nvPr>
        </p:nvSpPr>
        <p:spPr>
          <a:xfrm>
            <a:off x="354000" y="1644233"/>
            <a:ext cx="5393600" cy="1976400"/>
          </a:xfrm>
          <a:prstGeom prst="rect">
            <a:avLst/>
          </a:prstGeom>
        </p:spPr>
        <p:txBody>
          <a:bodyPr spcFirstLastPara="1" wrap="square" lIns="91425" tIns="91425" rIns="91425" bIns="91425" anchor="b" anchorCtr="0">
            <a:normAutofit/>
          </a:bodyPr>
          <a:lstStyle>
            <a:lvl1pPr lvl="0" algn="ctr">
              <a:spcBef>
                <a:spcPts val="0"/>
              </a:spcBef>
              <a:spcAft>
                <a:spcPts val="0"/>
              </a:spcAft>
              <a:buSzPts val="4200"/>
              <a:buNone/>
              <a:defRPr sz="5600"/>
            </a:lvl1pPr>
            <a:lvl2pPr lvl="1" algn="ctr">
              <a:spcBef>
                <a:spcPts val="0"/>
              </a:spcBef>
              <a:spcAft>
                <a:spcPts val="0"/>
              </a:spcAft>
              <a:buSzPts val="4200"/>
              <a:buNone/>
              <a:defRPr sz="5600"/>
            </a:lvl2pPr>
            <a:lvl3pPr lvl="2" algn="ctr">
              <a:spcBef>
                <a:spcPts val="0"/>
              </a:spcBef>
              <a:spcAft>
                <a:spcPts val="0"/>
              </a:spcAft>
              <a:buSzPts val="4200"/>
              <a:buNone/>
              <a:defRPr sz="5600"/>
            </a:lvl3pPr>
            <a:lvl4pPr lvl="3" algn="ctr">
              <a:spcBef>
                <a:spcPts val="0"/>
              </a:spcBef>
              <a:spcAft>
                <a:spcPts val="0"/>
              </a:spcAft>
              <a:buSzPts val="4200"/>
              <a:buNone/>
              <a:defRPr sz="5600"/>
            </a:lvl4pPr>
            <a:lvl5pPr lvl="4" algn="ctr">
              <a:spcBef>
                <a:spcPts val="0"/>
              </a:spcBef>
              <a:spcAft>
                <a:spcPts val="0"/>
              </a:spcAft>
              <a:buSzPts val="4200"/>
              <a:buNone/>
              <a:defRPr sz="5600"/>
            </a:lvl5pPr>
            <a:lvl6pPr lvl="5" algn="ctr">
              <a:spcBef>
                <a:spcPts val="0"/>
              </a:spcBef>
              <a:spcAft>
                <a:spcPts val="0"/>
              </a:spcAft>
              <a:buSzPts val="4200"/>
              <a:buNone/>
              <a:defRPr sz="5600"/>
            </a:lvl6pPr>
            <a:lvl7pPr lvl="6" algn="ctr">
              <a:spcBef>
                <a:spcPts val="0"/>
              </a:spcBef>
              <a:spcAft>
                <a:spcPts val="0"/>
              </a:spcAft>
              <a:buSzPts val="4200"/>
              <a:buNone/>
              <a:defRPr sz="5600"/>
            </a:lvl7pPr>
            <a:lvl8pPr lvl="7" algn="ctr">
              <a:spcBef>
                <a:spcPts val="0"/>
              </a:spcBef>
              <a:spcAft>
                <a:spcPts val="0"/>
              </a:spcAft>
              <a:buSzPts val="4200"/>
              <a:buNone/>
              <a:defRPr sz="5600"/>
            </a:lvl8pPr>
            <a:lvl9pPr lvl="8" algn="ctr">
              <a:spcBef>
                <a:spcPts val="0"/>
              </a:spcBef>
              <a:spcAft>
                <a:spcPts val="0"/>
              </a:spcAft>
              <a:buSzPts val="4200"/>
              <a:buNone/>
              <a:defRPr sz="5600"/>
            </a:lvl9pPr>
          </a:lstStyle>
          <a:p>
            <a:endParaRPr/>
          </a:p>
        </p:txBody>
      </p:sp>
      <p:sp>
        <p:nvSpPr>
          <p:cNvPr id="38" name="Google Shape;38;p9"/>
          <p:cNvSpPr txBox="1">
            <a:spLocks noGrp="1"/>
          </p:cNvSpPr>
          <p:nvPr>
            <p:ph type="subTitle" idx="1"/>
          </p:nvPr>
        </p:nvSpPr>
        <p:spPr>
          <a:xfrm>
            <a:off x="354000" y="3737433"/>
            <a:ext cx="5393600" cy="1646800"/>
          </a:xfrm>
          <a:prstGeom prst="rect">
            <a:avLst/>
          </a:prstGeom>
        </p:spPr>
        <p:txBody>
          <a:bodyPr spcFirstLastPara="1" wrap="square" lIns="91425" tIns="91425" rIns="91425" bIns="91425" anchor="t" anchorCtr="0">
            <a:normAutofit/>
          </a:bodyPr>
          <a:lstStyle>
            <a:lvl1pPr lvl="0" algn="ctr">
              <a:lnSpc>
                <a:spcPct val="100000"/>
              </a:lnSpc>
              <a:spcBef>
                <a:spcPts val="0"/>
              </a:spcBef>
              <a:spcAft>
                <a:spcPts val="0"/>
              </a:spcAft>
              <a:buSzPts val="2100"/>
              <a:buNone/>
              <a:defRPr sz="2800"/>
            </a:lvl1pPr>
            <a:lvl2pPr lvl="1" algn="ctr">
              <a:lnSpc>
                <a:spcPct val="100000"/>
              </a:lnSpc>
              <a:spcBef>
                <a:spcPts val="0"/>
              </a:spcBef>
              <a:spcAft>
                <a:spcPts val="0"/>
              </a:spcAft>
              <a:buSzPts val="2100"/>
              <a:buNone/>
              <a:defRPr sz="2800"/>
            </a:lvl2pPr>
            <a:lvl3pPr lvl="2" algn="ctr">
              <a:lnSpc>
                <a:spcPct val="100000"/>
              </a:lnSpc>
              <a:spcBef>
                <a:spcPts val="0"/>
              </a:spcBef>
              <a:spcAft>
                <a:spcPts val="0"/>
              </a:spcAft>
              <a:buSzPts val="2100"/>
              <a:buNone/>
              <a:defRPr sz="2800"/>
            </a:lvl3pPr>
            <a:lvl4pPr lvl="3" algn="ctr">
              <a:lnSpc>
                <a:spcPct val="100000"/>
              </a:lnSpc>
              <a:spcBef>
                <a:spcPts val="0"/>
              </a:spcBef>
              <a:spcAft>
                <a:spcPts val="0"/>
              </a:spcAft>
              <a:buSzPts val="2100"/>
              <a:buNone/>
              <a:defRPr sz="2800"/>
            </a:lvl4pPr>
            <a:lvl5pPr lvl="4" algn="ctr">
              <a:lnSpc>
                <a:spcPct val="100000"/>
              </a:lnSpc>
              <a:spcBef>
                <a:spcPts val="0"/>
              </a:spcBef>
              <a:spcAft>
                <a:spcPts val="0"/>
              </a:spcAft>
              <a:buSzPts val="2100"/>
              <a:buNone/>
              <a:defRPr sz="2800"/>
            </a:lvl5pPr>
            <a:lvl6pPr lvl="5" algn="ctr">
              <a:lnSpc>
                <a:spcPct val="100000"/>
              </a:lnSpc>
              <a:spcBef>
                <a:spcPts val="0"/>
              </a:spcBef>
              <a:spcAft>
                <a:spcPts val="0"/>
              </a:spcAft>
              <a:buSzPts val="2100"/>
              <a:buNone/>
              <a:defRPr sz="2800"/>
            </a:lvl6pPr>
            <a:lvl7pPr lvl="6" algn="ctr">
              <a:lnSpc>
                <a:spcPct val="100000"/>
              </a:lnSpc>
              <a:spcBef>
                <a:spcPts val="0"/>
              </a:spcBef>
              <a:spcAft>
                <a:spcPts val="0"/>
              </a:spcAft>
              <a:buSzPts val="2100"/>
              <a:buNone/>
              <a:defRPr sz="2800"/>
            </a:lvl7pPr>
            <a:lvl8pPr lvl="7" algn="ctr">
              <a:lnSpc>
                <a:spcPct val="100000"/>
              </a:lnSpc>
              <a:spcBef>
                <a:spcPts val="0"/>
              </a:spcBef>
              <a:spcAft>
                <a:spcPts val="0"/>
              </a:spcAft>
              <a:buSzPts val="2100"/>
              <a:buNone/>
              <a:defRPr sz="2800"/>
            </a:lvl8pPr>
            <a:lvl9pPr lvl="8" algn="ctr">
              <a:lnSpc>
                <a:spcPct val="100000"/>
              </a:lnSpc>
              <a:spcBef>
                <a:spcPts val="0"/>
              </a:spcBef>
              <a:spcAft>
                <a:spcPts val="0"/>
              </a:spcAft>
              <a:buSzPts val="2100"/>
              <a:buNone/>
              <a:defRPr sz="2800"/>
            </a:lvl9pPr>
          </a:lstStyle>
          <a:p>
            <a:endParaRPr/>
          </a:p>
        </p:txBody>
      </p:sp>
      <p:sp>
        <p:nvSpPr>
          <p:cNvPr id="39" name="Google Shape;39;p9"/>
          <p:cNvSpPr txBox="1">
            <a:spLocks noGrp="1"/>
          </p:cNvSpPr>
          <p:nvPr>
            <p:ph type="body" idx="2"/>
          </p:nvPr>
        </p:nvSpPr>
        <p:spPr>
          <a:xfrm>
            <a:off x="6586000" y="965433"/>
            <a:ext cx="5116000" cy="4926800"/>
          </a:xfrm>
          <a:prstGeom prst="rect">
            <a:avLst/>
          </a:prstGeom>
        </p:spPr>
        <p:txBody>
          <a:bodyPr spcFirstLastPara="1" wrap="square" lIns="91425" tIns="91425" rIns="91425" bIns="91425" anchor="ctr" anchorCtr="0">
            <a:normAutofit/>
          </a:bodyPr>
          <a:lstStyle>
            <a:lvl1pPr marL="609585" lvl="0" indent="-457189">
              <a:spcBef>
                <a:spcPts val="0"/>
              </a:spcBef>
              <a:spcAft>
                <a:spcPts val="0"/>
              </a:spcAft>
              <a:buSzPts val="1800"/>
              <a:buChar char="●"/>
              <a:defRPr/>
            </a:lvl1pPr>
            <a:lvl2pPr marL="1219170" lvl="1" indent="-423323">
              <a:spcBef>
                <a:spcPts val="0"/>
              </a:spcBef>
              <a:spcAft>
                <a:spcPts val="0"/>
              </a:spcAft>
              <a:buSzPts val="1400"/>
              <a:buChar char="○"/>
              <a:defRPr/>
            </a:lvl2pPr>
            <a:lvl3pPr marL="1828754" lvl="2" indent="-423323">
              <a:spcBef>
                <a:spcPts val="0"/>
              </a:spcBef>
              <a:spcAft>
                <a:spcPts val="0"/>
              </a:spcAft>
              <a:buSzPts val="1400"/>
              <a:buChar char="■"/>
              <a:defRPr/>
            </a:lvl3pPr>
            <a:lvl4pPr marL="2438339" lvl="3" indent="-423323">
              <a:spcBef>
                <a:spcPts val="0"/>
              </a:spcBef>
              <a:spcAft>
                <a:spcPts val="0"/>
              </a:spcAft>
              <a:buSzPts val="1400"/>
              <a:buChar char="●"/>
              <a:defRPr/>
            </a:lvl4pPr>
            <a:lvl5pPr marL="3047924" lvl="4" indent="-423323">
              <a:spcBef>
                <a:spcPts val="0"/>
              </a:spcBef>
              <a:spcAft>
                <a:spcPts val="0"/>
              </a:spcAft>
              <a:buSzPts val="1400"/>
              <a:buChar char="○"/>
              <a:defRPr/>
            </a:lvl5pPr>
            <a:lvl6pPr marL="3657509" lvl="5" indent="-423323">
              <a:spcBef>
                <a:spcPts val="0"/>
              </a:spcBef>
              <a:spcAft>
                <a:spcPts val="0"/>
              </a:spcAft>
              <a:buSzPts val="1400"/>
              <a:buChar char="■"/>
              <a:defRPr/>
            </a:lvl6pPr>
            <a:lvl7pPr marL="4267093" lvl="6" indent="-423323">
              <a:spcBef>
                <a:spcPts val="0"/>
              </a:spcBef>
              <a:spcAft>
                <a:spcPts val="0"/>
              </a:spcAft>
              <a:buSzPts val="1400"/>
              <a:buChar char="●"/>
              <a:defRPr/>
            </a:lvl7pPr>
            <a:lvl8pPr marL="4876678" lvl="7" indent="-423323">
              <a:spcBef>
                <a:spcPts val="0"/>
              </a:spcBef>
              <a:spcAft>
                <a:spcPts val="0"/>
              </a:spcAft>
              <a:buSzPts val="1400"/>
              <a:buChar char="○"/>
              <a:defRPr/>
            </a:lvl8pPr>
            <a:lvl9pPr marL="5486263" lvl="8" indent="-423323">
              <a:spcBef>
                <a:spcPts val="0"/>
              </a:spcBef>
              <a:spcAft>
                <a:spcPts val="0"/>
              </a:spcAft>
              <a:buSzPts val="1400"/>
              <a:buChar char="■"/>
              <a:defRPr/>
            </a:lvl9pPr>
          </a:lstStyle>
          <a:p>
            <a:endParaRPr/>
          </a:p>
        </p:txBody>
      </p:sp>
      <p:sp>
        <p:nvSpPr>
          <p:cNvPr id="40" name="Google Shape;40;p9"/>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07414680"/>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matchingName="Caption">
  <p:cSld name="Caption">
    <p:spTree>
      <p:nvGrpSpPr>
        <p:cNvPr id="1" name="Shape 41"/>
        <p:cNvGrpSpPr/>
        <p:nvPr/>
      </p:nvGrpSpPr>
      <p:grpSpPr>
        <a:xfrm>
          <a:off x="0" y="0"/>
          <a:ext cx="0" cy="0"/>
          <a:chOff x="0" y="0"/>
          <a:chExt cx="0" cy="0"/>
        </a:xfrm>
      </p:grpSpPr>
      <p:sp>
        <p:nvSpPr>
          <p:cNvPr id="42" name="Google Shape;42;p10"/>
          <p:cNvSpPr txBox="1">
            <a:spLocks noGrp="1"/>
          </p:cNvSpPr>
          <p:nvPr>
            <p:ph type="body" idx="1"/>
          </p:nvPr>
        </p:nvSpPr>
        <p:spPr>
          <a:xfrm>
            <a:off x="415600" y="5640767"/>
            <a:ext cx="7998400" cy="806800"/>
          </a:xfrm>
          <a:prstGeom prst="rect">
            <a:avLst/>
          </a:prstGeom>
        </p:spPr>
        <p:txBody>
          <a:bodyPr spcFirstLastPara="1" wrap="square" lIns="91425" tIns="91425" rIns="91425" bIns="91425" anchor="ctr" anchorCtr="0">
            <a:normAutofit/>
          </a:bodyPr>
          <a:lstStyle>
            <a:lvl1pPr marL="609585" lvl="0" indent="-304792">
              <a:lnSpc>
                <a:spcPct val="100000"/>
              </a:lnSpc>
              <a:spcBef>
                <a:spcPts val="0"/>
              </a:spcBef>
              <a:spcAft>
                <a:spcPts val="0"/>
              </a:spcAft>
              <a:buSzPts val="1800"/>
              <a:buNone/>
              <a:defRPr/>
            </a:lvl1pPr>
          </a:lstStyle>
          <a:p>
            <a:endParaRPr/>
          </a:p>
        </p:txBody>
      </p:sp>
      <p:sp>
        <p:nvSpPr>
          <p:cNvPr id="43" name="Google Shape;43;p10"/>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405627691"/>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matchingName="Big number">
  <p:cSld name="Big number">
    <p:spTree>
      <p:nvGrpSpPr>
        <p:cNvPr id="1" name="Shape 44"/>
        <p:cNvGrpSpPr/>
        <p:nvPr/>
      </p:nvGrpSpPr>
      <p:grpSpPr>
        <a:xfrm>
          <a:off x="0" y="0"/>
          <a:ext cx="0" cy="0"/>
          <a:chOff x="0" y="0"/>
          <a:chExt cx="0" cy="0"/>
        </a:xfrm>
      </p:grpSpPr>
      <p:sp>
        <p:nvSpPr>
          <p:cNvPr id="45" name="Google Shape;45;p11"/>
          <p:cNvSpPr txBox="1">
            <a:spLocks noGrp="1"/>
          </p:cNvSpPr>
          <p:nvPr>
            <p:ph type="title" hasCustomPrompt="1"/>
          </p:nvPr>
        </p:nvSpPr>
        <p:spPr>
          <a:xfrm>
            <a:off x="415600" y="1474833"/>
            <a:ext cx="11360800" cy="2618000"/>
          </a:xfrm>
          <a:prstGeom prst="rect">
            <a:avLst/>
          </a:prstGeom>
        </p:spPr>
        <p:txBody>
          <a:bodyPr spcFirstLastPara="1" wrap="square" lIns="91425" tIns="91425" rIns="91425" bIns="91425" anchor="b" anchorCtr="0">
            <a:normAutofit/>
          </a:bodyPr>
          <a:lstStyle>
            <a:lvl1pPr lvl="0" algn="ctr">
              <a:spcBef>
                <a:spcPts val="0"/>
              </a:spcBef>
              <a:spcAft>
                <a:spcPts val="0"/>
              </a:spcAft>
              <a:buSzPts val="12000"/>
              <a:buNone/>
              <a:defRPr sz="16000"/>
            </a:lvl1pPr>
            <a:lvl2pPr lvl="1" algn="ctr">
              <a:spcBef>
                <a:spcPts val="0"/>
              </a:spcBef>
              <a:spcAft>
                <a:spcPts val="0"/>
              </a:spcAft>
              <a:buSzPts val="12000"/>
              <a:buNone/>
              <a:defRPr sz="16000"/>
            </a:lvl2pPr>
            <a:lvl3pPr lvl="2" algn="ctr">
              <a:spcBef>
                <a:spcPts val="0"/>
              </a:spcBef>
              <a:spcAft>
                <a:spcPts val="0"/>
              </a:spcAft>
              <a:buSzPts val="12000"/>
              <a:buNone/>
              <a:defRPr sz="16000"/>
            </a:lvl3pPr>
            <a:lvl4pPr lvl="3" algn="ctr">
              <a:spcBef>
                <a:spcPts val="0"/>
              </a:spcBef>
              <a:spcAft>
                <a:spcPts val="0"/>
              </a:spcAft>
              <a:buSzPts val="12000"/>
              <a:buNone/>
              <a:defRPr sz="16000"/>
            </a:lvl4pPr>
            <a:lvl5pPr lvl="4" algn="ctr">
              <a:spcBef>
                <a:spcPts val="0"/>
              </a:spcBef>
              <a:spcAft>
                <a:spcPts val="0"/>
              </a:spcAft>
              <a:buSzPts val="12000"/>
              <a:buNone/>
              <a:defRPr sz="16000"/>
            </a:lvl5pPr>
            <a:lvl6pPr lvl="5" algn="ctr">
              <a:spcBef>
                <a:spcPts val="0"/>
              </a:spcBef>
              <a:spcAft>
                <a:spcPts val="0"/>
              </a:spcAft>
              <a:buSzPts val="12000"/>
              <a:buNone/>
              <a:defRPr sz="16000"/>
            </a:lvl6pPr>
            <a:lvl7pPr lvl="6" algn="ctr">
              <a:spcBef>
                <a:spcPts val="0"/>
              </a:spcBef>
              <a:spcAft>
                <a:spcPts val="0"/>
              </a:spcAft>
              <a:buSzPts val="12000"/>
              <a:buNone/>
              <a:defRPr sz="16000"/>
            </a:lvl7pPr>
            <a:lvl8pPr lvl="7" algn="ctr">
              <a:spcBef>
                <a:spcPts val="0"/>
              </a:spcBef>
              <a:spcAft>
                <a:spcPts val="0"/>
              </a:spcAft>
              <a:buSzPts val="12000"/>
              <a:buNone/>
              <a:defRPr sz="16000"/>
            </a:lvl8pPr>
            <a:lvl9pPr lvl="8" algn="ctr">
              <a:spcBef>
                <a:spcPts val="0"/>
              </a:spcBef>
              <a:spcAft>
                <a:spcPts val="0"/>
              </a:spcAft>
              <a:buSzPts val="12000"/>
              <a:buNone/>
              <a:defRPr sz="16000"/>
            </a:lvl9pPr>
          </a:lstStyle>
          <a:p>
            <a:r>
              <a:t>xx%</a:t>
            </a:r>
          </a:p>
        </p:txBody>
      </p:sp>
      <p:sp>
        <p:nvSpPr>
          <p:cNvPr id="46" name="Google Shape;46;p11"/>
          <p:cNvSpPr txBox="1">
            <a:spLocks noGrp="1"/>
          </p:cNvSpPr>
          <p:nvPr>
            <p:ph type="body" idx="1"/>
          </p:nvPr>
        </p:nvSpPr>
        <p:spPr>
          <a:xfrm>
            <a:off x="415600" y="4202967"/>
            <a:ext cx="11360800" cy="1734400"/>
          </a:xfrm>
          <a:prstGeom prst="rect">
            <a:avLst/>
          </a:prstGeom>
        </p:spPr>
        <p:txBody>
          <a:bodyPr spcFirstLastPara="1" wrap="square" lIns="91425" tIns="91425" rIns="91425" bIns="91425" anchor="t" anchorCtr="0">
            <a:normAutofit/>
          </a:bodyPr>
          <a:lstStyle>
            <a:lvl1pPr marL="609585" lvl="0" indent="-457189" algn="ctr">
              <a:spcBef>
                <a:spcPts val="0"/>
              </a:spcBef>
              <a:spcAft>
                <a:spcPts val="0"/>
              </a:spcAft>
              <a:buSzPts val="1800"/>
              <a:buChar char="●"/>
              <a:defRPr/>
            </a:lvl1pPr>
            <a:lvl2pPr marL="1219170" lvl="1" indent="-423323" algn="ctr">
              <a:spcBef>
                <a:spcPts val="0"/>
              </a:spcBef>
              <a:spcAft>
                <a:spcPts val="0"/>
              </a:spcAft>
              <a:buSzPts val="1400"/>
              <a:buChar char="○"/>
              <a:defRPr/>
            </a:lvl2pPr>
            <a:lvl3pPr marL="1828754" lvl="2" indent="-423323" algn="ctr">
              <a:spcBef>
                <a:spcPts val="0"/>
              </a:spcBef>
              <a:spcAft>
                <a:spcPts val="0"/>
              </a:spcAft>
              <a:buSzPts val="1400"/>
              <a:buChar char="■"/>
              <a:defRPr/>
            </a:lvl3pPr>
            <a:lvl4pPr marL="2438339" lvl="3" indent="-423323" algn="ctr">
              <a:spcBef>
                <a:spcPts val="0"/>
              </a:spcBef>
              <a:spcAft>
                <a:spcPts val="0"/>
              </a:spcAft>
              <a:buSzPts val="1400"/>
              <a:buChar char="●"/>
              <a:defRPr/>
            </a:lvl4pPr>
            <a:lvl5pPr marL="3047924" lvl="4" indent="-423323" algn="ctr">
              <a:spcBef>
                <a:spcPts val="0"/>
              </a:spcBef>
              <a:spcAft>
                <a:spcPts val="0"/>
              </a:spcAft>
              <a:buSzPts val="1400"/>
              <a:buChar char="○"/>
              <a:defRPr/>
            </a:lvl5pPr>
            <a:lvl6pPr marL="3657509" lvl="5" indent="-423323" algn="ctr">
              <a:spcBef>
                <a:spcPts val="0"/>
              </a:spcBef>
              <a:spcAft>
                <a:spcPts val="0"/>
              </a:spcAft>
              <a:buSzPts val="1400"/>
              <a:buChar char="■"/>
              <a:defRPr/>
            </a:lvl6pPr>
            <a:lvl7pPr marL="4267093" lvl="6" indent="-423323" algn="ctr">
              <a:spcBef>
                <a:spcPts val="0"/>
              </a:spcBef>
              <a:spcAft>
                <a:spcPts val="0"/>
              </a:spcAft>
              <a:buSzPts val="1400"/>
              <a:buChar char="●"/>
              <a:defRPr/>
            </a:lvl7pPr>
            <a:lvl8pPr marL="4876678" lvl="7" indent="-423323" algn="ctr">
              <a:spcBef>
                <a:spcPts val="0"/>
              </a:spcBef>
              <a:spcAft>
                <a:spcPts val="0"/>
              </a:spcAft>
              <a:buSzPts val="1400"/>
              <a:buChar char="○"/>
              <a:defRPr/>
            </a:lvl8pPr>
            <a:lvl9pPr marL="5486263" lvl="8" indent="-423323" algn="ctr">
              <a:spcBef>
                <a:spcPts val="0"/>
              </a:spcBef>
              <a:spcAft>
                <a:spcPts val="0"/>
              </a:spcAft>
              <a:buSzPts val="1400"/>
              <a:buChar char="■"/>
              <a:defRPr/>
            </a:lvl9pPr>
          </a:lstStyle>
          <a:p>
            <a:endParaRPr/>
          </a:p>
        </p:txBody>
      </p:sp>
      <p:sp>
        <p:nvSpPr>
          <p:cNvPr id="47" name="Google Shape;47;p11"/>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700992024"/>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48"/>
        <p:cNvGrpSpPr/>
        <p:nvPr/>
      </p:nvGrpSpPr>
      <p:grpSpPr>
        <a:xfrm>
          <a:off x="0" y="0"/>
          <a:ext cx="0" cy="0"/>
          <a:chOff x="0" y="0"/>
          <a:chExt cx="0" cy="0"/>
        </a:xfrm>
      </p:grpSpPr>
      <p:sp>
        <p:nvSpPr>
          <p:cNvPr id="49" name="Google Shape;49;p12"/>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99698179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26ECDF-0C28-F65F-FC4F-2EF6116DEBE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6FFDB1B8-AAAA-B080-D09B-00F057BBE33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EB509A77-0844-526D-B732-54070CA95530}"/>
              </a:ext>
            </a:extLst>
          </p:cNvPr>
          <p:cNvSpPr>
            <a:spLocks noGrp="1"/>
          </p:cNvSpPr>
          <p:nvPr>
            <p:ph type="dt" sz="half" idx="10"/>
          </p:nvPr>
        </p:nvSpPr>
        <p:spPr/>
        <p:txBody>
          <a:bodyPr/>
          <a:lstStyle/>
          <a:p>
            <a:fld id="{58AF805A-454B-4352-9F22-69E2AF27FD75}" type="datetimeFigureOut">
              <a:rPr lang="en-GB" smtClean="0"/>
              <a:t>23/06/2024</a:t>
            </a:fld>
            <a:endParaRPr lang="en-GB"/>
          </a:p>
        </p:txBody>
      </p:sp>
      <p:sp>
        <p:nvSpPr>
          <p:cNvPr id="5" name="Footer Placeholder 4">
            <a:extLst>
              <a:ext uri="{FF2B5EF4-FFF2-40B4-BE49-F238E27FC236}">
                <a16:creationId xmlns:a16="http://schemas.microsoft.com/office/drawing/2014/main" id="{4D491D9A-63BD-EF21-505A-3247F0D372A9}"/>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7A65A2E8-AF52-CA30-B698-815045311D4D}"/>
              </a:ext>
            </a:extLst>
          </p:cNvPr>
          <p:cNvSpPr>
            <a:spLocks noGrp="1"/>
          </p:cNvSpPr>
          <p:nvPr>
            <p:ph type="sldNum" sz="quarter" idx="12"/>
          </p:nvPr>
        </p:nvSpPr>
        <p:spPr/>
        <p:txBody>
          <a:bodyPr/>
          <a:lstStyle/>
          <a:p>
            <a:fld id="{201205F3-6727-4E9B-B167-10C2A40C7755}" type="slidenum">
              <a:rPr lang="en-GB" smtClean="0"/>
              <a:t>‹#›</a:t>
            </a:fld>
            <a:endParaRPr lang="en-GB"/>
          </a:p>
        </p:txBody>
      </p:sp>
    </p:spTree>
    <p:extLst>
      <p:ext uri="{BB962C8B-B14F-4D97-AF65-F5344CB8AC3E}">
        <p14:creationId xmlns:p14="http://schemas.microsoft.com/office/powerpoint/2010/main" val="250533041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FB728E-ADA1-1BC5-21FF-106C5C8589FF}"/>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36E26B98-C4C6-8D38-2066-A5B13E1DA94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E3249DB8-EED7-5305-C8FC-2630A1CD66B3}"/>
              </a:ext>
            </a:extLst>
          </p:cNvPr>
          <p:cNvSpPr>
            <a:spLocks noGrp="1"/>
          </p:cNvSpPr>
          <p:nvPr>
            <p:ph type="dt" sz="half" idx="10"/>
          </p:nvPr>
        </p:nvSpPr>
        <p:spPr/>
        <p:txBody>
          <a:bodyPr/>
          <a:lstStyle/>
          <a:p>
            <a:fld id="{58AF805A-454B-4352-9F22-69E2AF27FD75}" type="datetimeFigureOut">
              <a:rPr lang="en-GB" smtClean="0"/>
              <a:t>23/06/2024</a:t>
            </a:fld>
            <a:endParaRPr lang="en-GB"/>
          </a:p>
        </p:txBody>
      </p:sp>
      <p:sp>
        <p:nvSpPr>
          <p:cNvPr id="5" name="Footer Placeholder 4">
            <a:extLst>
              <a:ext uri="{FF2B5EF4-FFF2-40B4-BE49-F238E27FC236}">
                <a16:creationId xmlns:a16="http://schemas.microsoft.com/office/drawing/2014/main" id="{0EF2ADCA-ED03-3060-E165-3C87380E3E97}"/>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C87976D4-9790-A901-0E4D-3F04DE500BE0}"/>
              </a:ext>
            </a:extLst>
          </p:cNvPr>
          <p:cNvSpPr>
            <a:spLocks noGrp="1"/>
          </p:cNvSpPr>
          <p:nvPr>
            <p:ph type="sldNum" sz="quarter" idx="12"/>
          </p:nvPr>
        </p:nvSpPr>
        <p:spPr/>
        <p:txBody>
          <a:bodyPr/>
          <a:lstStyle/>
          <a:p>
            <a:fld id="{201205F3-6727-4E9B-B167-10C2A40C7755}" type="slidenum">
              <a:rPr lang="en-GB" smtClean="0"/>
              <a:t>‹#›</a:t>
            </a:fld>
            <a:endParaRPr lang="en-GB"/>
          </a:p>
        </p:txBody>
      </p:sp>
    </p:spTree>
    <p:extLst>
      <p:ext uri="{BB962C8B-B14F-4D97-AF65-F5344CB8AC3E}">
        <p14:creationId xmlns:p14="http://schemas.microsoft.com/office/powerpoint/2010/main" val="5389799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47994-B2CA-1B23-A149-1F7E9CC95D5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88B50485-095A-BE67-BDD3-89D2184069D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F6FD549-B610-2EF0-6BAA-6E386903FF34}"/>
              </a:ext>
            </a:extLst>
          </p:cNvPr>
          <p:cNvSpPr>
            <a:spLocks noGrp="1"/>
          </p:cNvSpPr>
          <p:nvPr>
            <p:ph type="dt" sz="half" idx="10"/>
          </p:nvPr>
        </p:nvSpPr>
        <p:spPr/>
        <p:txBody>
          <a:bodyPr/>
          <a:lstStyle/>
          <a:p>
            <a:fld id="{58AF805A-454B-4352-9F22-69E2AF27FD75}" type="datetimeFigureOut">
              <a:rPr lang="en-GB" smtClean="0"/>
              <a:t>23/06/2024</a:t>
            </a:fld>
            <a:endParaRPr lang="en-GB"/>
          </a:p>
        </p:txBody>
      </p:sp>
      <p:sp>
        <p:nvSpPr>
          <p:cNvPr id="5" name="Footer Placeholder 4">
            <a:extLst>
              <a:ext uri="{FF2B5EF4-FFF2-40B4-BE49-F238E27FC236}">
                <a16:creationId xmlns:a16="http://schemas.microsoft.com/office/drawing/2014/main" id="{3D118636-0C43-5D16-D905-BEFD21BE9C44}"/>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7567DCFE-72A2-2CB6-3E1D-25AA539CBEBF}"/>
              </a:ext>
            </a:extLst>
          </p:cNvPr>
          <p:cNvSpPr>
            <a:spLocks noGrp="1"/>
          </p:cNvSpPr>
          <p:nvPr>
            <p:ph type="sldNum" sz="quarter" idx="12"/>
          </p:nvPr>
        </p:nvSpPr>
        <p:spPr/>
        <p:txBody>
          <a:bodyPr/>
          <a:lstStyle/>
          <a:p>
            <a:fld id="{201205F3-6727-4E9B-B167-10C2A40C7755}" type="slidenum">
              <a:rPr lang="en-GB" smtClean="0"/>
              <a:t>‹#›</a:t>
            </a:fld>
            <a:endParaRPr lang="en-GB"/>
          </a:p>
        </p:txBody>
      </p:sp>
    </p:spTree>
    <p:extLst>
      <p:ext uri="{BB962C8B-B14F-4D97-AF65-F5344CB8AC3E}">
        <p14:creationId xmlns:p14="http://schemas.microsoft.com/office/powerpoint/2010/main" val="188572568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_bg_coloure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1"/>
            </p:custDataLst>
            <p:extLst>
              <p:ext uri="{D42A27DB-BD31-4B8C-83A1-F6EECF244321}">
                <p14:modId xmlns:p14="http://schemas.microsoft.com/office/powerpoint/2010/main" val="26976639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73" imgH="476" progId="TCLayout.ActiveDocument.1">
                  <p:embed/>
                </p:oleObj>
              </mc:Choice>
              <mc:Fallback>
                <p:oleObj name="think-cell Folie" r:id="rId4" imgW="473" imgH="476" progId="TCLayout.ActiveDocument.1">
                  <p:embed/>
                  <p:pic>
                    <p:nvPicPr>
                      <p:cNvPr id="8" name="Objek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Rechteck 15"/>
          <p:cNvSpPr/>
          <p:nvPr userDrawn="1"/>
        </p:nvSpPr>
        <p:spPr>
          <a:xfrm>
            <a:off x="0" y="0"/>
            <a:ext cx="12192000" cy="6858000"/>
          </a:xfrm>
          <a:prstGeom prst="rect">
            <a:avLst/>
          </a:prstGeom>
          <a:gradFill flip="none" rotWithShape="1">
            <a:gsLst>
              <a:gs pos="24000">
                <a:schemeClr val="bg1"/>
              </a:gs>
              <a:gs pos="82000">
                <a:schemeClr val="accent4">
                  <a:lumMod val="40000"/>
                  <a:lumOff val="60000"/>
                </a:schemeClr>
              </a:gs>
              <a:gs pos="100000">
                <a:schemeClr val="accent4">
                  <a:lumMod val="60000"/>
                  <a:lumOff val="40000"/>
                </a:schemeClr>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sp>
        <p:nvSpPr>
          <p:cNvPr id="12" name="Rechteck 11"/>
          <p:cNvSpPr/>
          <p:nvPr userDrawn="1"/>
        </p:nvSpPr>
        <p:spPr>
          <a:xfrm>
            <a:off x="0" y="0"/>
            <a:ext cx="12192000" cy="10162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hteck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endParaRPr lang="en-GB" sz="2800" b="0" i="0" baseline="0" dirty="0">
              <a:latin typeface="Calibri Light" panose="020F0302020204030204" pitchFamily="34" charset="0"/>
              <a:ea typeface="+mj-ea"/>
              <a:cs typeface="+mj-cs"/>
              <a:sym typeface="Calibri Light" panose="020F0302020204030204" pitchFamily="34" charset="0"/>
            </a:endParaRPr>
          </a:p>
        </p:txBody>
      </p:sp>
      <p:sp>
        <p:nvSpPr>
          <p:cNvPr id="3" name="Inhaltsplatzhalter 2"/>
          <p:cNvSpPr>
            <a:spLocks noGrp="1"/>
          </p:cNvSpPr>
          <p:nvPr>
            <p:ph idx="1" hasCustomPrompt="1"/>
          </p:nvPr>
        </p:nvSpPr>
        <p:spPr/>
        <p:txBody>
          <a:bodyPr>
            <a:noAutofit/>
          </a:bodyPr>
          <a:lstStyle>
            <a:lvl1pPr rtl="0">
              <a:defRPr sz="2000" baseline="0"/>
            </a:lvl1pPr>
            <a:lvl2pPr rtl="0">
              <a:defRPr sz="2000"/>
            </a:lvl2pPr>
            <a:lvl3pPr rtl="0">
              <a:defRPr sz="2000"/>
            </a:lvl3pPr>
            <a:lvl4pPr rtl="0">
              <a:defRPr sz="2000" baseline="0"/>
            </a:lvl4pPr>
            <a:lvl5pPr rtl="0">
              <a:defRPr sz="2000" baseline="0"/>
            </a:lvl5pPr>
          </a:lstStyle>
          <a:p>
            <a:pPr lvl="0"/>
            <a:r>
              <a:rPr lang="en-GB" dirty="0"/>
              <a:t>Enter content by clicking</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9" name="Titel 8"/>
          <p:cNvSpPr>
            <a:spLocks noGrp="1"/>
          </p:cNvSpPr>
          <p:nvPr>
            <p:ph type="title" hasCustomPrompt="1"/>
          </p:nvPr>
        </p:nvSpPr>
        <p:spPr>
          <a:xfrm>
            <a:off x="338178" y="516948"/>
            <a:ext cx="9539470" cy="476250"/>
          </a:xfrm>
        </p:spPr>
        <p:txBody>
          <a:bodyPr vert="horz"/>
          <a:lstStyle>
            <a:lvl1pPr rtl="0">
              <a:defRPr>
                <a:solidFill>
                  <a:schemeClr val="accent3"/>
                </a:solidFill>
              </a:defRPr>
            </a:lvl1pPr>
          </a:lstStyle>
          <a:p>
            <a:r>
              <a:rPr lang="en-GB" dirty="0"/>
              <a:t>Add Action Title by clicking</a:t>
            </a:r>
          </a:p>
        </p:txBody>
      </p:sp>
      <p:sp>
        <p:nvSpPr>
          <p:cNvPr id="10" name="Fußzeilenplatzhalter 9"/>
          <p:cNvSpPr>
            <a:spLocks noGrp="1"/>
          </p:cNvSpPr>
          <p:nvPr>
            <p:ph type="ftr" sz="quarter" idx="10"/>
          </p:nvPr>
        </p:nvSpPr>
        <p:spPr/>
        <p:txBody>
          <a:bodyPr/>
          <a:lstStyle>
            <a:lvl1pPr rtl="0" eaLnBrk="1">
              <a:defRPr/>
            </a:lvl1pPr>
          </a:lstStyle>
          <a:p>
            <a:r>
              <a:rPr lang="en-GB"/>
              <a:t>Elmos Semiconductor SE - Corporate Presentation 2022</a:t>
            </a:r>
            <a:endParaRPr lang="en-GB" dirty="0"/>
          </a:p>
        </p:txBody>
      </p:sp>
      <p:sp>
        <p:nvSpPr>
          <p:cNvPr id="11" name="Foliennummernplatzhalter 10"/>
          <p:cNvSpPr>
            <a:spLocks noGrp="1"/>
          </p:cNvSpPr>
          <p:nvPr>
            <p:ph type="sldNum" sz="quarter" idx="11"/>
          </p:nvPr>
        </p:nvSpPr>
        <p:spPr/>
        <p:txBody>
          <a:bodyPr/>
          <a:lstStyle>
            <a:lvl1pPr rtl="0">
              <a:defRPr/>
            </a:lvl1pPr>
          </a:lstStyle>
          <a:p>
            <a:fld id="{2F388A9D-AD37-461A-B994-DC3D6C9CD850}" type="slidenum">
              <a:rPr lang="en-GB" smtClean="0"/>
              <a:pPr/>
              <a:t>‹#›</a:t>
            </a:fld>
            <a:endParaRPr lang="en-GB" dirty="0"/>
          </a:p>
        </p:txBody>
      </p:sp>
      <p:pic>
        <p:nvPicPr>
          <p:cNvPr id="17" name="Grafik 16"/>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060349" y="333933"/>
            <a:ext cx="1803660" cy="526876"/>
          </a:xfrm>
          <a:prstGeom prst="rect">
            <a:avLst/>
          </a:prstGeom>
        </p:spPr>
      </p:pic>
    </p:spTree>
    <p:extLst>
      <p:ext uri="{BB962C8B-B14F-4D97-AF65-F5344CB8AC3E}">
        <p14:creationId xmlns:p14="http://schemas.microsoft.com/office/powerpoint/2010/main" val="60498259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D5E589-1FFA-6D2A-9711-A1FE6BC54355}"/>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4944F078-C24B-573F-3A0A-DF53DC52AF9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B2A5D1D0-53F2-8E40-7BF7-21C84BC7C07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8C3AAD9D-A419-7217-B5F2-465E1CE47E73}"/>
              </a:ext>
            </a:extLst>
          </p:cNvPr>
          <p:cNvSpPr>
            <a:spLocks noGrp="1"/>
          </p:cNvSpPr>
          <p:nvPr>
            <p:ph type="dt" sz="half" idx="10"/>
          </p:nvPr>
        </p:nvSpPr>
        <p:spPr/>
        <p:txBody>
          <a:bodyPr/>
          <a:lstStyle/>
          <a:p>
            <a:fld id="{58AF805A-454B-4352-9F22-69E2AF27FD75}" type="datetimeFigureOut">
              <a:rPr lang="en-GB" smtClean="0"/>
              <a:t>23/06/2024</a:t>
            </a:fld>
            <a:endParaRPr lang="en-GB"/>
          </a:p>
        </p:txBody>
      </p:sp>
      <p:sp>
        <p:nvSpPr>
          <p:cNvPr id="6" name="Footer Placeholder 5">
            <a:extLst>
              <a:ext uri="{FF2B5EF4-FFF2-40B4-BE49-F238E27FC236}">
                <a16:creationId xmlns:a16="http://schemas.microsoft.com/office/drawing/2014/main" id="{950394E0-56DE-2969-5F8C-09D2848BE217}"/>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808B9249-9CB2-AA2A-7F13-36D35EE2CCF6}"/>
              </a:ext>
            </a:extLst>
          </p:cNvPr>
          <p:cNvSpPr>
            <a:spLocks noGrp="1"/>
          </p:cNvSpPr>
          <p:nvPr>
            <p:ph type="sldNum" sz="quarter" idx="12"/>
          </p:nvPr>
        </p:nvSpPr>
        <p:spPr/>
        <p:txBody>
          <a:bodyPr/>
          <a:lstStyle/>
          <a:p>
            <a:fld id="{201205F3-6727-4E9B-B167-10C2A40C7755}" type="slidenum">
              <a:rPr lang="en-GB" smtClean="0"/>
              <a:t>‹#›</a:t>
            </a:fld>
            <a:endParaRPr lang="en-GB"/>
          </a:p>
        </p:txBody>
      </p:sp>
    </p:spTree>
    <p:extLst>
      <p:ext uri="{BB962C8B-B14F-4D97-AF65-F5344CB8AC3E}">
        <p14:creationId xmlns:p14="http://schemas.microsoft.com/office/powerpoint/2010/main" val="1159802664"/>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49B5C3-3AC2-AAE8-F150-BB262B347A79}"/>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DA69B5A6-0C79-DA24-C896-35652C03437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A1FE5CE-F155-6CA7-149E-2A92DC91DF91}"/>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AF83601D-55F6-BE7B-B089-36258C500E7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69C7412-C1C2-38ED-228C-8689D7EFBF3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933ACB38-3545-ED48-8C75-CDCA1898C5F4}"/>
              </a:ext>
            </a:extLst>
          </p:cNvPr>
          <p:cNvSpPr>
            <a:spLocks noGrp="1"/>
          </p:cNvSpPr>
          <p:nvPr>
            <p:ph type="dt" sz="half" idx="10"/>
          </p:nvPr>
        </p:nvSpPr>
        <p:spPr/>
        <p:txBody>
          <a:bodyPr/>
          <a:lstStyle/>
          <a:p>
            <a:fld id="{58AF805A-454B-4352-9F22-69E2AF27FD75}" type="datetimeFigureOut">
              <a:rPr lang="en-GB" smtClean="0"/>
              <a:t>23/06/2024</a:t>
            </a:fld>
            <a:endParaRPr lang="en-GB"/>
          </a:p>
        </p:txBody>
      </p:sp>
      <p:sp>
        <p:nvSpPr>
          <p:cNvPr id="8" name="Footer Placeholder 7">
            <a:extLst>
              <a:ext uri="{FF2B5EF4-FFF2-40B4-BE49-F238E27FC236}">
                <a16:creationId xmlns:a16="http://schemas.microsoft.com/office/drawing/2014/main" id="{D0EFEE4E-A45B-0395-7DE0-200B7BAC2F9F}"/>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9B53AD15-E773-6490-40C5-EB784E85CF93}"/>
              </a:ext>
            </a:extLst>
          </p:cNvPr>
          <p:cNvSpPr>
            <a:spLocks noGrp="1"/>
          </p:cNvSpPr>
          <p:nvPr>
            <p:ph type="sldNum" sz="quarter" idx="12"/>
          </p:nvPr>
        </p:nvSpPr>
        <p:spPr/>
        <p:txBody>
          <a:bodyPr/>
          <a:lstStyle/>
          <a:p>
            <a:fld id="{201205F3-6727-4E9B-B167-10C2A40C7755}" type="slidenum">
              <a:rPr lang="en-GB" smtClean="0"/>
              <a:t>‹#›</a:t>
            </a:fld>
            <a:endParaRPr lang="en-GB"/>
          </a:p>
        </p:txBody>
      </p:sp>
    </p:spTree>
    <p:extLst>
      <p:ext uri="{BB962C8B-B14F-4D97-AF65-F5344CB8AC3E}">
        <p14:creationId xmlns:p14="http://schemas.microsoft.com/office/powerpoint/2010/main" val="3035160953"/>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719896-97A9-BD70-12A4-5A1B0A82C3A5}"/>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01151405-D155-B0C2-4D1A-465E46893650}"/>
              </a:ext>
            </a:extLst>
          </p:cNvPr>
          <p:cNvSpPr>
            <a:spLocks noGrp="1"/>
          </p:cNvSpPr>
          <p:nvPr>
            <p:ph type="dt" sz="half" idx="10"/>
          </p:nvPr>
        </p:nvSpPr>
        <p:spPr/>
        <p:txBody>
          <a:bodyPr/>
          <a:lstStyle/>
          <a:p>
            <a:fld id="{58AF805A-454B-4352-9F22-69E2AF27FD75}" type="datetimeFigureOut">
              <a:rPr lang="en-GB" smtClean="0"/>
              <a:t>23/06/2024</a:t>
            </a:fld>
            <a:endParaRPr lang="en-GB"/>
          </a:p>
        </p:txBody>
      </p:sp>
      <p:sp>
        <p:nvSpPr>
          <p:cNvPr id="4" name="Footer Placeholder 3">
            <a:extLst>
              <a:ext uri="{FF2B5EF4-FFF2-40B4-BE49-F238E27FC236}">
                <a16:creationId xmlns:a16="http://schemas.microsoft.com/office/drawing/2014/main" id="{889508A3-C0CA-D399-121E-B2F77CE0072C}"/>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C198767D-D8FE-7704-B900-A4A2DA727AD7}"/>
              </a:ext>
            </a:extLst>
          </p:cNvPr>
          <p:cNvSpPr>
            <a:spLocks noGrp="1"/>
          </p:cNvSpPr>
          <p:nvPr>
            <p:ph type="sldNum" sz="quarter" idx="12"/>
          </p:nvPr>
        </p:nvSpPr>
        <p:spPr/>
        <p:txBody>
          <a:bodyPr/>
          <a:lstStyle/>
          <a:p>
            <a:fld id="{201205F3-6727-4E9B-B167-10C2A40C7755}" type="slidenum">
              <a:rPr lang="en-GB" smtClean="0"/>
              <a:t>‹#›</a:t>
            </a:fld>
            <a:endParaRPr lang="en-GB"/>
          </a:p>
        </p:txBody>
      </p:sp>
    </p:spTree>
    <p:extLst>
      <p:ext uri="{BB962C8B-B14F-4D97-AF65-F5344CB8AC3E}">
        <p14:creationId xmlns:p14="http://schemas.microsoft.com/office/powerpoint/2010/main" val="1230830003"/>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F2D35CA-1BF7-1651-E2B8-9325C6D0C833}"/>
              </a:ext>
            </a:extLst>
          </p:cNvPr>
          <p:cNvSpPr>
            <a:spLocks noGrp="1"/>
          </p:cNvSpPr>
          <p:nvPr>
            <p:ph type="dt" sz="half" idx="10"/>
          </p:nvPr>
        </p:nvSpPr>
        <p:spPr/>
        <p:txBody>
          <a:bodyPr/>
          <a:lstStyle/>
          <a:p>
            <a:fld id="{58AF805A-454B-4352-9F22-69E2AF27FD75}" type="datetimeFigureOut">
              <a:rPr lang="en-GB" smtClean="0"/>
              <a:t>23/06/2024</a:t>
            </a:fld>
            <a:endParaRPr lang="en-GB"/>
          </a:p>
        </p:txBody>
      </p:sp>
      <p:sp>
        <p:nvSpPr>
          <p:cNvPr id="3" name="Footer Placeholder 2">
            <a:extLst>
              <a:ext uri="{FF2B5EF4-FFF2-40B4-BE49-F238E27FC236}">
                <a16:creationId xmlns:a16="http://schemas.microsoft.com/office/drawing/2014/main" id="{2EC10155-B145-0D73-FECD-891171DF28E2}"/>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D08776FD-7C15-A775-9C1A-F80E6CB84A48}"/>
              </a:ext>
            </a:extLst>
          </p:cNvPr>
          <p:cNvSpPr>
            <a:spLocks noGrp="1"/>
          </p:cNvSpPr>
          <p:nvPr>
            <p:ph type="sldNum" sz="quarter" idx="12"/>
          </p:nvPr>
        </p:nvSpPr>
        <p:spPr/>
        <p:txBody>
          <a:bodyPr/>
          <a:lstStyle/>
          <a:p>
            <a:fld id="{201205F3-6727-4E9B-B167-10C2A40C7755}" type="slidenum">
              <a:rPr lang="en-GB" smtClean="0"/>
              <a:t>‹#›</a:t>
            </a:fld>
            <a:endParaRPr lang="en-GB"/>
          </a:p>
        </p:txBody>
      </p:sp>
    </p:spTree>
    <p:extLst>
      <p:ext uri="{BB962C8B-B14F-4D97-AF65-F5344CB8AC3E}">
        <p14:creationId xmlns:p14="http://schemas.microsoft.com/office/powerpoint/2010/main" val="3000803278"/>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364F38-D218-7A4B-559F-3DF79574D85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B9C730BC-3A68-726B-8AF0-C17CA232A4C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A0F73C1E-CAB4-AB65-E8B7-0DE910F91F7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8EA69A8-A631-6580-E32B-15A38622C80D}"/>
              </a:ext>
            </a:extLst>
          </p:cNvPr>
          <p:cNvSpPr>
            <a:spLocks noGrp="1"/>
          </p:cNvSpPr>
          <p:nvPr>
            <p:ph type="dt" sz="half" idx="10"/>
          </p:nvPr>
        </p:nvSpPr>
        <p:spPr/>
        <p:txBody>
          <a:bodyPr/>
          <a:lstStyle/>
          <a:p>
            <a:fld id="{58AF805A-454B-4352-9F22-69E2AF27FD75}" type="datetimeFigureOut">
              <a:rPr lang="en-GB" smtClean="0"/>
              <a:t>23/06/2024</a:t>
            </a:fld>
            <a:endParaRPr lang="en-GB"/>
          </a:p>
        </p:txBody>
      </p:sp>
      <p:sp>
        <p:nvSpPr>
          <p:cNvPr id="6" name="Footer Placeholder 5">
            <a:extLst>
              <a:ext uri="{FF2B5EF4-FFF2-40B4-BE49-F238E27FC236}">
                <a16:creationId xmlns:a16="http://schemas.microsoft.com/office/drawing/2014/main" id="{203854B9-42BF-4239-1542-43D0AE63636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25AF92E0-9E88-A2B6-E7C3-C01AFF026622}"/>
              </a:ext>
            </a:extLst>
          </p:cNvPr>
          <p:cNvSpPr>
            <a:spLocks noGrp="1"/>
          </p:cNvSpPr>
          <p:nvPr>
            <p:ph type="sldNum" sz="quarter" idx="12"/>
          </p:nvPr>
        </p:nvSpPr>
        <p:spPr/>
        <p:txBody>
          <a:bodyPr/>
          <a:lstStyle/>
          <a:p>
            <a:fld id="{201205F3-6727-4E9B-B167-10C2A40C7755}" type="slidenum">
              <a:rPr lang="en-GB" smtClean="0"/>
              <a:t>‹#›</a:t>
            </a:fld>
            <a:endParaRPr lang="en-GB"/>
          </a:p>
        </p:txBody>
      </p:sp>
    </p:spTree>
    <p:extLst>
      <p:ext uri="{BB962C8B-B14F-4D97-AF65-F5344CB8AC3E}">
        <p14:creationId xmlns:p14="http://schemas.microsoft.com/office/powerpoint/2010/main" val="3949492537"/>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9B283F-5C43-C489-02B7-F7842130A49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BA1AFDB4-43C5-2B55-11E9-323FE743BA1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01564BF2-9A07-851C-BD3E-8BBE588CB9E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4D88C38-D482-F306-6346-1E99BD7C242B}"/>
              </a:ext>
            </a:extLst>
          </p:cNvPr>
          <p:cNvSpPr>
            <a:spLocks noGrp="1"/>
          </p:cNvSpPr>
          <p:nvPr>
            <p:ph type="dt" sz="half" idx="10"/>
          </p:nvPr>
        </p:nvSpPr>
        <p:spPr/>
        <p:txBody>
          <a:bodyPr/>
          <a:lstStyle/>
          <a:p>
            <a:fld id="{58AF805A-454B-4352-9F22-69E2AF27FD75}" type="datetimeFigureOut">
              <a:rPr lang="en-GB" smtClean="0"/>
              <a:t>23/06/2024</a:t>
            </a:fld>
            <a:endParaRPr lang="en-GB"/>
          </a:p>
        </p:txBody>
      </p:sp>
      <p:sp>
        <p:nvSpPr>
          <p:cNvPr id="6" name="Footer Placeholder 5">
            <a:extLst>
              <a:ext uri="{FF2B5EF4-FFF2-40B4-BE49-F238E27FC236}">
                <a16:creationId xmlns:a16="http://schemas.microsoft.com/office/drawing/2014/main" id="{4818DC4A-6C6A-B95D-7E51-8F1E89CB1E54}"/>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D4C67D14-8CC9-6628-5D0D-AAA2E2D2B69C}"/>
              </a:ext>
            </a:extLst>
          </p:cNvPr>
          <p:cNvSpPr>
            <a:spLocks noGrp="1"/>
          </p:cNvSpPr>
          <p:nvPr>
            <p:ph type="sldNum" sz="quarter" idx="12"/>
          </p:nvPr>
        </p:nvSpPr>
        <p:spPr/>
        <p:txBody>
          <a:bodyPr/>
          <a:lstStyle/>
          <a:p>
            <a:fld id="{201205F3-6727-4E9B-B167-10C2A40C7755}" type="slidenum">
              <a:rPr lang="en-GB" smtClean="0"/>
              <a:t>‹#›</a:t>
            </a:fld>
            <a:endParaRPr lang="en-GB"/>
          </a:p>
        </p:txBody>
      </p:sp>
    </p:spTree>
    <p:extLst>
      <p:ext uri="{BB962C8B-B14F-4D97-AF65-F5344CB8AC3E}">
        <p14:creationId xmlns:p14="http://schemas.microsoft.com/office/powerpoint/2010/main" val="1914151965"/>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D8B0F3-BFEC-F5E4-F5B8-FF21B43AA489}"/>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E07D6A6E-95B7-7AD4-CB20-A24D6FA7504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4E7FF1CB-A11D-44DD-F990-4FD3B8CF6F8D}"/>
              </a:ext>
            </a:extLst>
          </p:cNvPr>
          <p:cNvSpPr>
            <a:spLocks noGrp="1"/>
          </p:cNvSpPr>
          <p:nvPr>
            <p:ph type="dt" sz="half" idx="10"/>
          </p:nvPr>
        </p:nvSpPr>
        <p:spPr/>
        <p:txBody>
          <a:bodyPr/>
          <a:lstStyle/>
          <a:p>
            <a:fld id="{58AF805A-454B-4352-9F22-69E2AF27FD75}" type="datetimeFigureOut">
              <a:rPr lang="en-GB" smtClean="0"/>
              <a:t>23/06/2024</a:t>
            </a:fld>
            <a:endParaRPr lang="en-GB"/>
          </a:p>
        </p:txBody>
      </p:sp>
      <p:sp>
        <p:nvSpPr>
          <p:cNvPr id="5" name="Footer Placeholder 4">
            <a:extLst>
              <a:ext uri="{FF2B5EF4-FFF2-40B4-BE49-F238E27FC236}">
                <a16:creationId xmlns:a16="http://schemas.microsoft.com/office/drawing/2014/main" id="{E16648F3-88F8-BB57-761B-86EF54735DEA}"/>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AE6BA5D7-5897-AC34-0CC6-9BA7F23EAF0B}"/>
              </a:ext>
            </a:extLst>
          </p:cNvPr>
          <p:cNvSpPr>
            <a:spLocks noGrp="1"/>
          </p:cNvSpPr>
          <p:nvPr>
            <p:ph type="sldNum" sz="quarter" idx="12"/>
          </p:nvPr>
        </p:nvSpPr>
        <p:spPr/>
        <p:txBody>
          <a:bodyPr/>
          <a:lstStyle/>
          <a:p>
            <a:fld id="{201205F3-6727-4E9B-B167-10C2A40C7755}" type="slidenum">
              <a:rPr lang="en-GB" smtClean="0"/>
              <a:t>‹#›</a:t>
            </a:fld>
            <a:endParaRPr lang="en-GB"/>
          </a:p>
        </p:txBody>
      </p:sp>
    </p:spTree>
    <p:extLst>
      <p:ext uri="{BB962C8B-B14F-4D97-AF65-F5344CB8AC3E}">
        <p14:creationId xmlns:p14="http://schemas.microsoft.com/office/powerpoint/2010/main" val="2462680440"/>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CBC41AF-35CA-D022-AD0A-93D292BAC239}"/>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6EFDA02E-F4AF-0F04-B5EA-E7CB95575CF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DAF9978F-B691-9173-C662-1A7791F7FA8C}"/>
              </a:ext>
            </a:extLst>
          </p:cNvPr>
          <p:cNvSpPr>
            <a:spLocks noGrp="1"/>
          </p:cNvSpPr>
          <p:nvPr>
            <p:ph type="dt" sz="half" idx="10"/>
          </p:nvPr>
        </p:nvSpPr>
        <p:spPr/>
        <p:txBody>
          <a:bodyPr/>
          <a:lstStyle/>
          <a:p>
            <a:fld id="{58AF805A-454B-4352-9F22-69E2AF27FD75}" type="datetimeFigureOut">
              <a:rPr lang="en-GB" smtClean="0"/>
              <a:t>23/06/2024</a:t>
            </a:fld>
            <a:endParaRPr lang="en-GB"/>
          </a:p>
        </p:txBody>
      </p:sp>
      <p:sp>
        <p:nvSpPr>
          <p:cNvPr id="5" name="Footer Placeholder 4">
            <a:extLst>
              <a:ext uri="{FF2B5EF4-FFF2-40B4-BE49-F238E27FC236}">
                <a16:creationId xmlns:a16="http://schemas.microsoft.com/office/drawing/2014/main" id="{E2DA2271-76F1-B645-13CB-87ED870EAF93}"/>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37686C2-B5BB-49A1-80C1-A7FA18667E3B}"/>
              </a:ext>
            </a:extLst>
          </p:cNvPr>
          <p:cNvSpPr>
            <a:spLocks noGrp="1"/>
          </p:cNvSpPr>
          <p:nvPr>
            <p:ph type="sldNum" sz="quarter" idx="12"/>
          </p:nvPr>
        </p:nvSpPr>
        <p:spPr/>
        <p:txBody>
          <a:bodyPr/>
          <a:lstStyle/>
          <a:p>
            <a:fld id="{201205F3-6727-4E9B-B167-10C2A40C7755}" type="slidenum">
              <a:rPr lang="en-GB" smtClean="0"/>
              <a:t>‹#›</a:t>
            </a:fld>
            <a:endParaRPr lang="en-GB"/>
          </a:p>
        </p:txBody>
      </p:sp>
    </p:spTree>
    <p:extLst>
      <p:ext uri="{BB962C8B-B14F-4D97-AF65-F5344CB8AC3E}">
        <p14:creationId xmlns:p14="http://schemas.microsoft.com/office/powerpoint/2010/main" val="150662341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_bg_coloured2">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1"/>
            </p:custDataLst>
            <p:extLst>
              <p:ext uri="{D42A27DB-BD31-4B8C-83A1-F6EECF244321}">
                <p14:modId xmlns:p14="http://schemas.microsoft.com/office/powerpoint/2010/main" val="20568071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73" imgH="476" progId="TCLayout.ActiveDocument.1">
                  <p:embed/>
                </p:oleObj>
              </mc:Choice>
              <mc:Fallback>
                <p:oleObj name="think-cell Folie" r:id="rId4" imgW="473" imgH="476" progId="TCLayout.ActiveDocument.1">
                  <p:embed/>
                  <p:pic>
                    <p:nvPicPr>
                      <p:cNvPr id="8" name="Objek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p:cNvSpPr/>
          <p:nvPr userDrawn="1"/>
        </p:nvSpPr>
        <p:spPr>
          <a:xfrm>
            <a:off x="0" y="0"/>
            <a:ext cx="12192000" cy="6858000"/>
          </a:xfrm>
          <a:prstGeom prst="rect">
            <a:avLst/>
          </a:prstGeom>
          <a:gradFill flip="none" rotWithShape="1">
            <a:gsLst>
              <a:gs pos="27000">
                <a:schemeClr val="bg1"/>
              </a:gs>
              <a:gs pos="80000">
                <a:schemeClr val="accent4">
                  <a:lumMod val="40000"/>
                  <a:lumOff val="60000"/>
                </a:schemeClr>
              </a:gs>
              <a:gs pos="100000">
                <a:schemeClr val="accent4">
                  <a:lumMod val="60000"/>
                  <a:lumOff val="4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sp>
        <p:nvSpPr>
          <p:cNvPr id="12" name="Rechteck 11"/>
          <p:cNvSpPr/>
          <p:nvPr userDrawn="1"/>
        </p:nvSpPr>
        <p:spPr>
          <a:xfrm>
            <a:off x="0" y="0"/>
            <a:ext cx="12192000" cy="10162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hteck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endParaRPr lang="en-GB" sz="2800" b="0" i="0" baseline="0" dirty="0">
              <a:latin typeface="Calibri Light" panose="020F0302020204030204" pitchFamily="34" charset="0"/>
              <a:ea typeface="+mj-ea"/>
              <a:cs typeface="+mj-cs"/>
              <a:sym typeface="Calibri Light" panose="020F0302020204030204" pitchFamily="34" charset="0"/>
            </a:endParaRPr>
          </a:p>
        </p:txBody>
      </p:sp>
      <p:sp>
        <p:nvSpPr>
          <p:cNvPr id="3" name="Inhaltsplatzhalter 2"/>
          <p:cNvSpPr>
            <a:spLocks noGrp="1"/>
          </p:cNvSpPr>
          <p:nvPr>
            <p:ph idx="1" hasCustomPrompt="1"/>
          </p:nvPr>
        </p:nvSpPr>
        <p:spPr/>
        <p:txBody>
          <a:bodyPr>
            <a:noAutofit/>
          </a:bodyPr>
          <a:lstStyle>
            <a:lvl1pPr rtl="0">
              <a:defRPr sz="2000" baseline="0"/>
            </a:lvl1pPr>
            <a:lvl2pPr rtl="0">
              <a:defRPr sz="2000"/>
            </a:lvl2pPr>
            <a:lvl3pPr rtl="0">
              <a:defRPr sz="2000"/>
            </a:lvl3pPr>
            <a:lvl4pPr rtl="0">
              <a:defRPr sz="2000" baseline="0"/>
            </a:lvl4pPr>
            <a:lvl5pPr rtl="0">
              <a:defRPr sz="2000" baseline="0"/>
            </a:lvl5pPr>
          </a:lstStyle>
          <a:p>
            <a:pPr lvl="0"/>
            <a:r>
              <a:rPr lang="en-GB" dirty="0"/>
              <a:t>Enter content by clicking</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9" name="Titel 8"/>
          <p:cNvSpPr>
            <a:spLocks noGrp="1"/>
          </p:cNvSpPr>
          <p:nvPr>
            <p:ph type="title" hasCustomPrompt="1"/>
          </p:nvPr>
        </p:nvSpPr>
        <p:spPr>
          <a:xfrm>
            <a:off x="338178" y="516948"/>
            <a:ext cx="9539470" cy="476250"/>
          </a:xfrm>
        </p:spPr>
        <p:txBody>
          <a:bodyPr vert="horz"/>
          <a:lstStyle>
            <a:lvl1pPr rtl="0">
              <a:defRPr>
                <a:solidFill>
                  <a:schemeClr val="accent3"/>
                </a:solidFill>
              </a:defRPr>
            </a:lvl1pPr>
          </a:lstStyle>
          <a:p>
            <a:r>
              <a:rPr lang="en-GB" dirty="0"/>
              <a:t>Add Action Title by clicking</a:t>
            </a:r>
          </a:p>
        </p:txBody>
      </p:sp>
      <p:sp>
        <p:nvSpPr>
          <p:cNvPr id="10" name="Fußzeilenplatzhalter 9"/>
          <p:cNvSpPr>
            <a:spLocks noGrp="1"/>
          </p:cNvSpPr>
          <p:nvPr>
            <p:ph type="ftr" sz="quarter" idx="10"/>
          </p:nvPr>
        </p:nvSpPr>
        <p:spPr/>
        <p:txBody>
          <a:bodyPr/>
          <a:lstStyle>
            <a:lvl1pPr rtl="0" eaLnBrk="1">
              <a:defRPr/>
            </a:lvl1pPr>
          </a:lstStyle>
          <a:p>
            <a:r>
              <a:rPr lang="en-GB"/>
              <a:t>Elmos Semiconductor SE - Corporate Presentation 2022</a:t>
            </a:r>
            <a:endParaRPr lang="en-GB" dirty="0"/>
          </a:p>
        </p:txBody>
      </p:sp>
      <p:sp>
        <p:nvSpPr>
          <p:cNvPr id="11" name="Foliennummernplatzhalter 10"/>
          <p:cNvSpPr>
            <a:spLocks noGrp="1"/>
          </p:cNvSpPr>
          <p:nvPr>
            <p:ph type="sldNum" sz="quarter" idx="11"/>
          </p:nvPr>
        </p:nvSpPr>
        <p:spPr/>
        <p:txBody>
          <a:bodyPr/>
          <a:lstStyle>
            <a:lvl1pPr rtl="0">
              <a:defRPr/>
            </a:lvl1pPr>
          </a:lstStyle>
          <a:p>
            <a:fld id="{2F388A9D-AD37-461A-B994-DC3D6C9CD850}" type="slidenum">
              <a:rPr lang="en-GB" smtClean="0"/>
              <a:pPr/>
              <a:t>‹#›</a:t>
            </a:fld>
            <a:endParaRPr lang="en-GB" dirty="0"/>
          </a:p>
        </p:txBody>
      </p:sp>
      <p:pic>
        <p:nvPicPr>
          <p:cNvPr id="16" name="Grafik 15"/>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060349" y="333933"/>
            <a:ext cx="1803660" cy="526876"/>
          </a:xfrm>
          <a:prstGeom prst="rect">
            <a:avLst/>
          </a:prstGeom>
        </p:spPr>
      </p:pic>
    </p:spTree>
    <p:extLst>
      <p:ext uri="{BB962C8B-B14F-4D97-AF65-F5344CB8AC3E}">
        <p14:creationId xmlns:p14="http://schemas.microsoft.com/office/powerpoint/2010/main" val="143938364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hanks_light_blue">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1"/>
            </p:custDataLst>
            <p:extLst>
              <p:ext uri="{D42A27DB-BD31-4B8C-83A1-F6EECF244321}">
                <p14:modId xmlns:p14="http://schemas.microsoft.com/office/powerpoint/2010/main" val="27486265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73" imgH="476" progId="TCLayout.ActiveDocument.1">
                  <p:embed/>
                </p:oleObj>
              </mc:Choice>
              <mc:Fallback>
                <p:oleObj name="think-cell Folie" r:id="rId4" imgW="473" imgH="476" progId="TCLayout.ActiveDocument.1">
                  <p:embed/>
                  <p:pic>
                    <p:nvPicPr>
                      <p:cNvPr id="9" name="Objekt 8"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hteck 7"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endParaRPr lang="en-GB" sz="6000" b="0" i="0" baseline="0" dirty="0">
              <a:latin typeface="Calibri Light" panose="020F0302020204030204" pitchFamily="34" charset="0"/>
              <a:ea typeface="+mj-ea"/>
              <a:cs typeface="+mj-cs"/>
              <a:sym typeface="Calibri Light" panose="020F0302020204030204" pitchFamily="34" charset="0"/>
            </a:endParaRPr>
          </a:p>
        </p:txBody>
      </p:sp>
      <p:sp>
        <p:nvSpPr>
          <p:cNvPr id="12" name="Fußzeilenplatzhalter 4"/>
          <p:cNvSpPr>
            <a:spLocks noGrp="1"/>
          </p:cNvSpPr>
          <p:nvPr>
            <p:ph type="ftr" sz="quarter" idx="3"/>
          </p:nvPr>
        </p:nvSpPr>
        <p:spPr>
          <a:xfrm>
            <a:off x="-1" y="6454638"/>
            <a:ext cx="11353801" cy="401638"/>
          </a:xfrm>
          <a:prstGeom prst="rect">
            <a:avLst/>
          </a:prstGeom>
        </p:spPr>
        <p:txBody>
          <a:bodyPr vert="horz" lIns="252000" tIns="45720" rIns="91440" bIns="45720" rtlCol="0" anchor="ctr"/>
          <a:lstStyle>
            <a:lvl1pPr algn="l" rtl="0" eaLnBrk="1">
              <a:defRPr sz="1200">
                <a:solidFill>
                  <a:schemeClr val="tx1">
                    <a:tint val="75000"/>
                  </a:schemeClr>
                </a:solidFill>
              </a:defRPr>
            </a:lvl1pPr>
          </a:lstStyle>
          <a:p>
            <a:r>
              <a:rPr lang="en-GB"/>
              <a:t>Elmos Semiconductor SE - Corporate Presentation 2022</a:t>
            </a:r>
            <a:endParaRPr lang="en-GB" dirty="0"/>
          </a:p>
        </p:txBody>
      </p:sp>
      <p:pic>
        <p:nvPicPr>
          <p:cNvPr id="13" name="Grafik 12"/>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1" y="876300"/>
            <a:ext cx="12191999" cy="5981700"/>
          </a:xfrm>
          <a:prstGeom prst="rect">
            <a:avLst/>
          </a:prstGeom>
        </p:spPr>
      </p:pic>
      <p:sp>
        <p:nvSpPr>
          <p:cNvPr id="11" name="Rechteck 10"/>
          <p:cNvSpPr/>
          <p:nvPr userDrawn="1"/>
        </p:nvSpPr>
        <p:spPr>
          <a:xfrm>
            <a:off x="0" y="0"/>
            <a:ext cx="12192000" cy="10162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0" name="Grafik 9"/>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060349" y="333933"/>
            <a:ext cx="1803660" cy="526876"/>
          </a:xfrm>
          <a:prstGeom prst="rect">
            <a:avLst/>
          </a:prstGeom>
        </p:spPr>
      </p:pic>
      <p:sp>
        <p:nvSpPr>
          <p:cNvPr id="16" name="Titel 8"/>
          <p:cNvSpPr>
            <a:spLocks noGrp="1"/>
          </p:cNvSpPr>
          <p:nvPr>
            <p:ph type="title" hasCustomPrompt="1"/>
          </p:nvPr>
        </p:nvSpPr>
        <p:spPr>
          <a:xfrm>
            <a:off x="338178" y="516948"/>
            <a:ext cx="9539470" cy="476250"/>
          </a:xfrm>
        </p:spPr>
        <p:txBody>
          <a:bodyPr vert="horz"/>
          <a:lstStyle>
            <a:lvl1pPr rtl="0">
              <a:defRPr>
                <a:solidFill>
                  <a:schemeClr val="accent3"/>
                </a:solidFill>
              </a:defRPr>
            </a:lvl1pPr>
          </a:lstStyle>
          <a:p>
            <a:r>
              <a:rPr lang="en-GB" dirty="0"/>
              <a:t>Add Action Title by clicking</a:t>
            </a:r>
          </a:p>
        </p:txBody>
      </p:sp>
    </p:spTree>
    <p:extLst>
      <p:ext uri="{BB962C8B-B14F-4D97-AF65-F5344CB8AC3E}">
        <p14:creationId xmlns:p14="http://schemas.microsoft.com/office/powerpoint/2010/main" val="192043369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extLst>
              <p:ext uri="{D42A27DB-BD31-4B8C-83A1-F6EECF244321}">
                <p14:modId xmlns:p14="http://schemas.microsoft.com/office/powerpoint/2010/main" val="3846933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73" imgH="476" progId="TCLayout.ActiveDocument.1">
                  <p:embed/>
                </p:oleObj>
              </mc:Choice>
              <mc:Fallback>
                <p:oleObj name="think-cell Folie" r:id="rId3" imgW="473" imgH="47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Rechteck 12"/>
          <p:cNvSpPr/>
          <p:nvPr userDrawn="1"/>
        </p:nvSpPr>
        <p:spPr>
          <a:xfrm>
            <a:off x="0" y="0"/>
            <a:ext cx="12192000" cy="6858000"/>
          </a:xfrm>
          <a:prstGeom prst="rect">
            <a:avLst/>
          </a:prstGeom>
          <a:gradFill flip="none" rotWithShape="1">
            <a:gsLst>
              <a:gs pos="24000">
                <a:schemeClr val="bg1"/>
              </a:gs>
              <a:gs pos="82000">
                <a:schemeClr val="accent4">
                  <a:lumMod val="40000"/>
                  <a:lumOff val="60000"/>
                </a:schemeClr>
              </a:gs>
              <a:gs pos="100000">
                <a:schemeClr val="accent4">
                  <a:lumMod val="60000"/>
                  <a:lumOff val="40000"/>
                </a:schemeClr>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grpSp>
        <p:nvGrpSpPr>
          <p:cNvPr id="8" name="Gruppieren 7"/>
          <p:cNvGrpSpPr/>
          <p:nvPr userDrawn="1"/>
        </p:nvGrpSpPr>
        <p:grpSpPr>
          <a:xfrm rot="10800000">
            <a:off x="4470400" y="-2"/>
            <a:ext cx="3454402" cy="6859311"/>
            <a:chOff x="-3" y="-9599"/>
            <a:chExt cx="6599447" cy="6865880"/>
          </a:xfrm>
        </p:grpSpPr>
        <p:sp>
          <p:nvSpPr>
            <p:cNvPr id="11" name="Flussdiagramm: Manuelle Eingabe 11"/>
            <p:cNvSpPr/>
            <p:nvPr/>
          </p:nvSpPr>
          <p:spPr>
            <a:xfrm rot="5400000">
              <a:off x="-133217" y="123615"/>
              <a:ext cx="6865876" cy="6599447"/>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14"/>
                <a:gd name="connsiteY0" fmla="*/ 2952 h 10000"/>
                <a:gd name="connsiteX1" fmla="*/ 10014 w 10014"/>
                <a:gd name="connsiteY1" fmla="*/ 0 h 10000"/>
                <a:gd name="connsiteX2" fmla="*/ 10014 w 10014"/>
                <a:gd name="connsiteY2" fmla="*/ 10000 h 10000"/>
                <a:gd name="connsiteX3" fmla="*/ 14 w 10014"/>
                <a:gd name="connsiteY3" fmla="*/ 10000 h 10000"/>
                <a:gd name="connsiteX4" fmla="*/ 0 w 10014"/>
                <a:gd name="connsiteY4" fmla="*/ 2952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4" h="10000">
                  <a:moveTo>
                    <a:pt x="0" y="2952"/>
                  </a:moveTo>
                  <a:lnTo>
                    <a:pt x="10014" y="0"/>
                  </a:lnTo>
                  <a:lnTo>
                    <a:pt x="10014" y="10000"/>
                  </a:lnTo>
                  <a:lnTo>
                    <a:pt x="14" y="10000"/>
                  </a:lnTo>
                  <a:cubicBezTo>
                    <a:pt x="9" y="7651"/>
                    <a:pt x="5" y="5301"/>
                    <a:pt x="0" y="2952"/>
                  </a:cubicBezTo>
                  <a:close/>
                </a:path>
              </a:pathLst>
            </a:custGeom>
            <a:solidFill>
              <a:schemeClr val="bg1">
                <a:alpha val="30000"/>
              </a:schemeClr>
            </a:solidFill>
            <a:ln w="44450">
              <a:noFill/>
            </a:ln>
          </p:spPr>
          <p:txBody>
            <a:bodyPr vert="vert270" lIns="360000" tIns="216000" rIns="360000" bIns="45720" rtlCol="0">
              <a:normAutofit/>
            </a:bodyPr>
            <a:lstStyle/>
            <a:p>
              <a:pPr algn="ctr" rtl="0">
                <a:lnSpc>
                  <a:spcPct val="90000"/>
                </a:lnSpc>
                <a:spcBef>
                  <a:spcPts val="1000"/>
                </a:spcBef>
                <a:buClr>
                  <a:schemeClr val="accent1"/>
                </a:buClr>
                <a:buSzPct val="90000"/>
                <a:buFont typeface="Wingdings" panose="05000000000000000000" pitchFamily="2" charset="2"/>
                <a:buNone/>
              </a:pPr>
              <a:endParaRPr lang="en-GB" sz="2000" dirty="0">
                <a:solidFill>
                  <a:schemeClr val="accent1"/>
                </a:solidFill>
              </a:endParaRPr>
            </a:p>
          </p:txBody>
        </p:sp>
        <p:sp>
          <p:nvSpPr>
            <p:cNvPr id="12" name="Flussdiagramm: Manuelle Eingabe 12"/>
            <p:cNvSpPr/>
            <p:nvPr/>
          </p:nvSpPr>
          <p:spPr>
            <a:xfrm rot="5400000">
              <a:off x="-974141" y="974149"/>
              <a:ext cx="6856277" cy="4907988"/>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39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39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3390"/>
                  </a:moveTo>
                  <a:lnTo>
                    <a:pt x="10000" y="0"/>
                  </a:lnTo>
                  <a:lnTo>
                    <a:pt x="10000" y="10000"/>
                  </a:lnTo>
                  <a:lnTo>
                    <a:pt x="0" y="10000"/>
                  </a:lnTo>
                  <a:lnTo>
                    <a:pt x="0" y="3390"/>
                  </a:lnTo>
                  <a:close/>
                </a:path>
              </a:pathLst>
            </a:custGeom>
            <a:solidFill>
              <a:schemeClr val="bg1"/>
            </a:solidFill>
            <a:ln w="44450">
              <a:noFill/>
            </a:ln>
          </p:spPr>
          <p:txBody>
            <a:bodyPr vert="vert270" lIns="360000" tIns="216000" rIns="360000" bIns="45720" rtlCol="0">
              <a:normAutofit/>
            </a:bodyPr>
            <a:lstStyle/>
            <a:p>
              <a:pPr algn="ctr" rtl="0">
                <a:lnSpc>
                  <a:spcPct val="90000"/>
                </a:lnSpc>
                <a:spcBef>
                  <a:spcPts val="1000"/>
                </a:spcBef>
                <a:buClr>
                  <a:schemeClr val="accent1"/>
                </a:buClr>
                <a:buSzPct val="90000"/>
                <a:buFont typeface="Wingdings" panose="05000000000000000000" pitchFamily="2" charset="2"/>
                <a:buNone/>
              </a:pPr>
              <a:endParaRPr lang="en-GB" sz="2000" dirty="0">
                <a:solidFill>
                  <a:schemeClr val="accent1"/>
                </a:solidFill>
              </a:endParaRPr>
            </a:p>
          </p:txBody>
        </p:sp>
      </p:grpSp>
      <p:pic>
        <p:nvPicPr>
          <p:cNvPr id="2" name="Grafik 1"/>
          <p:cNvPicPr>
            <a:picLocks noChangeAspect="1"/>
          </p:cNvPicPr>
          <p:nvPr userDrawn="1"/>
        </p:nvPicPr>
        <p:blipFill rotWithShape="1">
          <a:blip r:embed="rId5" cstate="screen">
            <a:extLst>
              <a:ext uri="{28A0092B-C50C-407E-A947-70E740481C1C}">
                <a14:useLocalDpi xmlns:a14="http://schemas.microsoft.com/office/drawing/2010/main"/>
              </a:ext>
            </a:extLst>
          </a:blip>
          <a:srcRect t="-1148" b="-17"/>
          <a:stretch/>
        </p:blipFill>
        <p:spPr>
          <a:xfrm>
            <a:off x="6227451" y="-73597"/>
            <a:ext cx="5965371" cy="6937828"/>
          </a:xfrm>
          <a:prstGeom prst="rect">
            <a:avLst/>
          </a:prstGeom>
        </p:spPr>
      </p:pic>
      <p:sp>
        <p:nvSpPr>
          <p:cNvPr id="9" name="Titel 5"/>
          <p:cNvSpPr txBox="1">
            <a:spLocks/>
          </p:cNvSpPr>
          <p:nvPr userDrawn="1"/>
        </p:nvSpPr>
        <p:spPr>
          <a:xfrm>
            <a:off x="15336" y="148980"/>
            <a:ext cx="5093693" cy="5510217"/>
          </a:xfrm>
          <a:prstGeom prst="rect">
            <a:avLst/>
          </a:prstGeom>
          <a:noFill/>
        </p:spPr>
        <p:txBody>
          <a:bodyPr vert="horz" lIns="720000" tIns="45720" rIns="720000" bIns="45720" rtlCol="0" anchor="ctr">
            <a:noAutofit/>
          </a:bodyPr>
          <a:lstStyle>
            <a:lvl1pPr algn="l" defTabSz="914400" rtl="0" eaLnBrk="1" latinLnBrk="0" hangingPunct="1">
              <a:lnSpc>
                <a:spcPct val="90000"/>
              </a:lnSpc>
              <a:spcBef>
                <a:spcPct val="0"/>
              </a:spcBef>
              <a:buNone/>
              <a:defRPr sz="2800" kern="1200" cap="all" baseline="0">
                <a:solidFill>
                  <a:schemeClr val="accent1"/>
                </a:solidFill>
                <a:latin typeface="+mj-lt"/>
                <a:ea typeface="+mj-ea"/>
                <a:cs typeface="+mj-cs"/>
              </a:defRPr>
            </a:lvl1pPr>
          </a:lstStyle>
          <a:p>
            <a:pPr algn="just" rtl="0">
              <a:lnSpc>
                <a:spcPct val="100000"/>
              </a:lnSpc>
            </a:pPr>
            <a:r>
              <a:rPr lang="en-GB" sz="3200" b="1" cap="none" dirty="0">
                <a:solidFill>
                  <a:schemeClr val="accent3"/>
                </a:solidFill>
              </a:rPr>
              <a:t>DISCLAIMER</a:t>
            </a:r>
            <a:endParaRPr lang="en-GB" sz="3600" b="1" cap="none" dirty="0">
              <a:solidFill>
                <a:schemeClr val="accent3"/>
              </a:solidFill>
            </a:endParaRPr>
          </a:p>
          <a:p>
            <a:pPr algn="just" rtl="0">
              <a:lnSpc>
                <a:spcPct val="100000"/>
              </a:lnSpc>
            </a:pPr>
            <a:endParaRPr lang="en-GB" sz="1600" cap="none" dirty="0">
              <a:solidFill>
                <a:schemeClr val="accent3"/>
              </a:solidFill>
            </a:endParaRPr>
          </a:p>
          <a:p>
            <a:pPr algn="just" rtl="0">
              <a:lnSpc>
                <a:spcPct val="100000"/>
              </a:lnSpc>
            </a:pPr>
            <a:r>
              <a:rPr lang="en-GB" sz="1600" cap="none" dirty="0">
                <a:solidFill>
                  <a:schemeClr val="accent3"/>
                </a:solidFill>
              </a:rPr>
              <a:t>This presentation contains forward-looking statements based on beliefs of Elmos‘ management. Such statements reflect the company‘s current views with respect to future events and are subject to risks and uncertainties. Many factors could cause the actual results to be materially different, including, among others, changes in general economic and business conditions, changes in currency exchange rates and interest rates, introduction of competing products, lack of acceptance of new products or services and changes in business strategy. Actual results may vary materially from those projected here. Elmos does not intend or assume any obligation to update these forward-looking statements.</a:t>
            </a:r>
          </a:p>
        </p:txBody>
      </p:sp>
      <p:pic>
        <p:nvPicPr>
          <p:cNvPr id="14" name="Grafik 13"/>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060349" y="333933"/>
            <a:ext cx="1803660" cy="526876"/>
          </a:xfrm>
          <a:prstGeom prst="rect">
            <a:avLst/>
          </a:prstGeom>
        </p:spPr>
      </p:pic>
      <p:sp>
        <p:nvSpPr>
          <p:cNvPr id="3" name="Foliennummernplatzhalter 2"/>
          <p:cNvSpPr>
            <a:spLocks noGrp="1"/>
          </p:cNvSpPr>
          <p:nvPr>
            <p:ph type="sldNum" sz="quarter" idx="10"/>
          </p:nvPr>
        </p:nvSpPr>
        <p:spPr/>
        <p:txBody>
          <a:bodyPr/>
          <a:lstStyle>
            <a:lvl1pPr rtl="0">
              <a:defRPr/>
            </a:lvl1pPr>
          </a:lstStyle>
          <a:p>
            <a:fld id="{2F388A9D-AD37-461A-B994-DC3D6C9CD850}" type="slidenum">
              <a:rPr lang="en-GB" smtClean="0"/>
              <a:pPr/>
              <a:t>‹#›</a:t>
            </a:fld>
            <a:endParaRPr lang="en-GB" dirty="0"/>
          </a:p>
        </p:txBody>
      </p:sp>
      <p:sp>
        <p:nvSpPr>
          <p:cNvPr id="10" name="Untertitel 6"/>
          <p:cNvSpPr txBox="1">
            <a:spLocks/>
          </p:cNvSpPr>
          <p:nvPr userDrawn="1"/>
        </p:nvSpPr>
        <p:spPr>
          <a:xfrm>
            <a:off x="-1" y="5900887"/>
            <a:ext cx="12192001" cy="765191"/>
          </a:xfrm>
          <a:prstGeom prst="rect">
            <a:avLst/>
          </a:prstGeom>
          <a:noFill/>
        </p:spPr>
        <p:txBody>
          <a:bodyPr vert="horz" lIns="720000" tIns="45720" rIns="91440" bIns="45720" rtlCol="0">
            <a:noAutofit/>
          </a:bodyPr>
          <a:lstStyle>
            <a:lvl1pPr marL="228600" indent="-228600" algn="l" defTabSz="914400" rtl="0" eaLnBrk="1" latinLnBrk="0" hangingPunct="1">
              <a:lnSpc>
                <a:spcPct val="90000"/>
              </a:lnSpc>
              <a:spcBef>
                <a:spcPts val="1000"/>
              </a:spcBef>
              <a:buClr>
                <a:schemeClr val="accent1"/>
              </a:buClr>
              <a:buSzPct val="90000"/>
              <a:buFont typeface="Wingdings" panose="05000000000000000000" pitchFamily="2" charset="2"/>
              <a:buChar char="§"/>
              <a:defRPr sz="2000" kern="1200" baseline="0">
                <a:solidFill>
                  <a:schemeClr val="tx1"/>
                </a:solidFill>
                <a:latin typeface="+mj-lt"/>
                <a:ea typeface="+mn-ea"/>
                <a:cs typeface="+mn-cs"/>
              </a:defRPr>
            </a:lvl1pPr>
            <a:lvl2pPr marL="685800" indent="-228600" algn="l" defTabSz="914400" rtl="0" eaLnBrk="1" latinLnBrk="0" hangingPunct="1">
              <a:lnSpc>
                <a:spcPct val="90000"/>
              </a:lnSpc>
              <a:spcBef>
                <a:spcPts val="500"/>
              </a:spcBef>
              <a:buFont typeface="Symbol" panose="05050102010706020507" pitchFamily="18" charset="2"/>
              <a:buChar char="-"/>
              <a:defRPr sz="2000" kern="1200">
                <a:solidFill>
                  <a:schemeClr val="tx1"/>
                </a:solidFill>
                <a:latin typeface="+mj-lt"/>
                <a:ea typeface="+mn-ea"/>
                <a:cs typeface="+mn-cs"/>
              </a:defRPr>
            </a:lvl2pPr>
            <a:lvl3pPr marL="1143000" indent="-228600" algn="l" defTabSz="914400" rtl="0" eaLnBrk="1" latinLnBrk="0" hangingPunct="1">
              <a:lnSpc>
                <a:spcPct val="90000"/>
              </a:lnSpc>
              <a:spcBef>
                <a:spcPts val="500"/>
              </a:spcBef>
              <a:buFont typeface="Calibri" panose="020F0502020204030204" pitchFamily="34" charset="0"/>
              <a:buChar char="»"/>
              <a:defRPr sz="2000" kern="1200">
                <a:solidFill>
                  <a:schemeClr val="tx1"/>
                </a:solidFill>
                <a:latin typeface="+mj-lt"/>
                <a:ea typeface="+mn-ea"/>
                <a:cs typeface="+mn-cs"/>
              </a:defRPr>
            </a:lvl3pPr>
            <a:lvl4pPr marL="1600200" indent="-228600" algn="l" defTabSz="914400" rtl="0" eaLnBrk="1" latinLnBrk="0" hangingPunct="1">
              <a:lnSpc>
                <a:spcPct val="90000"/>
              </a:lnSpc>
              <a:spcBef>
                <a:spcPts val="500"/>
              </a:spcBef>
              <a:buFont typeface="Calibri" panose="020F0502020204030204" pitchFamily="34" charset="0"/>
              <a:buChar char="›"/>
              <a:defRPr sz="2000" kern="1200" baseline="0">
                <a:solidFill>
                  <a:schemeClr val="tx1"/>
                </a:solidFill>
                <a:latin typeface="+mj-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000" kern="1200" baseline="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rtl="0">
              <a:buNone/>
            </a:pPr>
            <a:r>
              <a:rPr lang="en-GB" sz="2400" b="1" dirty="0">
                <a:solidFill>
                  <a:schemeClr val="accent3"/>
                </a:solidFill>
              </a:rPr>
              <a:t>Elmos Semiconductor SE</a:t>
            </a:r>
            <a:br>
              <a:rPr lang="en-GB" sz="2400" b="1" dirty="0">
                <a:solidFill>
                  <a:schemeClr val="accent3"/>
                </a:solidFill>
              </a:rPr>
            </a:br>
            <a:r>
              <a:rPr lang="en-GB" sz="1600" dirty="0">
                <a:solidFill>
                  <a:schemeClr val="accent3"/>
                </a:solidFill>
              </a:rPr>
              <a:t>Heinrich-Hertz-Str. 1  |  44227 Dortmund  |  Germany  |  Telephone: + 49 231 75 49 0  |  info@elmos.com |  www.elmos.com</a:t>
            </a:r>
          </a:p>
          <a:p>
            <a:pPr rtl="0"/>
            <a:endParaRPr lang="en-GB" sz="1600" b="1" dirty="0">
              <a:solidFill>
                <a:schemeClr val="accent3"/>
              </a:solidFill>
            </a:endParaRPr>
          </a:p>
        </p:txBody>
      </p:sp>
    </p:spTree>
    <p:extLst>
      <p:ext uri="{BB962C8B-B14F-4D97-AF65-F5344CB8AC3E}">
        <p14:creationId xmlns:p14="http://schemas.microsoft.com/office/powerpoint/2010/main" val="380897573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Titel und Inhalt">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6" progId="TCLayout.ActiveDocument.1">
                  <p:embed/>
                </p:oleObj>
              </mc:Choice>
              <mc:Fallback>
                <p:oleObj name="think-cell Folie" r:id="rId3" imgW="395" imgH="396"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Foliennummernplatzhalter 5"/>
          <p:cNvSpPr>
            <a:spLocks noGrp="1"/>
          </p:cNvSpPr>
          <p:nvPr>
            <p:ph type="sldNum" sz="quarter" idx="4"/>
          </p:nvPr>
        </p:nvSpPr>
        <p:spPr>
          <a:xfrm>
            <a:off x="11326284" y="6496051"/>
            <a:ext cx="685800" cy="365125"/>
          </a:xfrm>
          <a:prstGeom prst="rect">
            <a:avLst/>
          </a:prstGeom>
        </p:spPr>
        <p:txBody>
          <a:bodyPr vert="horz" lIns="91440" tIns="45720" rIns="91440" bIns="45720" rtlCol="0" anchor="ctr"/>
          <a:lstStyle>
            <a:lvl1pPr algn="r" rtl="0" fontAlgn="auto">
              <a:spcBef>
                <a:spcPts val="0"/>
              </a:spcBef>
              <a:spcAft>
                <a:spcPts val="0"/>
              </a:spcAft>
              <a:defRPr sz="1200">
                <a:solidFill>
                  <a:schemeClr val="tx1">
                    <a:tint val="75000"/>
                  </a:schemeClr>
                </a:solidFill>
                <a:latin typeface="+mn-lt"/>
                <a:cs typeface="+mn-cs"/>
              </a:defRPr>
            </a:lvl1pPr>
          </a:lstStyle>
          <a:p>
            <a:pPr>
              <a:defRPr/>
            </a:pPr>
            <a:fld id="{B1477A2A-EF81-43C1-ADF6-213689EF6D4F}" type="slidenum">
              <a:rPr lang="en-US" smtClean="0"/>
              <a:pPr>
                <a:defRPr/>
              </a:pPr>
              <a:t>‹#›</a:t>
            </a:fld>
            <a:endParaRPr lang="en-US" dirty="0"/>
          </a:p>
        </p:txBody>
      </p:sp>
      <p:sp>
        <p:nvSpPr>
          <p:cNvPr id="8" name="Footer Placeholder 4"/>
          <p:cNvSpPr>
            <a:spLocks noGrp="1"/>
          </p:cNvSpPr>
          <p:nvPr>
            <p:ph type="ftr" sz="quarter" idx="3"/>
          </p:nvPr>
        </p:nvSpPr>
        <p:spPr>
          <a:xfrm>
            <a:off x="321733" y="6521627"/>
            <a:ext cx="10908785" cy="331932"/>
          </a:xfrm>
          <a:prstGeom prst="rect">
            <a:avLst/>
          </a:prstGeom>
        </p:spPr>
        <p:txBody>
          <a:bodyPr vert="horz" lIns="91440" tIns="45720" rIns="91440" bIns="45720" rtlCol="0" anchor="ctr"/>
          <a:lstStyle>
            <a:lvl1pPr algn="l" rtl="0">
              <a:defRPr sz="1200">
                <a:solidFill>
                  <a:schemeClr val="tx1">
                    <a:lumMod val="50000"/>
                    <a:lumOff val="50000"/>
                  </a:schemeClr>
                </a:solidFill>
              </a:defRPr>
            </a:lvl1pPr>
          </a:lstStyle>
          <a:p>
            <a:r>
              <a:rPr lang="en-US"/>
              <a:t>Source: Elmos</a:t>
            </a:r>
            <a:endParaRPr lang="en-US" dirty="0"/>
          </a:p>
        </p:txBody>
      </p:sp>
      <p:sp>
        <p:nvSpPr>
          <p:cNvPr id="9" name="Titelplatzhalter 1"/>
          <p:cNvSpPr>
            <a:spLocks noGrp="1"/>
          </p:cNvSpPr>
          <p:nvPr>
            <p:ph type="title"/>
          </p:nvPr>
        </p:nvSpPr>
        <p:spPr bwMode="auto">
          <a:xfrm>
            <a:off x="321732" y="138113"/>
            <a:ext cx="8845552" cy="704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lvl1pPr rtl="0">
              <a:defRPr/>
            </a:lvl1pPr>
          </a:lstStyle>
          <a:p>
            <a:pPr lvl="0"/>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cxnSp>
        <p:nvCxnSpPr>
          <p:cNvPr id="6" name="Gerade Verbindung 3"/>
          <p:cNvCxnSpPr/>
          <p:nvPr userDrawn="1"/>
        </p:nvCxnSpPr>
        <p:spPr>
          <a:xfrm>
            <a:off x="321734" y="985838"/>
            <a:ext cx="11535833" cy="0"/>
          </a:xfrm>
          <a:prstGeom prst="line">
            <a:avLst/>
          </a:prstGeom>
          <a:ln w="15875">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0" name="Gerade Verbindung 6"/>
          <p:cNvCxnSpPr/>
          <p:nvPr userDrawn="1"/>
        </p:nvCxnSpPr>
        <p:spPr>
          <a:xfrm>
            <a:off x="321734" y="985838"/>
            <a:ext cx="11535833" cy="0"/>
          </a:xfrm>
          <a:prstGeom prst="line">
            <a:avLst/>
          </a:prstGeom>
          <a:ln w="15875">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1" name="Gerade Verbindung 8"/>
          <p:cNvCxnSpPr/>
          <p:nvPr userDrawn="1"/>
        </p:nvCxnSpPr>
        <p:spPr>
          <a:xfrm>
            <a:off x="321734" y="985838"/>
            <a:ext cx="11535833" cy="0"/>
          </a:xfrm>
          <a:prstGeom prst="line">
            <a:avLst/>
          </a:prstGeom>
          <a:ln w="15875">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2" name="Inhaltsplatzhalter 2"/>
          <p:cNvSpPr>
            <a:spLocks noGrp="1"/>
          </p:cNvSpPr>
          <p:nvPr>
            <p:ph idx="1"/>
          </p:nvPr>
        </p:nvSpPr>
        <p:spPr>
          <a:xfrm>
            <a:off x="321732" y="1177928"/>
            <a:ext cx="5378451" cy="4999036"/>
          </a:xfrm>
        </p:spPr>
        <p:txBody>
          <a:bodyPr/>
          <a:lstStyle>
            <a:lvl1pPr rtl="0">
              <a:defRPr/>
            </a:lvl1pPr>
            <a:lvl2pPr rtl="0">
              <a:defRPr/>
            </a:lvl2pPr>
            <a:lvl3pPr rtl="0">
              <a:defRPr/>
            </a:lvl3pPr>
            <a:lvl4pPr rtl="0">
              <a:defRPr/>
            </a:lvl4pPr>
            <a:lvl5pPr rtl="0">
              <a:defRPr/>
            </a:lvl5pPr>
          </a:lstStyle>
          <a:p>
            <a:pPr lvl="0"/>
            <a:r>
              <a:rPr lang="en-US" dirty="0" err="1"/>
              <a:t>Textmaster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p:txBody>
      </p:sp>
      <p:sp>
        <p:nvSpPr>
          <p:cNvPr id="13" name="Inhaltsplatzhalter 2"/>
          <p:cNvSpPr>
            <a:spLocks noGrp="1"/>
          </p:cNvSpPr>
          <p:nvPr>
            <p:ph idx="12"/>
          </p:nvPr>
        </p:nvSpPr>
        <p:spPr>
          <a:xfrm>
            <a:off x="6272172" y="1177928"/>
            <a:ext cx="5585395" cy="4999036"/>
          </a:xfrm>
        </p:spPr>
        <p:txBody>
          <a:bodyPr/>
          <a:lstStyle>
            <a:lvl1pPr rtl="0">
              <a:defRPr/>
            </a:lvl1pPr>
            <a:lvl2pPr rtl="0">
              <a:defRPr/>
            </a:lvl2pPr>
            <a:lvl3pPr rtl="0">
              <a:defRPr/>
            </a:lvl3pPr>
            <a:lvl4pPr rtl="0">
              <a:defRPr/>
            </a:lvl4pPr>
            <a:lvl5pPr rtl="0">
              <a:defRPr/>
            </a:lvl5pPr>
          </a:lstStyle>
          <a:p>
            <a:pPr lvl="0"/>
            <a:r>
              <a:rPr lang="en-US" dirty="0" err="1"/>
              <a:t>Textmaster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p:txBody>
      </p:sp>
    </p:spTree>
    <p:extLst>
      <p:ext uri="{BB962C8B-B14F-4D97-AF65-F5344CB8AC3E}">
        <p14:creationId xmlns:p14="http://schemas.microsoft.com/office/powerpoint/2010/main" val="201926106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BAFE0B-23AB-0FE5-A545-96BF89F9C95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4A68C363-3753-E305-97AB-8E5DE8D0209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06B8D71A-2717-B751-79F5-65659EF1DA9E}"/>
              </a:ext>
            </a:extLst>
          </p:cNvPr>
          <p:cNvSpPr>
            <a:spLocks noGrp="1"/>
          </p:cNvSpPr>
          <p:nvPr>
            <p:ph type="dt" sz="half" idx="10"/>
          </p:nvPr>
        </p:nvSpPr>
        <p:spPr/>
        <p:txBody>
          <a:bodyPr/>
          <a:lstStyle/>
          <a:p>
            <a:fld id="{270978A3-844C-406B-AD2B-81E7BE933A90}" type="datetimeFigureOut">
              <a:rPr lang="en-GB" smtClean="0"/>
              <a:t>23/06/2024</a:t>
            </a:fld>
            <a:endParaRPr lang="en-GB"/>
          </a:p>
        </p:txBody>
      </p:sp>
      <p:sp>
        <p:nvSpPr>
          <p:cNvPr id="5" name="Footer Placeholder 4">
            <a:extLst>
              <a:ext uri="{FF2B5EF4-FFF2-40B4-BE49-F238E27FC236}">
                <a16:creationId xmlns:a16="http://schemas.microsoft.com/office/drawing/2014/main" id="{2C6B97FD-3D52-1743-8D19-30F5417716B8}"/>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463D0809-69F6-6AC7-017F-EF7C478F4F8E}"/>
              </a:ext>
            </a:extLst>
          </p:cNvPr>
          <p:cNvSpPr>
            <a:spLocks noGrp="1"/>
          </p:cNvSpPr>
          <p:nvPr>
            <p:ph type="sldNum" sz="quarter" idx="12"/>
          </p:nvPr>
        </p:nvSpPr>
        <p:spPr/>
        <p:txBody>
          <a:bodyPr/>
          <a:lstStyle/>
          <a:p>
            <a:fld id="{40CBEE42-7F5A-43F2-83A3-1F442347B8BD}" type="slidenum">
              <a:rPr lang="en-GB" smtClean="0"/>
              <a:t>‹#›</a:t>
            </a:fld>
            <a:endParaRPr lang="en-GB"/>
          </a:p>
        </p:txBody>
      </p:sp>
    </p:spTree>
    <p:extLst>
      <p:ext uri="{BB962C8B-B14F-4D97-AF65-F5344CB8AC3E}">
        <p14:creationId xmlns:p14="http://schemas.microsoft.com/office/powerpoint/2010/main" val="122788214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5E37F5-F6F0-2EA0-B010-F5EC486805B2}"/>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F34FC149-EF35-2138-B9C4-A30BED839EA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EF6C4808-A898-AB08-6901-40D1F6CE6468}"/>
              </a:ext>
            </a:extLst>
          </p:cNvPr>
          <p:cNvSpPr>
            <a:spLocks noGrp="1"/>
          </p:cNvSpPr>
          <p:nvPr>
            <p:ph type="dt" sz="half" idx="10"/>
          </p:nvPr>
        </p:nvSpPr>
        <p:spPr/>
        <p:txBody>
          <a:bodyPr/>
          <a:lstStyle/>
          <a:p>
            <a:fld id="{270978A3-844C-406B-AD2B-81E7BE933A90}" type="datetimeFigureOut">
              <a:rPr lang="en-GB" smtClean="0"/>
              <a:t>23/06/2024</a:t>
            </a:fld>
            <a:endParaRPr lang="en-GB"/>
          </a:p>
        </p:txBody>
      </p:sp>
      <p:sp>
        <p:nvSpPr>
          <p:cNvPr id="5" name="Footer Placeholder 4">
            <a:extLst>
              <a:ext uri="{FF2B5EF4-FFF2-40B4-BE49-F238E27FC236}">
                <a16:creationId xmlns:a16="http://schemas.microsoft.com/office/drawing/2014/main" id="{74A25CD3-C2EE-12B8-30B6-535EE51B63AE}"/>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48D3049-212F-8274-D9A9-BFB5EC01ED11}"/>
              </a:ext>
            </a:extLst>
          </p:cNvPr>
          <p:cNvSpPr>
            <a:spLocks noGrp="1"/>
          </p:cNvSpPr>
          <p:nvPr>
            <p:ph type="sldNum" sz="quarter" idx="12"/>
          </p:nvPr>
        </p:nvSpPr>
        <p:spPr/>
        <p:txBody>
          <a:bodyPr/>
          <a:lstStyle/>
          <a:p>
            <a:fld id="{40CBEE42-7F5A-43F2-83A3-1F442347B8BD}" type="slidenum">
              <a:rPr lang="en-GB" smtClean="0"/>
              <a:t>‹#›</a:t>
            </a:fld>
            <a:endParaRPr lang="en-GB"/>
          </a:p>
        </p:txBody>
      </p:sp>
    </p:spTree>
    <p:extLst>
      <p:ext uri="{BB962C8B-B14F-4D97-AF65-F5344CB8AC3E}">
        <p14:creationId xmlns:p14="http://schemas.microsoft.com/office/powerpoint/2010/main" val="309018115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5E1508-EC09-007F-5497-1C71B0F01290}"/>
              </a:ext>
            </a:extLst>
          </p:cNvPr>
          <p:cNvSpPr>
            <a:spLocks noGrp="1"/>
          </p:cNvSpPr>
          <p:nvPr>
            <p:ph type="title"/>
          </p:nvPr>
        </p:nvSpPr>
        <p:spPr/>
        <p:txBody>
          <a:bodyPr/>
          <a:lstStyle/>
          <a:p>
            <a:r>
              <a:rPr lang="en-GB"/>
              <a:t>Click to edit Master title style</a:t>
            </a:r>
          </a:p>
        </p:txBody>
      </p:sp>
      <p:sp>
        <p:nvSpPr>
          <p:cNvPr id="3" name="Content Placeholder 2">
            <a:extLst>
              <a:ext uri="{FF2B5EF4-FFF2-40B4-BE49-F238E27FC236}">
                <a16:creationId xmlns:a16="http://schemas.microsoft.com/office/drawing/2014/main" id="{C68109E4-E5B2-01CF-7AE4-035E0EE4BE7E}"/>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0E923BC4-D376-52AB-EAD4-56F42B35C6A4}"/>
              </a:ext>
            </a:extLst>
          </p:cNvPr>
          <p:cNvSpPr>
            <a:spLocks noGrp="1"/>
          </p:cNvSpPr>
          <p:nvPr>
            <p:ph type="dt" sz="half" idx="10"/>
          </p:nvPr>
        </p:nvSpPr>
        <p:spPr/>
        <p:txBody>
          <a:bodyPr/>
          <a:lstStyle/>
          <a:p>
            <a:fld id="{923CFB00-16CD-4A5D-8353-B2F2FFED28E8}" type="datetimeFigureOut">
              <a:rPr lang="en-GB" smtClean="0"/>
              <a:t>23/06/2024</a:t>
            </a:fld>
            <a:endParaRPr lang="en-GB"/>
          </a:p>
        </p:txBody>
      </p:sp>
      <p:sp>
        <p:nvSpPr>
          <p:cNvPr id="5" name="Footer Placeholder 4">
            <a:extLst>
              <a:ext uri="{FF2B5EF4-FFF2-40B4-BE49-F238E27FC236}">
                <a16:creationId xmlns:a16="http://schemas.microsoft.com/office/drawing/2014/main" id="{7A26196D-D28E-88B6-1E26-6FCDA327D48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F29D403F-838F-B591-CEBF-5D8878C86FCA}"/>
              </a:ext>
            </a:extLst>
          </p:cNvPr>
          <p:cNvSpPr>
            <a:spLocks noGrp="1"/>
          </p:cNvSpPr>
          <p:nvPr>
            <p:ph type="sldNum" sz="quarter" idx="12"/>
          </p:nvPr>
        </p:nvSpPr>
        <p:spPr/>
        <p:txBody>
          <a:bodyPr/>
          <a:lstStyle/>
          <a:p>
            <a:fld id="{140D1FED-518D-4FB4-BCAB-05C56058F68A}" type="slidenum">
              <a:rPr lang="en-GB" smtClean="0"/>
              <a:t>‹#›</a:t>
            </a:fld>
            <a:endParaRPr lang="en-GB"/>
          </a:p>
        </p:txBody>
      </p:sp>
    </p:spTree>
    <p:extLst>
      <p:ext uri="{BB962C8B-B14F-4D97-AF65-F5344CB8AC3E}">
        <p14:creationId xmlns:p14="http://schemas.microsoft.com/office/powerpoint/2010/main" val="318582900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03937A-4568-4794-A928-301AD701FB7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7797D0E9-067F-D326-DB09-0B898AEF5B8C}"/>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064D1EE9-F33B-F34A-791A-8656ADDA68A0}"/>
              </a:ext>
            </a:extLst>
          </p:cNvPr>
          <p:cNvSpPr>
            <a:spLocks noGrp="1"/>
          </p:cNvSpPr>
          <p:nvPr>
            <p:ph type="dt" sz="half" idx="10"/>
          </p:nvPr>
        </p:nvSpPr>
        <p:spPr/>
        <p:txBody>
          <a:bodyPr/>
          <a:lstStyle/>
          <a:p>
            <a:fld id="{270978A3-844C-406B-AD2B-81E7BE933A90}" type="datetimeFigureOut">
              <a:rPr lang="en-GB" smtClean="0"/>
              <a:t>23/06/2024</a:t>
            </a:fld>
            <a:endParaRPr lang="en-GB"/>
          </a:p>
        </p:txBody>
      </p:sp>
      <p:sp>
        <p:nvSpPr>
          <p:cNvPr id="5" name="Footer Placeholder 4">
            <a:extLst>
              <a:ext uri="{FF2B5EF4-FFF2-40B4-BE49-F238E27FC236}">
                <a16:creationId xmlns:a16="http://schemas.microsoft.com/office/drawing/2014/main" id="{DF77F2B6-2353-79AA-71E6-4D457CAC3CC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BE6E9161-4765-1AC5-6D50-7E8FC4ED2E6F}"/>
              </a:ext>
            </a:extLst>
          </p:cNvPr>
          <p:cNvSpPr>
            <a:spLocks noGrp="1"/>
          </p:cNvSpPr>
          <p:nvPr>
            <p:ph type="sldNum" sz="quarter" idx="12"/>
          </p:nvPr>
        </p:nvSpPr>
        <p:spPr/>
        <p:txBody>
          <a:bodyPr/>
          <a:lstStyle/>
          <a:p>
            <a:fld id="{40CBEE42-7F5A-43F2-83A3-1F442347B8BD}" type="slidenum">
              <a:rPr lang="en-GB" smtClean="0"/>
              <a:t>‹#›</a:t>
            </a:fld>
            <a:endParaRPr lang="en-GB"/>
          </a:p>
        </p:txBody>
      </p:sp>
    </p:spTree>
    <p:extLst>
      <p:ext uri="{BB962C8B-B14F-4D97-AF65-F5344CB8AC3E}">
        <p14:creationId xmlns:p14="http://schemas.microsoft.com/office/powerpoint/2010/main" val="229831735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65E7E3-6CD2-BB8C-3F74-1C3669F98CFA}"/>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30C1EA9D-9EE9-9338-4733-6295077D5DB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E5FEA321-6AA7-6011-EF61-AAD2A9F329D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2C5226A7-3834-A7CD-BE3F-67442840741B}"/>
              </a:ext>
            </a:extLst>
          </p:cNvPr>
          <p:cNvSpPr>
            <a:spLocks noGrp="1"/>
          </p:cNvSpPr>
          <p:nvPr>
            <p:ph type="dt" sz="half" idx="10"/>
          </p:nvPr>
        </p:nvSpPr>
        <p:spPr/>
        <p:txBody>
          <a:bodyPr/>
          <a:lstStyle/>
          <a:p>
            <a:fld id="{270978A3-844C-406B-AD2B-81E7BE933A90}" type="datetimeFigureOut">
              <a:rPr lang="en-GB" smtClean="0"/>
              <a:t>23/06/2024</a:t>
            </a:fld>
            <a:endParaRPr lang="en-GB"/>
          </a:p>
        </p:txBody>
      </p:sp>
      <p:sp>
        <p:nvSpPr>
          <p:cNvPr id="6" name="Footer Placeholder 5">
            <a:extLst>
              <a:ext uri="{FF2B5EF4-FFF2-40B4-BE49-F238E27FC236}">
                <a16:creationId xmlns:a16="http://schemas.microsoft.com/office/drawing/2014/main" id="{54FB85FA-05B9-FDC4-3680-BA8E23227841}"/>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6C848061-2CBD-E054-CB71-1AA0AF7E041F}"/>
              </a:ext>
            </a:extLst>
          </p:cNvPr>
          <p:cNvSpPr>
            <a:spLocks noGrp="1"/>
          </p:cNvSpPr>
          <p:nvPr>
            <p:ph type="sldNum" sz="quarter" idx="12"/>
          </p:nvPr>
        </p:nvSpPr>
        <p:spPr/>
        <p:txBody>
          <a:bodyPr/>
          <a:lstStyle/>
          <a:p>
            <a:fld id="{40CBEE42-7F5A-43F2-83A3-1F442347B8BD}" type="slidenum">
              <a:rPr lang="en-GB" smtClean="0"/>
              <a:t>‹#›</a:t>
            </a:fld>
            <a:endParaRPr lang="en-GB"/>
          </a:p>
        </p:txBody>
      </p:sp>
    </p:spTree>
    <p:extLst>
      <p:ext uri="{BB962C8B-B14F-4D97-AF65-F5344CB8AC3E}">
        <p14:creationId xmlns:p14="http://schemas.microsoft.com/office/powerpoint/2010/main" val="226675517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D55D50-6500-2A4B-7196-2DBA058D37FC}"/>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47A098AA-BEE2-E4DC-C256-98B61F9729F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42CB977-FD55-BC14-4223-15CBB8B8169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ECD0C646-38E2-7570-7801-10C55A1EEC7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F999662-0316-C740-0EA8-6122978254E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813CFFA0-EAAA-DFF0-116A-68082051B2A6}"/>
              </a:ext>
            </a:extLst>
          </p:cNvPr>
          <p:cNvSpPr>
            <a:spLocks noGrp="1"/>
          </p:cNvSpPr>
          <p:nvPr>
            <p:ph type="dt" sz="half" idx="10"/>
          </p:nvPr>
        </p:nvSpPr>
        <p:spPr/>
        <p:txBody>
          <a:bodyPr/>
          <a:lstStyle/>
          <a:p>
            <a:fld id="{270978A3-844C-406B-AD2B-81E7BE933A90}" type="datetimeFigureOut">
              <a:rPr lang="en-GB" smtClean="0"/>
              <a:t>23/06/2024</a:t>
            </a:fld>
            <a:endParaRPr lang="en-GB"/>
          </a:p>
        </p:txBody>
      </p:sp>
      <p:sp>
        <p:nvSpPr>
          <p:cNvPr id="8" name="Footer Placeholder 7">
            <a:extLst>
              <a:ext uri="{FF2B5EF4-FFF2-40B4-BE49-F238E27FC236}">
                <a16:creationId xmlns:a16="http://schemas.microsoft.com/office/drawing/2014/main" id="{695911BD-B7BB-DE70-581C-1C60029A7FD4}"/>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366541BD-633F-6319-145C-AFE253FAD68C}"/>
              </a:ext>
            </a:extLst>
          </p:cNvPr>
          <p:cNvSpPr>
            <a:spLocks noGrp="1"/>
          </p:cNvSpPr>
          <p:nvPr>
            <p:ph type="sldNum" sz="quarter" idx="12"/>
          </p:nvPr>
        </p:nvSpPr>
        <p:spPr/>
        <p:txBody>
          <a:bodyPr/>
          <a:lstStyle/>
          <a:p>
            <a:fld id="{40CBEE42-7F5A-43F2-83A3-1F442347B8BD}" type="slidenum">
              <a:rPr lang="en-GB" smtClean="0"/>
              <a:t>‹#›</a:t>
            </a:fld>
            <a:endParaRPr lang="en-GB"/>
          </a:p>
        </p:txBody>
      </p:sp>
    </p:spTree>
    <p:extLst>
      <p:ext uri="{BB962C8B-B14F-4D97-AF65-F5344CB8AC3E}">
        <p14:creationId xmlns:p14="http://schemas.microsoft.com/office/powerpoint/2010/main" val="84029636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190E24-F8D7-B0EB-4A51-0E71B4BE30A3}"/>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0C157D80-BC87-B23F-3776-14D76BF18B1B}"/>
              </a:ext>
            </a:extLst>
          </p:cNvPr>
          <p:cNvSpPr>
            <a:spLocks noGrp="1"/>
          </p:cNvSpPr>
          <p:nvPr>
            <p:ph type="dt" sz="half" idx="10"/>
          </p:nvPr>
        </p:nvSpPr>
        <p:spPr/>
        <p:txBody>
          <a:bodyPr/>
          <a:lstStyle/>
          <a:p>
            <a:fld id="{270978A3-844C-406B-AD2B-81E7BE933A90}" type="datetimeFigureOut">
              <a:rPr lang="en-GB" smtClean="0"/>
              <a:t>23/06/2024</a:t>
            </a:fld>
            <a:endParaRPr lang="en-GB"/>
          </a:p>
        </p:txBody>
      </p:sp>
      <p:sp>
        <p:nvSpPr>
          <p:cNvPr id="4" name="Footer Placeholder 3">
            <a:extLst>
              <a:ext uri="{FF2B5EF4-FFF2-40B4-BE49-F238E27FC236}">
                <a16:creationId xmlns:a16="http://schemas.microsoft.com/office/drawing/2014/main" id="{9059F4D6-4DAC-E660-8881-6CF616E7CCB3}"/>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CB0816B9-D9FA-26EC-7CC7-009CDE468E96}"/>
              </a:ext>
            </a:extLst>
          </p:cNvPr>
          <p:cNvSpPr>
            <a:spLocks noGrp="1"/>
          </p:cNvSpPr>
          <p:nvPr>
            <p:ph type="sldNum" sz="quarter" idx="12"/>
          </p:nvPr>
        </p:nvSpPr>
        <p:spPr/>
        <p:txBody>
          <a:bodyPr/>
          <a:lstStyle/>
          <a:p>
            <a:fld id="{40CBEE42-7F5A-43F2-83A3-1F442347B8BD}" type="slidenum">
              <a:rPr lang="en-GB" smtClean="0"/>
              <a:t>‹#›</a:t>
            </a:fld>
            <a:endParaRPr lang="en-GB"/>
          </a:p>
        </p:txBody>
      </p:sp>
    </p:spTree>
    <p:extLst>
      <p:ext uri="{BB962C8B-B14F-4D97-AF65-F5344CB8AC3E}">
        <p14:creationId xmlns:p14="http://schemas.microsoft.com/office/powerpoint/2010/main" val="325433771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445AC97-C5BE-E568-0AB0-67A0BEF05EF3}"/>
              </a:ext>
            </a:extLst>
          </p:cNvPr>
          <p:cNvSpPr>
            <a:spLocks noGrp="1"/>
          </p:cNvSpPr>
          <p:nvPr>
            <p:ph type="dt" sz="half" idx="10"/>
          </p:nvPr>
        </p:nvSpPr>
        <p:spPr/>
        <p:txBody>
          <a:bodyPr/>
          <a:lstStyle/>
          <a:p>
            <a:fld id="{270978A3-844C-406B-AD2B-81E7BE933A90}" type="datetimeFigureOut">
              <a:rPr lang="en-GB" smtClean="0"/>
              <a:t>23/06/2024</a:t>
            </a:fld>
            <a:endParaRPr lang="en-GB"/>
          </a:p>
        </p:txBody>
      </p:sp>
      <p:sp>
        <p:nvSpPr>
          <p:cNvPr id="3" name="Footer Placeholder 2">
            <a:extLst>
              <a:ext uri="{FF2B5EF4-FFF2-40B4-BE49-F238E27FC236}">
                <a16:creationId xmlns:a16="http://schemas.microsoft.com/office/drawing/2014/main" id="{D2AEA345-6048-4FFF-D338-16C11054A65B}"/>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08253B0E-AD02-4DCD-33B9-5B66FB5B4C6F}"/>
              </a:ext>
            </a:extLst>
          </p:cNvPr>
          <p:cNvSpPr>
            <a:spLocks noGrp="1"/>
          </p:cNvSpPr>
          <p:nvPr>
            <p:ph type="sldNum" sz="quarter" idx="12"/>
          </p:nvPr>
        </p:nvSpPr>
        <p:spPr/>
        <p:txBody>
          <a:bodyPr/>
          <a:lstStyle/>
          <a:p>
            <a:fld id="{40CBEE42-7F5A-43F2-83A3-1F442347B8BD}" type="slidenum">
              <a:rPr lang="en-GB" smtClean="0"/>
              <a:t>‹#›</a:t>
            </a:fld>
            <a:endParaRPr lang="en-GB"/>
          </a:p>
        </p:txBody>
      </p:sp>
    </p:spTree>
    <p:extLst>
      <p:ext uri="{BB962C8B-B14F-4D97-AF65-F5344CB8AC3E}">
        <p14:creationId xmlns:p14="http://schemas.microsoft.com/office/powerpoint/2010/main" val="313424799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53CE5E-0BDA-D41B-85D4-E61288D26AC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BC4DB3D0-2939-85EE-5C99-D16675B56BE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D67CB403-4CF3-E630-049D-E49E74CC196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79337D9-4031-B082-F52F-0D3BA4AD7A12}"/>
              </a:ext>
            </a:extLst>
          </p:cNvPr>
          <p:cNvSpPr>
            <a:spLocks noGrp="1"/>
          </p:cNvSpPr>
          <p:nvPr>
            <p:ph type="dt" sz="half" idx="10"/>
          </p:nvPr>
        </p:nvSpPr>
        <p:spPr/>
        <p:txBody>
          <a:bodyPr/>
          <a:lstStyle/>
          <a:p>
            <a:fld id="{270978A3-844C-406B-AD2B-81E7BE933A90}" type="datetimeFigureOut">
              <a:rPr lang="en-GB" smtClean="0"/>
              <a:t>23/06/2024</a:t>
            </a:fld>
            <a:endParaRPr lang="en-GB"/>
          </a:p>
        </p:txBody>
      </p:sp>
      <p:sp>
        <p:nvSpPr>
          <p:cNvPr id="6" name="Footer Placeholder 5">
            <a:extLst>
              <a:ext uri="{FF2B5EF4-FFF2-40B4-BE49-F238E27FC236}">
                <a16:creationId xmlns:a16="http://schemas.microsoft.com/office/drawing/2014/main" id="{87A4F4F5-B7FE-3C2F-3791-FAD8489FD6E1}"/>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5792E57D-545F-37A2-793C-F855815F6FD9}"/>
              </a:ext>
            </a:extLst>
          </p:cNvPr>
          <p:cNvSpPr>
            <a:spLocks noGrp="1"/>
          </p:cNvSpPr>
          <p:nvPr>
            <p:ph type="sldNum" sz="quarter" idx="12"/>
          </p:nvPr>
        </p:nvSpPr>
        <p:spPr/>
        <p:txBody>
          <a:bodyPr/>
          <a:lstStyle/>
          <a:p>
            <a:fld id="{40CBEE42-7F5A-43F2-83A3-1F442347B8BD}" type="slidenum">
              <a:rPr lang="en-GB" smtClean="0"/>
              <a:t>‹#›</a:t>
            </a:fld>
            <a:endParaRPr lang="en-GB"/>
          </a:p>
        </p:txBody>
      </p:sp>
    </p:spTree>
    <p:extLst>
      <p:ext uri="{BB962C8B-B14F-4D97-AF65-F5344CB8AC3E}">
        <p14:creationId xmlns:p14="http://schemas.microsoft.com/office/powerpoint/2010/main" val="133560893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4B221E-3A67-3968-24DE-12491234243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1ACB290B-920D-7E58-470A-D424FBF52EE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FB2CCEBD-9ACA-53AF-7534-D47B78580C1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81EFC9B-7A7F-2226-EF42-7C566D762D91}"/>
              </a:ext>
            </a:extLst>
          </p:cNvPr>
          <p:cNvSpPr>
            <a:spLocks noGrp="1"/>
          </p:cNvSpPr>
          <p:nvPr>
            <p:ph type="dt" sz="half" idx="10"/>
          </p:nvPr>
        </p:nvSpPr>
        <p:spPr/>
        <p:txBody>
          <a:bodyPr/>
          <a:lstStyle/>
          <a:p>
            <a:fld id="{270978A3-844C-406B-AD2B-81E7BE933A90}" type="datetimeFigureOut">
              <a:rPr lang="en-GB" smtClean="0"/>
              <a:t>23/06/2024</a:t>
            </a:fld>
            <a:endParaRPr lang="en-GB"/>
          </a:p>
        </p:txBody>
      </p:sp>
      <p:sp>
        <p:nvSpPr>
          <p:cNvPr id="6" name="Footer Placeholder 5">
            <a:extLst>
              <a:ext uri="{FF2B5EF4-FFF2-40B4-BE49-F238E27FC236}">
                <a16:creationId xmlns:a16="http://schemas.microsoft.com/office/drawing/2014/main" id="{3353B714-A09E-AC86-8E15-5BD562A9548A}"/>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C6B0E3A9-57E6-24D5-453A-F7DD069D9BCB}"/>
              </a:ext>
            </a:extLst>
          </p:cNvPr>
          <p:cNvSpPr>
            <a:spLocks noGrp="1"/>
          </p:cNvSpPr>
          <p:nvPr>
            <p:ph type="sldNum" sz="quarter" idx="12"/>
          </p:nvPr>
        </p:nvSpPr>
        <p:spPr/>
        <p:txBody>
          <a:bodyPr/>
          <a:lstStyle/>
          <a:p>
            <a:fld id="{40CBEE42-7F5A-43F2-83A3-1F442347B8BD}" type="slidenum">
              <a:rPr lang="en-GB" smtClean="0"/>
              <a:t>‹#›</a:t>
            </a:fld>
            <a:endParaRPr lang="en-GB"/>
          </a:p>
        </p:txBody>
      </p:sp>
    </p:spTree>
    <p:extLst>
      <p:ext uri="{BB962C8B-B14F-4D97-AF65-F5344CB8AC3E}">
        <p14:creationId xmlns:p14="http://schemas.microsoft.com/office/powerpoint/2010/main" val="324142309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0428A0-3B29-2292-8066-4E590D5F9540}"/>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49A41E5C-3A29-B2A9-52EB-47BCCC96BDD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6FDCFA4-D9D6-04AB-A025-B8FB70EBA2BD}"/>
              </a:ext>
            </a:extLst>
          </p:cNvPr>
          <p:cNvSpPr>
            <a:spLocks noGrp="1"/>
          </p:cNvSpPr>
          <p:nvPr>
            <p:ph type="dt" sz="half" idx="10"/>
          </p:nvPr>
        </p:nvSpPr>
        <p:spPr/>
        <p:txBody>
          <a:bodyPr/>
          <a:lstStyle/>
          <a:p>
            <a:fld id="{270978A3-844C-406B-AD2B-81E7BE933A90}" type="datetimeFigureOut">
              <a:rPr lang="en-GB" smtClean="0"/>
              <a:t>23/06/2024</a:t>
            </a:fld>
            <a:endParaRPr lang="en-GB"/>
          </a:p>
        </p:txBody>
      </p:sp>
      <p:sp>
        <p:nvSpPr>
          <p:cNvPr id="5" name="Footer Placeholder 4">
            <a:extLst>
              <a:ext uri="{FF2B5EF4-FFF2-40B4-BE49-F238E27FC236}">
                <a16:creationId xmlns:a16="http://schemas.microsoft.com/office/drawing/2014/main" id="{6A74BC88-93B7-8FF5-A949-26B1C40EF5C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4A7196DA-5F1D-27F5-42AF-311181FA2FAE}"/>
              </a:ext>
            </a:extLst>
          </p:cNvPr>
          <p:cNvSpPr>
            <a:spLocks noGrp="1"/>
          </p:cNvSpPr>
          <p:nvPr>
            <p:ph type="sldNum" sz="quarter" idx="12"/>
          </p:nvPr>
        </p:nvSpPr>
        <p:spPr/>
        <p:txBody>
          <a:bodyPr/>
          <a:lstStyle/>
          <a:p>
            <a:fld id="{40CBEE42-7F5A-43F2-83A3-1F442347B8BD}" type="slidenum">
              <a:rPr lang="en-GB" smtClean="0"/>
              <a:t>‹#›</a:t>
            </a:fld>
            <a:endParaRPr lang="en-GB"/>
          </a:p>
        </p:txBody>
      </p:sp>
    </p:spTree>
    <p:extLst>
      <p:ext uri="{BB962C8B-B14F-4D97-AF65-F5344CB8AC3E}">
        <p14:creationId xmlns:p14="http://schemas.microsoft.com/office/powerpoint/2010/main" val="298610045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E3E9B9F-7DD8-44DB-6E83-3369A9735D97}"/>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928E4641-73D6-7F1D-718E-61A3D05FFA7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DAD43C96-5235-04EC-FC3A-5CCEAF43811B}"/>
              </a:ext>
            </a:extLst>
          </p:cNvPr>
          <p:cNvSpPr>
            <a:spLocks noGrp="1"/>
          </p:cNvSpPr>
          <p:nvPr>
            <p:ph type="dt" sz="half" idx="10"/>
          </p:nvPr>
        </p:nvSpPr>
        <p:spPr/>
        <p:txBody>
          <a:bodyPr/>
          <a:lstStyle/>
          <a:p>
            <a:fld id="{270978A3-844C-406B-AD2B-81E7BE933A90}" type="datetimeFigureOut">
              <a:rPr lang="en-GB" smtClean="0"/>
              <a:t>23/06/2024</a:t>
            </a:fld>
            <a:endParaRPr lang="en-GB"/>
          </a:p>
        </p:txBody>
      </p:sp>
      <p:sp>
        <p:nvSpPr>
          <p:cNvPr id="5" name="Footer Placeholder 4">
            <a:extLst>
              <a:ext uri="{FF2B5EF4-FFF2-40B4-BE49-F238E27FC236}">
                <a16:creationId xmlns:a16="http://schemas.microsoft.com/office/drawing/2014/main" id="{225CDCD6-6751-706F-11C7-EFA27888A9AD}"/>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7D354D49-643C-BF21-E9B6-43CB21BB85B2}"/>
              </a:ext>
            </a:extLst>
          </p:cNvPr>
          <p:cNvSpPr>
            <a:spLocks noGrp="1"/>
          </p:cNvSpPr>
          <p:nvPr>
            <p:ph type="sldNum" sz="quarter" idx="12"/>
          </p:nvPr>
        </p:nvSpPr>
        <p:spPr/>
        <p:txBody>
          <a:bodyPr/>
          <a:lstStyle/>
          <a:p>
            <a:fld id="{40CBEE42-7F5A-43F2-83A3-1F442347B8BD}" type="slidenum">
              <a:rPr lang="en-GB" smtClean="0"/>
              <a:t>‹#›</a:t>
            </a:fld>
            <a:endParaRPr lang="en-GB"/>
          </a:p>
        </p:txBody>
      </p:sp>
    </p:spTree>
    <p:extLst>
      <p:ext uri="{BB962C8B-B14F-4D97-AF65-F5344CB8AC3E}">
        <p14:creationId xmlns:p14="http://schemas.microsoft.com/office/powerpoint/2010/main" val="392022806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Title slide" type="title">
  <p:cSld name="Title slide">
    <p:bg>
      <p:bgPr>
        <a:solidFill>
          <a:schemeClr val="dk2"/>
        </a:solidFill>
        <a:effectLst/>
      </p:bgPr>
    </p:bg>
    <p:spTree>
      <p:nvGrpSpPr>
        <p:cNvPr id="1" name="Shape 10"/>
        <p:cNvGrpSpPr/>
        <p:nvPr/>
      </p:nvGrpSpPr>
      <p:grpSpPr>
        <a:xfrm>
          <a:off x="0" y="0"/>
          <a:ext cx="0" cy="0"/>
          <a:chOff x="0" y="0"/>
          <a:chExt cx="0" cy="0"/>
        </a:xfrm>
      </p:grpSpPr>
      <p:sp>
        <p:nvSpPr>
          <p:cNvPr id="11" name="Google Shape;11;p2"/>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0" bIns="0" anchor="b" anchorCtr="0">
            <a:noAutofit/>
          </a:bodyPr>
          <a:lstStyle>
            <a:lvl1pPr marL="0" marR="0" lvl="0"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1pPr>
            <a:lvl2pPr marL="0" marR="0" lvl="1"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2pPr>
            <a:lvl3pPr marL="0" marR="0" lvl="2"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3pPr>
            <a:lvl4pPr marL="0" marR="0" lvl="3"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4pPr>
            <a:lvl5pPr marL="0" marR="0" lvl="4"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5pPr>
            <a:lvl6pPr marL="0" marR="0" lvl="5"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6pPr>
            <a:lvl7pPr marL="0" marR="0" lvl="6"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7pPr>
            <a:lvl8pPr marL="0" marR="0" lvl="7"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8pPr>
            <a:lvl9pPr marL="0" marR="0" lvl="8"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9pPr>
          </a:lstStyle>
          <a:p>
            <a:fld id="{00000000-1234-1234-1234-123412341234}" type="slidenum">
              <a:rPr lang="en-GB" smtClean="0"/>
              <a:pPr/>
              <a:t>‹#›</a:t>
            </a:fld>
            <a:endParaRPr lang="en-GB"/>
          </a:p>
        </p:txBody>
      </p:sp>
      <p:grpSp>
        <p:nvGrpSpPr>
          <p:cNvPr id="12" name="Google Shape;12;p2"/>
          <p:cNvGrpSpPr/>
          <p:nvPr/>
        </p:nvGrpSpPr>
        <p:grpSpPr>
          <a:xfrm>
            <a:off x="5127359" y="5371266"/>
            <a:ext cx="1937284" cy="324700"/>
            <a:chOff x="2455288" y="1451556"/>
            <a:chExt cx="2208151" cy="370099"/>
          </a:xfrm>
        </p:grpSpPr>
        <p:sp>
          <p:nvSpPr>
            <p:cNvPr id="13" name="Google Shape;13;p2"/>
            <p:cNvSpPr/>
            <p:nvPr/>
          </p:nvSpPr>
          <p:spPr>
            <a:xfrm>
              <a:off x="2876395" y="1554783"/>
              <a:ext cx="221938" cy="264747"/>
            </a:xfrm>
            <a:custGeom>
              <a:avLst/>
              <a:gdLst/>
              <a:ahLst/>
              <a:cxnLst/>
              <a:rect l="l" t="t" r="r" b="b"/>
              <a:pathLst>
                <a:path w="295917" h="352996" extrusionOk="0">
                  <a:moveTo>
                    <a:pt x="225076" y="193096"/>
                  </a:moveTo>
                  <a:cubicBezTo>
                    <a:pt x="225076" y="250174"/>
                    <a:pt x="194310" y="284988"/>
                    <a:pt x="148566" y="284988"/>
                  </a:cubicBezTo>
                  <a:cubicBezTo>
                    <a:pt x="101608" y="284988"/>
                    <a:pt x="70842" y="250174"/>
                    <a:pt x="70842" y="193096"/>
                  </a:cubicBezTo>
                  <a:lnTo>
                    <a:pt x="70842" y="0"/>
                  </a:lnTo>
                  <a:lnTo>
                    <a:pt x="0" y="0"/>
                  </a:lnTo>
                  <a:lnTo>
                    <a:pt x="0" y="191477"/>
                  </a:lnTo>
                  <a:cubicBezTo>
                    <a:pt x="0" y="289441"/>
                    <a:pt x="54245" y="352997"/>
                    <a:pt x="146542" y="352997"/>
                  </a:cubicBezTo>
                  <a:cubicBezTo>
                    <a:pt x="238030" y="352997"/>
                    <a:pt x="295918" y="288227"/>
                    <a:pt x="295918" y="191477"/>
                  </a:cubicBezTo>
                  <a:lnTo>
                    <a:pt x="295918" y="0"/>
                  </a:lnTo>
                  <a:lnTo>
                    <a:pt x="225076" y="0"/>
                  </a:lnTo>
                  <a:lnTo>
                    <a:pt x="225076" y="193096"/>
                  </a:lnTo>
                  <a:close/>
                </a:path>
              </a:pathLst>
            </a:custGeom>
            <a:solidFill>
              <a:srgbClr val="FFFFFF"/>
            </a:solidFill>
            <a:ln>
              <a:noFill/>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Calibri"/>
                <a:ea typeface="Calibri"/>
                <a:cs typeface="Calibri"/>
                <a:sym typeface="Calibri"/>
              </a:endParaRPr>
            </a:p>
          </p:txBody>
        </p:sp>
        <p:sp>
          <p:nvSpPr>
            <p:cNvPr id="14" name="Google Shape;14;p2"/>
            <p:cNvSpPr/>
            <p:nvPr/>
          </p:nvSpPr>
          <p:spPr>
            <a:xfrm>
              <a:off x="3150858" y="1452164"/>
              <a:ext cx="52220" cy="364028"/>
            </a:xfrm>
            <a:custGeom>
              <a:avLst/>
              <a:gdLst/>
              <a:ahLst/>
              <a:cxnLst/>
              <a:rect l="l" t="t" r="r" b="b"/>
              <a:pathLst>
                <a:path w="69627" h="485370" extrusionOk="0">
                  <a:moveTo>
                    <a:pt x="0" y="0"/>
                  </a:moveTo>
                  <a:lnTo>
                    <a:pt x="69628" y="0"/>
                  </a:lnTo>
                  <a:lnTo>
                    <a:pt x="69628" y="485370"/>
                  </a:lnTo>
                  <a:lnTo>
                    <a:pt x="0" y="485370"/>
                  </a:lnTo>
                  <a:close/>
                </a:path>
              </a:pathLst>
            </a:custGeom>
            <a:solidFill>
              <a:srgbClr val="FFFFFF"/>
            </a:solidFill>
            <a:ln>
              <a:noFill/>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Calibri"/>
                <a:ea typeface="Calibri"/>
                <a:cs typeface="Calibri"/>
                <a:sym typeface="Calibri"/>
              </a:endParaRPr>
            </a:p>
          </p:txBody>
        </p:sp>
        <p:sp>
          <p:nvSpPr>
            <p:cNvPr id="15" name="Google Shape;15;p2"/>
            <p:cNvSpPr/>
            <p:nvPr/>
          </p:nvSpPr>
          <p:spPr>
            <a:xfrm>
              <a:off x="3440501" y="1555087"/>
              <a:ext cx="52220" cy="260800"/>
            </a:xfrm>
            <a:custGeom>
              <a:avLst/>
              <a:gdLst/>
              <a:ahLst/>
              <a:cxnLst/>
              <a:rect l="l" t="t" r="r" b="b"/>
              <a:pathLst>
                <a:path w="69627" h="347733" extrusionOk="0">
                  <a:moveTo>
                    <a:pt x="0" y="0"/>
                  </a:moveTo>
                  <a:lnTo>
                    <a:pt x="69627" y="0"/>
                  </a:lnTo>
                  <a:lnTo>
                    <a:pt x="69627" y="347734"/>
                  </a:lnTo>
                  <a:lnTo>
                    <a:pt x="0" y="347734"/>
                  </a:lnTo>
                  <a:close/>
                </a:path>
              </a:pathLst>
            </a:custGeom>
            <a:solidFill>
              <a:srgbClr val="FFFFFF"/>
            </a:solidFill>
            <a:ln>
              <a:noFill/>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Calibri"/>
                <a:ea typeface="Calibri"/>
                <a:cs typeface="Calibri"/>
                <a:sym typeface="Calibri"/>
              </a:endParaRPr>
            </a:p>
          </p:txBody>
        </p:sp>
        <p:sp>
          <p:nvSpPr>
            <p:cNvPr id="16" name="Google Shape;16;p2"/>
            <p:cNvSpPr/>
            <p:nvPr/>
          </p:nvSpPr>
          <p:spPr>
            <a:xfrm>
              <a:off x="3517618" y="1555087"/>
              <a:ext cx="257764" cy="261103"/>
            </a:xfrm>
            <a:custGeom>
              <a:avLst/>
              <a:gdLst/>
              <a:ahLst/>
              <a:cxnLst/>
              <a:rect l="l" t="t" r="r" b="b"/>
              <a:pathLst>
                <a:path w="343685" h="348138" extrusionOk="0">
                  <a:moveTo>
                    <a:pt x="269200" y="0"/>
                  </a:moveTo>
                  <a:lnTo>
                    <a:pt x="172045" y="255842"/>
                  </a:lnTo>
                  <a:lnTo>
                    <a:pt x="74081" y="0"/>
                  </a:lnTo>
                  <a:lnTo>
                    <a:pt x="0" y="0"/>
                  </a:lnTo>
                  <a:lnTo>
                    <a:pt x="136422" y="348139"/>
                  </a:lnTo>
                  <a:lnTo>
                    <a:pt x="207264" y="348139"/>
                  </a:lnTo>
                  <a:lnTo>
                    <a:pt x="343686" y="0"/>
                  </a:lnTo>
                  <a:close/>
                </a:path>
              </a:pathLst>
            </a:custGeom>
            <a:solidFill>
              <a:srgbClr val="FFFFFF"/>
            </a:solidFill>
            <a:ln>
              <a:noFill/>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Calibri"/>
                <a:ea typeface="Calibri"/>
                <a:cs typeface="Calibri"/>
                <a:sym typeface="Calibri"/>
              </a:endParaRPr>
            </a:p>
          </p:txBody>
        </p:sp>
        <p:sp>
          <p:nvSpPr>
            <p:cNvPr id="17" name="Google Shape;17;p2"/>
            <p:cNvSpPr/>
            <p:nvPr/>
          </p:nvSpPr>
          <p:spPr>
            <a:xfrm>
              <a:off x="4209848" y="1549621"/>
              <a:ext cx="188541" cy="272034"/>
            </a:xfrm>
            <a:custGeom>
              <a:avLst/>
              <a:gdLst/>
              <a:ahLst/>
              <a:cxnLst/>
              <a:rect l="l" t="t" r="r" b="b"/>
              <a:pathLst>
                <a:path w="251388" h="362712" extrusionOk="0">
                  <a:moveTo>
                    <a:pt x="150591" y="148971"/>
                  </a:moveTo>
                  <a:lnTo>
                    <a:pt x="109704" y="139660"/>
                  </a:lnTo>
                  <a:cubicBezTo>
                    <a:pt x="84606" y="133588"/>
                    <a:pt x="72057" y="120229"/>
                    <a:pt x="72057" y="102013"/>
                  </a:cubicBezTo>
                  <a:cubicBezTo>
                    <a:pt x="72057" y="76915"/>
                    <a:pt x="95131" y="61531"/>
                    <a:pt x="126302" y="62341"/>
                  </a:cubicBezTo>
                  <a:cubicBezTo>
                    <a:pt x="145328" y="62341"/>
                    <a:pt x="164759" y="68413"/>
                    <a:pt x="183380" y="77724"/>
                  </a:cubicBezTo>
                  <a:cubicBezTo>
                    <a:pt x="206454" y="88654"/>
                    <a:pt x="225886" y="104037"/>
                    <a:pt x="233577" y="111324"/>
                  </a:cubicBezTo>
                  <a:lnTo>
                    <a:pt x="233577" y="38457"/>
                  </a:lnTo>
                  <a:cubicBezTo>
                    <a:pt x="221837" y="29551"/>
                    <a:pt x="178522" y="0"/>
                    <a:pt x="123063" y="0"/>
                  </a:cubicBezTo>
                  <a:cubicBezTo>
                    <a:pt x="46149" y="0"/>
                    <a:pt x="0" y="51411"/>
                    <a:pt x="0" y="107680"/>
                  </a:cubicBezTo>
                  <a:cubicBezTo>
                    <a:pt x="0" y="161115"/>
                    <a:pt x="37648" y="187428"/>
                    <a:pt x="87439" y="199573"/>
                  </a:cubicBezTo>
                  <a:lnTo>
                    <a:pt x="127111" y="208883"/>
                  </a:lnTo>
                  <a:cubicBezTo>
                    <a:pt x="162330" y="216980"/>
                    <a:pt x="179332" y="229934"/>
                    <a:pt x="179332" y="254222"/>
                  </a:cubicBezTo>
                  <a:cubicBezTo>
                    <a:pt x="179332" y="278511"/>
                    <a:pt x="158687" y="301585"/>
                    <a:pt x="121039" y="301585"/>
                  </a:cubicBezTo>
                  <a:cubicBezTo>
                    <a:pt x="97155" y="301585"/>
                    <a:pt x="73271" y="293489"/>
                    <a:pt x="54245" y="282559"/>
                  </a:cubicBezTo>
                  <a:cubicBezTo>
                    <a:pt x="31171" y="270415"/>
                    <a:pt x="13764" y="255437"/>
                    <a:pt x="9311" y="250984"/>
                  </a:cubicBezTo>
                  <a:lnTo>
                    <a:pt x="8096" y="325065"/>
                  </a:lnTo>
                  <a:cubicBezTo>
                    <a:pt x="12549" y="329922"/>
                    <a:pt x="52626" y="362712"/>
                    <a:pt x="123468" y="362712"/>
                  </a:cubicBezTo>
                  <a:cubicBezTo>
                    <a:pt x="202406" y="362712"/>
                    <a:pt x="251388" y="307253"/>
                    <a:pt x="251388" y="250984"/>
                  </a:cubicBezTo>
                  <a:cubicBezTo>
                    <a:pt x="250579" y="201597"/>
                    <a:pt x="216979" y="163949"/>
                    <a:pt x="150591" y="148971"/>
                  </a:cubicBezTo>
                  <a:close/>
                </a:path>
              </a:pathLst>
            </a:custGeom>
            <a:solidFill>
              <a:srgbClr val="FFFFFF"/>
            </a:solidFill>
            <a:ln>
              <a:noFill/>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Calibri"/>
                <a:ea typeface="Calibri"/>
                <a:cs typeface="Calibri"/>
                <a:sym typeface="Calibri"/>
              </a:endParaRPr>
            </a:p>
          </p:txBody>
        </p:sp>
        <p:sp>
          <p:nvSpPr>
            <p:cNvPr id="18" name="Google Shape;18;p2"/>
            <p:cNvSpPr/>
            <p:nvPr/>
          </p:nvSpPr>
          <p:spPr>
            <a:xfrm>
              <a:off x="3775382" y="1552051"/>
              <a:ext cx="242584" cy="267176"/>
            </a:xfrm>
            <a:custGeom>
              <a:avLst/>
              <a:gdLst/>
              <a:ahLst/>
              <a:cxnLst/>
              <a:rect l="l" t="t" r="r" b="b"/>
              <a:pathLst>
                <a:path w="323445" h="356235" extrusionOk="0">
                  <a:moveTo>
                    <a:pt x="70842" y="150995"/>
                  </a:moveTo>
                  <a:cubicBezTo>
                    <a:pt x="79343" y="101203"/>
                    <a:pt x="112538" y="64770"/>
                    <a:pt x="164758" y="64770"/>
                  </a:cubicBezTo>
                  <a:cubicBezTo>
                    <a:pt x="216575" y="64770"/>
                    <a:pt x="247340" y="101203"/>
                    <a:pt x="255437" y="150995"/>
                  </a:cubicBezTo>
                  <a:lnTo>
                    <a:pt x="70842" y="150995"/>
                  </a:lnTo>
                  <a:close/>
                  <a:moveTo>
                    <a:pt x="164758" y="0"/>
                  </a:moveTo>
                  <a:cubicBezTo>
                    <a:pt x="70842" y="0"/>
                    <a:pt x="0" y="79748"/>
                    <a:pt x="0" y="178118"/>
                  </a:cubicBezTo>
                  <a:cubicBezTo>
                    <a:pt x="0" y="276487"/>
                    <a:pt x="76914" y="356235"/>
                    <a:pt x="180546" y="356235"/>
                  </a:cubicBezTo>
                  <a:cubicBezTo>
                    <a:pt x="259889" y="356235"/>
                    <a:pt x="303609" y="317778"/>
                    <a:pt x="303609" y="317778"/>
                  </a:cubicBezTo>
                  <a:lnTo>
                    <a:pt x="303609" y="246936"/>
                  </a:lnTo>
                  <a:cubicBezTo>
                    <a:pt x="303609" y="246936"/>
                    <a:pt x="255437" y="290655"/>
                    <a:pt x="185809" y="290655"/>
                  </a:cubicBezTo>
                  <a:cubicBezTo>
                    <a:pt x="123063" y="290655"/>
                    <a:pt x="81772" y="255032"/>
                    <a:pt x="71247" y="204835"/>
                  </a:cubicBezTo>
                  <a:lnTo>
                    <a:pt x="322231" y="204835"/>
                  </a:lnTo>
                  <a:cubicBezTo>
                    <a:pt x="323041" y="195929"/>
                    <a:pt x="323445" y="186618"/>
                    <a:pt x="323445" y="177713"/>
                  </a:cubicBezTo>
                  <a:cubicBezTo>
                    <a:pt x="323445" y="79748"/>
                    <a:pt x="256247" y="0"/>
                    <a:pt x="164758" y="0"/>
                  </a:cubicBezTo>
                  <a:close/>
                </a:path>
              </a:pathLst>
            </a:custGeom>
            <a:solidFill>
              <a:srgbClr val="FFFFFF"/>
            </a:solidFill>
            <a:ln>
              <a:noFill/>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Calibri"/>
                <a:ea typeface="Calibri"/>
                <a:cs typeface="Calibri"/>
                <a:sym typeface="Calibri"/>
              </a:endParaRPr>
            </a:p>
          </p:txBody>
        </p:sp>
        <p:sp>
          <p:nvSpPr>
            <p:cNvPr id="19" name="Google Shape;19;p2"/>
            <p:cNvSpPr/>
            <p:nvPr/>
          </p:nvSpPr>
          <p:spPr>
            <a:xfrm>
              <a:off x="3429268" y="1451556"/>
              <a:ext cx="74687" cy="65883"/>
            </a:xfrm>
            <a:custGeom>
              <a:avLst/>
              <a:gdLst/>
              <a:ahLst/>
              <a:cxnLst/>
              <a:rect l="l" t="t" r="r" b="b"/>
              <a:pathLst>
                <a:path w="99583" h="87844" extrusionOk="0">
                  <a:moveTo>
                    <a:pt x="24693" y="0"/>
                  </a:moveTo>
                  <a:lnTo>
                    <a:pt x="0" y="43720"/>
                  </a:lnTo>
                  <a:lnTo>
                    <a:pt x="24693" y="87844"/>
                  </a:lnTo>
                  <a:lnTo>
                    <a:pt x="74890" y="87844"/>
                  </a:lnTo>
                  <a:lnTo>
                    <a:pt x="99584" y="43720"/>
                  </a:lnTo>
                  <a:lnTo>
                    <a:pt x="74890" y="0"/>
                  </a:lnTo>
                  <a:close/>
                </a:path>
              </a:pathLst>
            </a:custGeom>
            <a:solidFill>
              <a:srgbClr val="FFFFFF"/>
            </a:solidFill>
            <a:ln>
              <a:noFill/>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Calibri"/>
                <a:ea typeface="Calibri"/>
                <a:cs typeface="Calibri"/>
                <a:sym typeface="Calibri"/>
              </a:endParaRPr>
            </a:p>
          </p:txBody>
        </p:sp>
        <p:sp>
          <p:nvSpPr>
            <p:cNvPr id="20" name="Google Shape;20;p2"/>
            <p:cNvSpPr/>
            <p:nvPr/>
          </p:nvSpPr>
          <p:spPr>
            <a:xfrm>
              <a:off x="2455288" y="1554783"/>
              <a:ext cx="375868" cy="261103"/>
            </a:xfrm>
            <a:custGeom>
              <a:avLst/>
              <a:gdLst/>
              <a:ahLst/>
              <a:cxnLst/>
              <a:rect l="l" t="t" r="r" b="b"/>
              <a:pathLst>
                <a:path w="501157" h="348138" extrusionOk="0">
                  <a:moveTo>
                    <a:pt x="433149" y="405"/>
                  </a:moveTo>
                  <a:lnTo>
                    <a:pt x="422219" y="405"/>
                  </a:lnTo>
                  <a:lnTo>
                    <a:pt x="422219" y="405"/>
                  </a:lnTo>
                  <a:lnTo>
                    <a:pt x="422219" y="405"/>
                  </a:lnTo>
                  <a:lnTo>
                    <a:pt x="284988" y="230338"/>
                  </a:lnTo>
                  <a:cubicBezTo>
                    <a:pt x="284988" y="192286"/>
                    <a:pt x="284178" y="405"/>
                    <a:pt x="284178" y="405"/>
                  </a:cubicBezTo>
                  <a:lnTo>
                    <a:pt x="216575" y="405"/>
                  </a:lnTo>
                  <a:lnTo>
                    <a:pt x="205645" y="405"/>
                  </a:lnTo>
                  <a:lnTo>
                    <a:pt x="205645" y="405"/>
                  </a:lnTo>
                  <a:lnTo>
                    <a:pt x="205645" y="405"/>
                  </a:lnTo>
                  <a:lnTo>
                    <a:pt x="69223" y="229529"/>
                  </a:lnTo>
                  <a:lnTo>
                    <a:pt x="68818" y="216170"/>
                  </a:lnTo>
                  <a:lnTo>
                    <a:pt x="69628" y="405"/>
                  </a:lnTo>
                  <a:lnTo>
                    <a:pt x="0" y="405"/>
                  </a:lnTo>
                  <a:lnTo>
                    <a:pt x="0" y="348139"/>
                  </a:lnTo>
                  <a:lnTo>
                    <a:pt x="69628" y="348139"/>
                  </a:lnTo>
                  <a:cubicBezTo>
                    <a:pt x="74081" y="340852"/>
                    <a:pt x="84606" y="322636"/>
                    <a:pt x="98369" y="299157"/>
                  </a:cubicBezTo>
                  <a:lnTo>
                    <a:pt x="216575" y="100394"/>
                  </a:lnTo>
                  <a:lnTo>
                    <a:pt x="216575" y="347734"/>
                  </a:lnTo>
                  <a:lnTo>
                    <a:pt x="285393" y="347734"/>
                  </a:lnTo>
                  <a:cubicBezTo>
                    <a:pt x="285393" y="347734"/>
                    <a:pt x="285393" y="347734"/>
                    <a:pt x="285393" y="347734"/>
                  </a:cubicBezTo>
                  <a:lnTo>
                    <a:pt x="285393" y="347734"/>
                  </a:lnTo>
                  <a:lnTo>
                    <a:pt x="432340" y="101608"/>
                  </a:lnTo>
                  <a:lnTo>
                    <a:pt x="432340" y="347734"/>
                  </a:lnTo>
                  <a:lnTo>
                    <a:pt x="501158" y="347734"/>
                  </a:lnTo>
                  <a:lnTo>
                    <a:pt x="501158" y="0"/>
                  </a:lnTo>
                  <a:lnTo>
                    <a:pt x="433149" y="0"/>
                  </a:lnTo>
                  <a:close/>
                </a:path>
              </a:pathLst>
            </a:custGeom>
            <a:solidFill>
              <a:srgbClr val="FFFFFF"/>
            </a:solidFill>
            <a:ln>
              <a:noFill/>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Calibri"/>
                <a:ea typeface="Calibri"/>
                <a:cs typeface="Calibri"/>
                <a:sym typeface="Calibri"/>
              </a:endParaRPr>
            </a:p>
          </p:txBody>
        </p:sp>
        <p:sp>
          <p:nvSpPr>
            <p:cNvPr id="21" name="Google Shape;21;p2"/>
            <p:cNvSpPr/>
            <p:nvPr/>
          </p:nvSpPr>
          <p:spPr>
            <a:xfrm>
              <a:off x="4428749" y="1553569"/>
              <a:ext cx="234690" cy="263229"/>
            </a:xfrm>
            <a:custGeom>
              <a:avLst/>
              <a:gdLst/>
              <a:ahLst/>
              <a:cxnLst/>
              <a:rect l="l" t="t" r="r" b="b"/>
              <a:pathLst>
                <a:path w="312920" h="350972" extrusionOk="0">
                  <a:moveTo>
                    <a:pt x="68009" y="136017"/>
                  </a:moveTo>
                  <a:cubicBezTo>
                    <a:pt x="72057" y="123468"/>
                    <a:pt x="78129" y="112538"/>
                    <a:pt x="85821" y="103227"/>
                  </a:cubicBezTo>
                  <a:cubicBezTo>
                    <a:pt x="97155" y="89059"/>
                    <a:pt x="110514" y="78533"/>
                    <a:pt x="125492" y="71247"/>
                  </a:cubicBezTo>
                  <a:cubicBezTo>
                    <a:pt x="140470" y="63960"/>
                    <a:pt x="155853" y="60317"/>
                    <a:pt x="171236" y="60317"/>
                  </a:cubicBezTo>
                  <a:cubicBezTo>
                    <a:pt x="194310" y="60317"/>
                    <a:pt x="212932" y="65580"/>
                    <a:pt x="226290" y="75700"/>
                  </a:cubicBezTo>
                  <a:cubicBezTo>
                    <a:pt x="238435" y="84606"/>
                    <a:pt x="244102" y="95941"/>
                    <a:pt x="244102" y="110918"/>
                  </a:cubicBezTo>
                  <a:cubicBezTo>
                    <a:pt x="244102" y="119420"/>
                    <a:pt x="242078" y="130350"/>
                    <a:pt x="225481" y="140065"/>
                  </a:cubicBezTo>
                  <a:cubicBezTo>
                    <a:pt x="209693" y="149376"/>
                    <a:pt x="190667" y="153829"/>
                    <a:pt x="169212" y="153829"/>
                  </a:cubicBezTo>
                  <a:cubicBezTo>
                    <a:pt x="139256" y="153424"/>
                    <a:pt x="104847" y="147757"/>
                    <a:pt x="68009" y="136017"/>
                  </a:cubicBezTo>
                  <a:close/>
                  <a:moveTo>
                    <a:pt x="277297" y="238030"/>
                  </a:moveTo>
                  <a:lnTo>
                    <a:pt x="261509" y="252603"/>
                  </a:lnTo>
                  <a:cubicBezTo>
                    <a:pt x="247746" y="265152"/>
                    <a:pt x="232767" y="274868"/>
                    <a:pt x="217789" y="281749"/>
                  </a:cubicBezTo>
                  <a:cubicBezTo>
                    <a:pt x="203216" y="288227"/>
                    <a:pt x="185809" y="291465"/>
                    <a:pt x="165164" y="291465"/>
                  </a:cubicBezTo>
                  <a:cubicBezTo>
                    <a:pt x="146542" y="291465"/>
                    <a:pt x="129540" y="287012"/>
                    <a:pt x="113348" y="278106"/>
                  </a:cubicBezTo>
                  <a:cubicBezTo>
                    <a:pt x="97155" y="269200"/>
                    <a:pt x="84606" y="257056"/>
                    <a:pt x="74890" y="240458"/>
                  </a:cubicBezTo>
                  <a:cubicBezTo>
                    <a:pt x="66389" y="226290"/>
                    <a:pt x="61937" y="211312"/>
                    <a:pt x="60722" y="193905"/>
                  </a:cubicBezTo>
                  <a:cubicBezTo>
                    <a:pt x="75700" y="198763"/>
                    <a:pt x="89869" y="202406"/>
                    <a:pt x="103227" y="205645"/>
                  </a:cubicBezTo>
                  <a:cubicBezTo>
                    <a:pt x="124682" y="210907"/>
                    <a:pt x="147352" y="213336"/>
                    <a:pt x="170021" y="213336"/>
                  </a:cubicBezTo>
                  <a:cubicBezTo>
                    <a:pt x="191881" y="213336"/>
                    <a:pt x="212932" y="209693"/>
                    <a:pt x="232767" y="202406"/>
                  </a:cubicBezTo>
                  <a:cubicBezTo>
                    <a:pt x="253413" y="194715"/>
                    <a:pt x="270415" y="183380"/>
                    <a:pt x="283774" y="168807"/>
                  </a:cubicBezTo>
                  <a:cubicBezTo>
                    <a:pt x="297942" y="152614"/>
                    <a:pt x="305229" y="133183"/>
                    <a:pt x="305229" y="110514"/>
                  </a:cubicBezTo>
                  <a:cubicBezTo>
                    <a:pt x="305229" y="89059"/>
                    <a:pt x="299157" y="69628"/>
                    <a:pt x="286607" y="52221"/>
                  </a:cubicBezTo>
                  <a:cubicBezTo>
                    <a:pt x="274868" y="35623"/>
                    <a:pt x="258271" y="22265"/>
                    <a:pt x="237625" y="13359"/>
                  </a:cubicBezTo>
                  <a:cubicBezTo>
                    <a:pt x="217789" y="4453"/>
                    <a:pt x="195525" y="0"/>
                    <a:pt x="172045" y="0"/>
                  </a:cubicBezTo>
                  <a:cubicBezTo>
                    <a:pt x="143708" y="0"/>
                    <a:pt x="116181" y="7287"/>
                    <a:pt x="90273" y="21455"/>
                  </a:cubicBezTo>
                  <a:cubicBezTo>
                    <a:pt x="63961" y="36028"/>
                    <a:pt x="42101" y="57078"/>
                    <a:pt x="25503" y="85011"/>
                  </a:cubicBezTo>
                  <a:cubicBezTo>
                    <a:pt x="8501" y="112943"/>
                    <a:pt x="0" y="146542"/>
                    <a:pt x="0" y="184999"/>
                  </a:cubicBezTo>
                  <a:cubicBezTo>
                    <a:pt x="0" y="219408"/>
                    <a:pt x="8096" y="249769"/>
                    <a:pt x="24289" y="274868"/>
                  </a:cubicBezTo>
                  <a:cubicBezTo>
                    <a:pt x="40481" y="299966"/>
                    <a:pt x="61532" y="319397"/>
                    <a:pt x="87845" y="331946"/>
                  </a:cubicBezTo>
                  <a:cubicBezTo>
                    <a:pt x="113348" y="344495"/>
                    <a:pt x="140470" y="350973"/>
                    <a:pt x="168807" y="350973"/>
                  </a:cubicBezTo>
                  <a:cubicBezTo>
                    <a:pt x="195525" y="350973"/>
                    <a:pt x="219409" y="346115"/>
                    <a:pt x="240459" y="336399"/>
                  </a:cubicBezTo>
                  <a:cubicBezTo>
                    <a:pt x="260699" y="327088"/>
                    <a:pt x="280131" y="313730"/>
                    <a:pt x="298752" y="297132"/>
                  </a:cubicBezTo>
                  <a:lnTo>
                    <a:pt x="312920" y="284583"/>
                  </a:lnTo>
                  <a:lnTo>
                    <a:pt x="277297" y="238030"/>
                  </a:lnTo>
                  <a:close/>
                </a:path>
              </a:pathLst>
            </a:custGeom>
            <a:solidFill>
              <a:srgbClr val="FFFFFF"/>
            </a:solidFill>
            <a:ln>
              <a:noFill/>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Calibri"/>
                <a:ea typeface="Calibri"/>
                <a:cs typeface="Calibri"/>
                <a:sym typeface="Calibri"/>
              </a:endParaRPr>
            </a:p>
          </p:txBody>
        </p:sp>
        <p:sp>
          <p:nvSpPr>
            <p:cNvPr id="22" name="Google Shape;22;p2"/>
            <p:cNvSpPr/>
            <p:nvPr/>
          </p:nvSpPr>
          <p:spPr>
            <a:xfrm>
              <a:off x="3227064" y="1481006"/>
              <a:ext cx="183683" cy="334577"/>
            </a:xfrm>
            <a:custGeom>
              <a:avLst/>
              <a:gdLst/>
              <a:ahLst/>
              <a:cxnLst/>
              <a:rect l="l" t="t" r="r" b="b"/>
              <a:pathLst>
                <a:path w="244911" h="446103" extrusionOk="0">
                  <a:moveTo>
                    <a:pt x="156662" y="0"/>
                  </a:moveTo>
                  <a:lnTo>
                    <a:pt x="87844" y="0"/>
                  </a:lnTo>
                  <a:lnTo>
                    <a:pt x="87844" y="98369"/>
                  </a:lnTo>
                  <a:lnTo>
                    <a:pt x="0" y="98369"/>
                  </a:lnTo>
                  <a:lnTo>
                    <a:pt x="0" y="159496"/>
                  </a:lnTo>
                  <a:lnTo>
                    <a:pt x="87844" y="159496"/>
                  </a:lnTo>
                  <a:lnTo>
                    <a:pt x="87844" y="446103"/>
                  </a:lnTo>
                  <a:lnTo>
                    <a:pt x="156662" y="446103"/>
                  </a:lnTo>
                  <a:lnTo>
                    <a:pt x="156662" y="159496"/>
                  </a:lnTo>
                  <a:lnTo>
                    <a:pt x="244912" y="159496"/>
                  </a:lnTo>
                  <a:lnTo>
                    <a:pt x="244912" y="98369"/>
                  </a:lnTo>
                  <a:lnTo>
                    <a:pt x="156662" y="98369"/>
                  </a:lnTo>
                  <a:close/>
                </a:path>
              </a:pathLst>
            </a:custGeom>
            <a:solidFill>
              <a:srgbClr val="FFFFFF"/>
            </a:solidFill>
            <a:ln>
              <a:noFill/>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Calibri"/>
                <a:ea typeface="Calibri"/>
                <a:cs typeface="Calibri"/>
                <a:sym typeface="Calibri"/>
              </a:endParaRPr>
            </a:p>
          </p:txBody>
        </p:sp>
        <p:sp>
          <p:nvSpPr>
            <p:cNvPr id="23" name="Google Shape;23;p2"/>
            <p:cNvSpPr/>
            <p:nvPr/>
          </p:nvSpPr>
          <p:spPr>
            <a:xfrm>
              <a:off x="4047416" y="1554480"/>
              <a:ext cx="140875" cy="261104"/>
            </a:xfrm>
            <a:custGeom>
              <a:avLst/>
              <a:gdLst/>
              <a:ahLst/>
              <a:cxnLst/>
              <a:rect l="l" t="t" r="r" b="b"/>
              <a:pathLst>
                <a:path w="187833" h="348138" extrusionOk="0">
                  <a:moveTo>
                    <a:pt x="4048" y="405"/>
                  </a:moveTo>
                  <a:lnTo>
                    <a:pt x="0" y="405"/>
                  </a:lnTo>
                  <a:lnTo>
                    <a:pt x="0" y="348139"/>
                  </a:lnTo>
                  <a:lnTo>
                    <a:pt x="69628" y="348139"/>
                  </a:lnTo>
                  <a:lnTo>
                    <a:pt x="69628" y="61127"/>
                  </a:lnTo>
                  <a:lnTo>
                    <a:pt x="187833" y="61127"/>
                  </a:lnTo>
                  <a:lnTo>
                    <a:pt x="187833" y="0"/>
                  </a:lnTo>
                  <a:lnTo>
                    <a:pt x="4048" y="0"/>
                  </a:lnTo>
                  <a:close/>
                </a:path>
              </a:pathLst>
            </a:custGeom>
            <a:solidFill>
              <a:srgbClr val="FFFFFF"/>
            </a:solidFill>
            <a:ln>
              <a:noFill/>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Calibri"/>
                <a:ea typeface="Calibri"/>
                <a:cs typeface="Calibri"/>
                <a:sym typeface="Calibri"/>
              </a:endParaRPr>
            </a:p>
          </p:txBody>
        </p:sp>
      </p:grpSp>
      <p:sp>
        <p:nvSpPr>
          <p:cNvPr id="24" name="Google Shape;24;p2"/>
          <p:cNvSpPr txBox="1"/>
          <p:nvPr/>
        </p:nvSpPr>
        <p:spPr>
          <a:xfrm>
            <a:off x="5451800" y="6245247"/>
            <a:ext cx="1288400" cy="273200"/>
          </a:xfrm>
          <a:prstGeom prst="rect">
            <a:avLst/>
          </a:prstGeom>
          <a:noFill/>
          <a:ln>
            <a:noFill/>
          </a:ln>
        </p:spPr>
        <p:txBody>
          <a:bodyPr spcFirstLastPara="1" wrap="square" lIns="0" tIns="0" rIns="0" bIns="0" anchor="b" anchorCtr="0">
            <a:noAutofit/>
          </a:bodyPr>
          <a:lstStyle/>
          <a:p>
            <a:pPr marL="0" marR="0" lvl="0" indent="0" algn="ctr" rtl="0">
              <a:lnSpc>
                <a:spcPct val="100000"/>
              </a:lnSpc>
              <a:spcBef>
                <a:spcPts val="0"/>
              </a:spcBef>
              <a:spcAft>
                <a:spcPts val="0"/>
              </a:spcAft>
              <a:buClr>
                <a:srgbClr val="000000"/>
              </a:buClr>
              <a:buSzPts val="500"/>
              <a:buFont typeface="Arial"/>
              <a:buNone/>
            </a:pPr>
            <a:r>
              <a:rPr lang="en-GB" sz="667" b="0" i="0" u="none" strike="noStrike" cap="none">
                <a:solidFill>
                  <a:srgbClr val="FFFFFF"/>
                </a:solidFill>
                <a:latin typeface="Inter"/>
                <a:ea typeface="Inter"/>
                <a:cs typeface="Inter"/>
                <a:sym typeface="Inter"/>
              </a:rPr>
              <a:t>Private and Confidential</a:t>
            </a:r>
            <a:endParaRPr sz="667" b="0" i="0" u="none" strike="noStrike" cap="none">
              <a:solidFill>
                <a:srgbClr val="FFFFFF"/>
              </a:solidFill>
              <a:latin typeface="Inter"/>
              <a:ea typeface="Inter"/>
              <a:cs typeface="Inter"/>
              <a:sym typeface="Inter"/>
            </a:endParaRPr>
          </a:p>
        </p:txBody>
      </p:sp>
      <p:sp>
        <p:nvSpPr>
          <p:cNvPr id="25" name="Google Shape;25;p2"/>
          <p:cNvSpPr txBox="1">
            <a:spLocks noGrp="1"/>
          </p:cNvSpPr>
          <p:nvPr>
            <p:ph type="title"/>
          </p:nvPr>
        </p:nvSpPr>
        <p:spPr>
          <a:xfrm>
            <a:off x="1599500" y="2353600"/>
            <a:ext cx="8938000" cy="1697600"/>
          </a:xfrm>
          <a:prstGeom prst="rect">
            <a:avLst/>
          </a:prstGeom>
          <a:noFill/>
          <a:ln>
            <a:noFill/>
          </a:ln>
        </p:spPr>
        <p:txBody>
          <a:bodyPr spcFirstLastPara="1" wrap="square" lIns="0" tIns="34275" rIns="68575" bIns="34275" anchor="t" anchorCtr="0">
            <a:normAutofit/>
          </a:bodyPr>
          <a:lstStyle>
            <a:lvl1pPr lvl="0" algn="ctr">
              <a:lnSpc>
                <a:spcPct val="85000"/>
              </a:lnSpc>
              <a:spcBef>
                <a:spcPts val="0"/>
              </a:spcBef>
              <a:spcAft>
                <a:spcPts val="0"/>
              </a:spcAft>
              <a:buClr>
                <a:schemeClr val="lt1"/>
              </a:buClr>
              <a:buSzPts val="4600"/>
              <a:buFont typeface="Inter Medium"/>
              <a:buNone/>
              <a:defRPr sz="6133">
                <a:solidFill>
                  <a:schemeClr val="lt1"/>
                </a:solidFill>
                <a:latin typeface="Inter Medium"/>
                <a:ea typeface="Inter Medium"/>
                <a:cs typeface="Inter Medium"/>
                <a:sym typeface="Inter Medium"/>
              </a:defRPr>
            </a:lvl1pPr>
            <a:lvl2pPr lvl="1" algn="ctr">
              <a:lnSpc>
                <a:spcPct val="100000"/>
              </a:lnSpc>
              <a:spcBef>
                <a:spcPts val="0"/>
              </a:spcBef>
              <a:spcAft>
                <a:spcPts val="0"/>
              </a:spcAft>
              <a:buClr>
                <a:schemeClr val="lt1"/>
              </a:buClr>
              <a:buSzPts val="4600"/>
              <a:buNone/>
              <a:defRPr sz="6133">
                <a:solidFill>
                  <a:schemeClr val="lt1"/>
                </a:solidFill>
              </a:defRPr>
            </a:lvl2pPr>
            <a:lvl3pPr lvl="2" algn="ctr">
              <a:lnSpc>
                <a:spcPct val="100000"/>
              </a:lnSpc>
              <a:spcBef>
                <a:spcPts val="0"/>
              </a:spcBef>
              <a:spcAft>
                <a:spcPts val="0"/>
              </a:spcAft>
              <a:buClr>
                <a:schemeClr val="lt1"/>
              </a:buClr>
              <a:buSzPts val="4600"/>
              <a:buNone/>
              <a:defRPr sz="6133">
                <a:solidFill>
                  <a:schemeClr val="lt1"/>
                </a:solidFill>
              </a:defRPr>
            </a:lvl3pPr>
            <a:lvl4pPr lvl="3" algn="ctr">
              <a:lnSpc>
                <a:spcPct val="100000"/>
              </a:lnSpc>
              <a:spcBef>
                <a:spcPts val="0"/>
              </a:spcBef>
              <a:spcAft>
                <a:spcPts val="0"/>
              </a:spcAft>
              <a:buClr>
                <a:schemeClr val="lt1"/>
              </a:buClr>
              <a:buSzPts val="4600"/>
              <a:buNone/>
              <a:defRPr sz="6133">
                <a:solidFill>
                  <a:schemeClr val="lt1"/>
                </a:solidFill>
              </a:defRPr>
            </a:lvl4pPr>
            <a:lvl5pPr lvl="4" algn="ctr">
              <a:lnSpc>
                <a:spcPct val="100000"/>
              </a:lnSpc>
              <a:spcBef>
                <a:spcPts val="0"/>
              </a:spcBef>
              <a:spcAft>
                <a:spcPts val="0"/>
              </a:spcAft>
              <a:buClr>
                <a:schemeClr val="lt1"/>
              </a:buClr>
              <a:buSzPts val="4600"/>
              <a:buNone/>
              <a:defRPr sz="6133">
                <a:solidFill>
                  <a:schemeClr val="lt1"/>
                </a:solidFill>
              </a:defRPr>
            </a:lvl5pPr>
            <a:lvl6pPr lvl="5" algn="ctr">
              <a:lnSpc>
                <a:spcPct val="100000"/>
              </a:lnSpc>
              <a:spcBef>
                <a:spcPts val="0"/>
              </a:spcBef>
              <a:spcAft>
                <a:spcPts val="0"/>
              </a:spcAft>
              <a:buClr>
                <a:schemeClr val="lt1"/>
              </a:buClr>
              <a:buSzPts val="4600"/>
              <a:buNone/>
              <a:defRPr sz="6133">
                <a:solidFill>
                  <a:schemeClr val="lt1"/>
                </a:solidFill>
              </a:defRPr>
            </a:lvl6pPr>
            <a:lvl7pPr lvl="6" algn="ctr">
              <a:lnSpc>
                <a:spcPct val="100000"/>
              </a:lnSpc>
              <a:spcBef>
                <a:spcPts val="0"/>
              </a:spcBef>
              <a:spcAft>
                <a:spcPts val="0"/>
              </a:spcAft>
              <a:buClr>
                <a:schemeClr val="lt1"/>
              </a:buClr>
              <a:buSzPts val="4600"/>
              <a:buNone/>
              <a:defRPr sz="6133">
                <a:solidFill>
                  <a:schemeClr val="lt1"/>
                </a:solidFill>
              </a:defRPr>
            </a:lvl7pPr>
            <a:lvl8pPr lvl="7" algn="ctr">
              <a:lnSpc>
                <a:spcPct val="100000"/>
              </a:lnSpc>
              <a:spcBef>
                <a:spcPts val="0"/>
              </a:spcBef>
              <a:spcAft>
                <a:spcPts val="0"/>
              </a:spcAft>
              <a:buClr>
                <a:schemeClr val="lt1"/>
              </a:buClr>
              <a:buSzPts val="4600"/>
              <a:buNone/>
              <a:defRPr sz="6133">
                <a:solidFill>
                  <a:schemeClr val="lt1"/>
                </a:solidFill>
              </a:defRPr>
            </a:lvl8pPr>
            <a:lvl9pPr lvl="8" algn="ctr">
              <a:lnSpc>
                <a:spcPct val="100000"/>
              </a:lnSpc>
              <a:spcBef>
                <a:spcPts val="0"/>
              </a:spcBef>
              <a:spcAft>
                <a:spcPts val="0"/>
              </a:spcAft>
              <a:buClr>
                <a:schemeClr val="lt1"/>
              </a:buClr>
              <a:buSzPts val="4600"/>
              <a:buNone/>
              <a:defRPr sz="6133">
                <a:solidFill>
                  <a:schemeClr val="lt1"/>
                </a:solidFill>
              </a:defRPr>
            </a:lvl9pPr>
          </a:lstStyle>
          <a:p>
            <a:endParaRPr/>
          </a:p>
        </p:txBody>
      </p:sp>
      <p:sp>
        <p:nvSpPr>
          <p:cNvPr id="26" name="Google Shape;26;p2"/>
          <p:cNvSpPr txBox="1">
            <a:spLocks noGrp="1"/>
          </p:cNvSpPr>
          <p:nvPr>
            <p:ph type="title" idx="2"/>
          </p:nvPr>
        </p:nvSpPr>
        <p:spPr>
          <a:xfrm>
            <a:off x="4045100" y="4125200"/>
            <a:ext cx="4046800" cy="869200"/>
          </a:xfrm>
          <a:prstGeom prst="rect">
            <a:avLst/>
          </a:prstGeom>
        </p:spPr>
        <p:txBody>
          <a:bodyPr spcFirstLastPara="1" wrap="square" lIns="0" tIns="91425" rIns="91425" bIns="91425" anchor="t" anchorCtr="0">
            <a:noAutofit/>
          </a:bodyPr>
          <a:lstStyle>
            <a:lvl1pPr lvl="0" algn="ctr" rtl="0">
              <a:lnSpc>
                <a:spcPct val="75000"/>
              </a:lnSpc>
              <a:spcBef>
                <a:spcPts val="0"/>
              </a:spcBef>
              <a:spcAft>
                <a:spcPts val="0"/>
              </a:spcAft>
              <a:buClr>
                <a:schemeClr val="lt1"/>
              </a:buClr>
              <a:buSzPts val="1200"/>
              <a:buFont typeface="Inter Medium"/>
              <a:buNone/>
              <a:defRPr sz="1600">
                <a:solidFill>
                  <a:schemeClr val="lt1"/>
                </a:solidFill>
                <a:latin typeface="Inter Medium"/>
                <a:ea typeface="Inter Medium"/>
                <a:cs typeface="Inter Medium"/>
                <a:sym typeface="Inter Medium"/>
              </a:defRPr>
            </a:lvl1pPr>
            <a:lvl2pPr lvl="1" algn="ctr" rtl="0">
              <a:lnSpc>
                <a:spcPct val="75000"/>
              </a:lnSpc>
              <a:spcBef>
                <a:spcPts val="0"/>
              </a:spcBef>
              <a:spcAft>
                <a:spcPts val="0"/>
              </a:spcAft>
              <a:buClr>
                <a:schemeClr val="accent5"/>
              </a:buClr>
              <a:buSzPts val="1400"/>
              <a:buNone/>
              <a:defRPr>
                <a:solidFill>
                  <a:schemeClr val="accent5"/>
                </a:solidFill>
              </a:defRPr>
            </a:lvl2pPr>
            <a:lvl3pPr lvl="2" algn="ctr" rtl="0">
              <a:lnSpc>
                <a:spcPct val="75000"/>
              </a:lnSpc>
              <a:spcBef>
                <a:spcPts val="0"/>
              </a:spcBef>
              <a:spcAft>
                <a:spcPts val="0"/>
              </a:spcAft>
              <a:buClr>
                <a:schemeClr val="accent5"/>
              </a:buClr>
              <a:buSzPts val="1400"/>
              <a:buNone/>
              <a:defRPr>
                <a:solidFill>
                  <a:schemeClr val="accent5"/>
                </a:solidFill>
              </a:defRPr>
            </a:lvl3pPr>
            <a:lvl4pPr lvl="3" algn="ctr" rtl="0">
              <a:lnSpc>
                <a:spcPct val="75000"/>
              </a:lnSpc>
              <a:spcBef>
                <a:spcPts val="0"/>
              </a:spcBef>
              <a:spcAft>
                <a:spcPts val="0"/>
              </a:spcAft>
              <a:buClr>
                <a:schemeClr val="accent5"/>
              </a:buClr>
              <a:buSzPts val="1400"/>
              <a:buNone/>
              <a:defRPr>
                <a:solidFill>
                  <a:schemeClr val="accent5"/>
                </a:solidFill>
              </a:defRPr>
            </a:lvl4pPr>
            <a:lvl5pPr lvl="4" algn="ctr" rtl="0">
              <a:lnSpc>
                <a:spcPct val="75000"/>
              </a:lnSpc>
              <a:spcBef>
                <a:spcPts val="0"/>
              </a:spcBef>
              <a:spcAft>
                <a:spcPts val="0"/>
              </a:spcAft>
              <a:buClr>
                <a:schemeClr val="accent5"/>
              </a:buClr>
              <a:buSzPts val="1400"/>
              <a:buNone/>
              <a:defRPr>
                <a:solidFill>
                  <a:schemeClr val="accent5"/>
                </a:solidFill>
              </a:defRPr>
            </a:lvl5pPr>
            <a:lvl6pPr lvl="5" algn="ctr" rtl="0">
              <a:lnSpc>
                <a:spcPct val="75000"/>
              </a:lnSpc>
              <a:spcBef>
                <a:spcPts val="0"/>
              </a:spcBef>
              <a:spcAft>
                <a:spcPts val="0"/>
              </a:spcAft>
              <a:buClr>
                <a:schemeClr val="accent5"/>
              </a:buClr>
              <a:buSzPts val="1400"/>
              <a:buNone/>
              <a:defRPr>
                <a:solidFill>
                  <a:schemeClr val="accent5"/>
                </a:solidFill>
              </a:defRPr>
            </a:lvl6pPr>
            <a:lvl7pPr lvl="6" algn="ctr" rtl="0">
              <a:lnSpc>
                <a:spcPct val="75000"/>
              </a:lnSpc>
              <a:spcBef>
                <a:spcPts val="0"/>
              </a:spcBef>
              <a:spcAft>
                <a:spcPts val="0"/>
              </a:spcAft>
              <a:buClr>
                <a:schemeClr val="accent5"/>
              </a:buClr>
              <a:buSzPts val="1400"/>
              <a:buNone/>
              <a:defRPr>
                <a:solidFill>
                  <a:schemeClr val="accent5"/>
                </a:solidFill>
              </a:defRPr>
            </a:lvl7pPr>
            <a:lvl8pPr lvl="7" algn="ctr" rtl="0">
              <a:lnSpc>
                <a:spcPct val="75000"/>
              </a:lnSpc>
              <a:spcBef>
                <a:spcPts val="0"/>
              </a:spcBef>
              <a:spcAft>
                <a:spcPts val="0"/>
              </a:spcAft>
              <a:buClr>
                <a:schemeClr val="accent5"/>
              </a:buClr>
              <a:buSzPts val="1400"/>
              <a:buNone/>
              <a:defRPr>
                <a:solidFill>
                  <a:schemeClr val="accent5"/>
                </a:solidFill>
              </a:defRPr>
            </a:lvl8pPr>
            <a:lvl9pPr lvl="8" algn="ctr" rtl="0">
              <a:lnSpc>
                <a:spcPct val="75000"/>
              </a:lnSpc>
              <a:spcBef>
                <a:spcPts val="0"/>
              </a:spcBef>
              <a:spcAft>
                <a:spcPts val="0"/>
              </a:spcAft>
              <a:buClr>
                <a:schemeClr val="accent5"/>
              </a:buClr>
              <a:buSzPts val="1400"/>
              <a:buNone/>
              <a:defRPr>
                <a:solidFill>
                  <a:schemeClr val="accent5"/>
                </a:solidFill>
              </a:defRPr>
            </a:lvl9pPr>
          </a:lstStyle>
          <a:p>
            <a:endParaRPr/>
          </a:p>
        </p:txBody>
      </p:sp>
    </p:spTree>
    <p:extLst>
      <p:ext uri="{BB962C8B-B14F-4D97-AF65-F5344CB8AC3E}">
        <p14:creationId xmlns:p14="http://schemas.microsoft.com/office/powerpoint/2010/main" val="17483508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92E43C-B257-46A6-EC6D-5EF7775CDF2A}"/>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p>
        </p:txBody>
      </p:sp>
      <p:sp>
        <p:nvSpPr>
          <p:cNvPr id="3" name="Text Placeholder 2">
            <a:extLst>
              <a:ext uri="{FF2B5EF4-FFF2-40B4-BE49-F238E27FC236}">
                <a16:creationId xmlns:a16="http://schemas.microsoft.com/office/drawing/2014/main" id="{16D6CAE2-3EF2-7810-FADF-C31642FF25DB}"/>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3D8E2204-5DB5-7D31-464B-448357CE1513}"/>
              </a:ext>
            </a:extLst>
          </p:cNvPr>
          <p:cNvSpPr>
            <a:spLocks noGrp="1"/>
          </p:cNvSpPr>
          <p:nvPr>
            <p:ph type="dt" sz="half" idx="10"/>
          </p:nvPr>
        </p:nvSpPr>
        <p:spPr/>
        <p:txBody>
          <a:bodyPr/>
          <a:lstStyle/>
          <a:p>
            <a:fld id="{923CFB00-16CD-4A5D-8353-B2F2FFED28E8}" type="datetimeFigureOut">
              <a:rPr lang="en-GB" smtClean="0"/>
              <a:t>23/06/2024</a:t>
            </a:fld>
            <a:endParaRPr lang="en-GB"/>
          </a:p>
        </p:txBody>
      </p:sp>
      <p:sp>
        <p:nvSpPr>
          <p:cNvPr id="5" name="Footer Placeholder 4">
            <a:extLst>
              <a:ext uri="{FF2B5EF4-FFF2-40B4-BE49-F238E27FC236}">
                <a16:creationId xmlns:a16="http://schemas.microsoft.com/office/drawing/2014/main" id="{30D02103-1FFA-2479-F2C7-FC82AB220BF0}"/>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F33AF1B4-18D6-3612-2C4C-AAC72BAB6A29}"/>
              </a:ext>
            </a:extLst>
          </p:cNvPr>
          <p:cNvSpPr>
            <a:spLocks noGrp="1"/>
          </p:cNvSpPr>
          <p:nvPr>
            <p:ph type="sldNum" sz="quarter" idx="12"/>
          </p:nvPr>
        </p:nvSpPr>
        <p:spPr/>
        <p:txBody>
          <a:bodyPr/>
          <a:lstStyle/>
          <a:p>
            <a:fld id="{140D1FED-518D-4FB4-BCAB-05C56058F68A}" type="slidenum">
              <a:rPr lang="en-GB" smtClean="0"/>
              <a:t>‹#›</a:t>
            </a:fld>
            <a:endParaRPr lang="en-GB"/>
          </a:p>
        </p:txBody>
      </p:sp>
    </p:spTree>
    <p:extLst>
      <p:ext uri="{BB962C8B-B14F-4D97-AF65-F5344CB8AC3E}">
        <p14:creationId xmlns:p14="http://schemas.microsoft.com/office/powerpoint/2010/main" val="296643682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Divider Slide">
  <p:cSld name="Divider Slide">
    <p:bg>
      <p:bgPr>
        <a:solidFill>
          <a:schemeClr val="dk2"/>
        </a:solidFill>
        <a:effectLst/>
      </p:bgPr>
    </p:bg>
    <p:spTree>
      <p:nvGrpSpPr>
        <p:cNvPr id="1" name="Shape 27"/>
        <p:cNvGrpSpPr/>
        <p:nvPr/>
      </p:nvGrpSpPr>
      <p:grpSpPr>
        <a:xfrm>
          <a:off x="0" y="0"/>
          <a:ext cx="0" cy="0"/>
          <a:chOff x="0" y="0"/>
          <a:chExt cx="0" cy="0"/>
        </a:xfrm>
      </p:grpSpPr>
      <p:sp>
        <p:nvSpPr>
          <p:cNvPr id="28" name="Google Shape;28;p3"/>
          <p:cNvSpPr txBox="1">
            <a:spLocks noGrp="1"/>
          </p:cNvSpPr>
          <p:nvPr>
            <p:ph type="sldNum" idx="12"/>
          </p:nvPr>
        </p:nvSpPr>
        <p:spPr>
          <a:xfrm>
            <a:off x="10978812" y="5993647"/>
            <a:ext cx="731600" cy="524800"/>
          </a:xfrm>
          <a:prstGeom prst="rect">
            <a:avLst/>
          </a:prstGeom>
        </p:spPr>
        <p:txBody>
          <a:bodyPr spcFirstLastPara="1" wrap="square" lIns="91425" tIns="91425" rIns="0" bIns="0" anchor="b" anchorCtr="0">
            <a:noAutofit/>
          </a:bodyPr>
          <a:lstStyle>
            <a:lvl1pPr lvl="0" algn="r" rtl="0">
              <a:buNone/>
              <a:defRPr sz="667">
                <a:solidFill>
                  <a:schemeClr val="lt1"/>
                </a:solidFill>
                <a:latin typeface="Inter"/>
                <a:ea typeface="Inter"/>
                <a:cs typeface="Inter"/>
                <a:sym typeface="Inter"/>
              </a:defRPr>
            </a:lvl1pPr>
            <a:lvl2pPr lvl="1" algn="r" rtl="0">
              <a:buNone/>
              <a:defRPr sz="667">
                <a:solidFill>
                  <a:schemeClr val="lt1"/>
                </a:solidFill>
                <a:latin typeface="Inter"/>
                <a:ea typeface="Inter"/>
                <a:cs typeface="Inter"/>
                <a:sym typeface="Inter"/>
              </a:defRPr>
            </a:lvl2pPr>
            <a:lvl3pPr lvl="2" algn="r" rtl="0">
              <a:buNone/>
              <a:defRPr sz="667">
                <a:solidFill>
                  <a:schemeClr val="lt1"/>
                </a:solidFill>
                <a:latin typeface="Inter"/>
                <a:ea typeface="Inter"/>
                <a:cs typeface="Inter"/>
                <a:sym typeface="Inter"/>
              </a:defRPr>
            </a:lvl3pPr>
            <a:lvl4pPr lvl="3" algn="r" rtl="0">
              <a:buNone/>
              <a:defRPr sz="667">
                <a:solidFill>
                  <a:schemeClr val="lt1"/>
                </a:solidFill>
                <a:latin typeface="Inter"/>
                <a:ea typeface="Inter"/>
                <a:cs typeface="Inter"/>
                <a:sym typeface="Inter"/>
              </a:defRPr>
            </a:lvl4pPr>
            <a:lvl5pPr lvl="4" algn="r" rtl="0">
              <a:buNone/>
              <a:defRPr sz="667">
                <a:solidFill>
                  <a:schemeClr val="lt1"/>
                </a:solidFill>
                <a:latin typeface="Inter"/>
                <a:ea typeface="Inter"/>
                <a:cs typeface="Inter"/>
                <a:sym typeface="Inter"/>
              </a:defRPr>
            </a:lvl5pPr>
            <a:lvl6pPr lvl="5" algn="r" rtl="0">
              <a:buNone/>
              <a:defRPr sz="667">
                <a:solidFill>
                  <a:schemeClr val="lt1"/>
                </a:solidFill>
                <a:latin typeface="Inter"/>
                <a:ea typeface="Inter"/>
                <a:cs typeface="Inter"/>
                <a:sym typeface="Inter"/>
              </a:defRPr>
            </a:lvl6pPr>
            <a:lvl7pPr lvl="6" algn="r" rtl="0">
              <a:buNone/>
              <a:defRPr sz="667">
                <a:solidFill>
                  <a:schemeClr val="lt1"/>
                </a:solidFill>
                <a:latin typeface="Inter"/>
                <a:ea typeface="Inter"/>
                <a:cs typeface="Inter"/>
                <a:sym typeface="Inter"/>
              </a:defRPr>
            </a:lvl7pPr>
            <a:lvl8pPr lvl="7" algn="r" rtl="0">
              <a:buNone/>
              <a:defRPr sz="667">
                <a:solidFill>
                  <a:schemeClr val="lt1"/>
                </a:solidFill>
                <a:latin typeface="Inter"/>
                <a:ea typeface="Inter"/>
                <a:cs typeface="Inter"/>
                <a:sym typeface="Inter"/>
              </a:defRPr>
            </a:lvl8pPr>
            <a:lvl9pPr lvl="8" algn="r" rtl="0">
              <a:buNone/>
              <a:defRPr sz="667">
                <a:solidFill>
                  <a:schemeClr val="lt1"/>
                </a:solidFill>
                <a:latin typeface="Inter"/>
                <a:ea typeface="Inter"/>
                <a:cs typeface="Inter"/>
                <a:sym typeface="Inter"/>
              </a:defRPr>
            </a:lvl9pPr>
          </a:lstStyle>
          <a:p>
            <a:fld id="{00000000-1234-1234-1234-123412341234}" type="slidenum">
              <a:rPr lang="en-GB" smtClean="0"/>
              <a:pPr/>
              <a:t>‹#›</a:t>
            </a:fld>
            <a:endParaRPr lang="en-GB"/>
          </a:p>
        </p:txBody>
      </p:sp>
      <p:sp>
        <p:nvSpPr>
          <p:cNvPr id="29" name="Google Shape;29;p3"/>
          <p:cNvSpPr txBox="1"/>
          <p:nvPr/>
        </p:nvSpPr>
        <p:spPr>
          <a:xfrm>
            <a:off x="481600" y="6245247"/>
            <a:ext cx="1288400" cy="273200"/>
          </a:xfrm>
          <a:prstGeom prst="rect">
            <a:avLst/>
          </a:prstGeom>
          <a:noFill/>
          <a:ln>
            <a:noFill/>
          </a:ln>
        </p:spPr>
        <p:txBody>
          <a:bodyPr spcFirstLastPara="1" wrap="square" lIns="0" tIns="0" rIns="0" bIns="0" anchor="b" anchorCtr="0">
            <a:noAutofit/>
          </a:bodyPr>
          <a:lstStyle/>
          <a:p>
            <a:pPr marL="0" lvl="0" indent="0" algn="l" rtl="0">
              <a:spcBef>
                <a:spcPts val="0"/>
              </a:spcBef>
              <a:spcAft>
                <a:spcPts val="0"/>
              </a:spcAft>
              <a:buNone/>
            </a:pPr>
            <a:r>
              <a:rPr lang="en-GB" sz="667">
                <a:solidFill>
                  <a:schemeClr val="lt1"/>
                </a:solidFill>
                <a:latin typeface="Inter"/>
                <a:ea typeface="Inter"/>
                <a:cs typeface="Inter"/>
                <a:sym typeface="Inter"/>
              </a:rPr>
              <a:t>Multiverse</a:t>
            </a:r>
            <a:endParaRPr sz="667">
              <a:solidFill>
                <a:schemeClr val="lt1"/>
              </a:solidFill>
              <a:latin typeface="Inter"/>
              <a:ea typeface="Inter"/>
              <a:cs typeface="Inter"/>
              <a:sym typeface="Inter"/>
            </a:endParaRPr>
          </a:p>
        </p:txBody>
      </p:sp>
      <p:sp>
        <p:nvSpPr>
          <p:cNvPr id="30" name="Google Shape;30;p3"/>
          <p:cNvSpPr/>
          <p:nvPr/>
        </p:nvSpPr>
        <p:spPr>
          <a:xfrm>
            <a:off x="481601" y="414630"/>
            <a:ext cx="349111" cy="305471"/>
          </a:xfrm>
          <a:custGeom>
            <a:avLst/>
            <a:gdLst/>
            <a:ahLst/>
            <a:cxnLst/>
            <a:rect l="l" t="t" r="r" b="b"/>
            <a:pathLst>
              <a:path w="1586865" h="1388506" extrusionOk="0">
                <a:moveTo>
                  <a:pt x="1083683" y="969931"/>
                </a:moveTo>
                <a:lnTo>
                  <a:pt x="1083683" y="579692"/>
                </a:lnTo>
                <a:lnTo>
                  <a:pt x="849297" y="969931"/>
                </a:lnTo>
                <a:lnTo>
                  <a:pt x="848892" y="969931"/>
                </a:lnTo>
                <a:cubicBezTo>
                  <a:pt x="848892" y="969931"/>
                  <a:pt x="848892" y="969931"/>
                  <a:pt x="848892" y="969931"/>
                </a:cubicBezTo>
                <a:lnTo>
                  <a:pt x="738783" y="969931"/>
                </a:lnTo>
                <a:lnTo>
                  <a:pt x="738783" y="577668"/>
                </a:lnTo>
                <a:lnTo>
                  <a:pt x="549735" y="892612"/>
                </a:lnTo>
                <a:cubicBezTo>
                  <a:pt x="527876" y="929449"/>
                  <a:pt x="510873" y="958191"/>
                  <a:pt x="503992" y="969931"/>
                </a:cubicBezTo>
                <a:lnTo>
                  <a:pt x="393073" y="969931"/>
                </a:lnTo>
                <a:lnTo>
                  <a:pt x="393073" y="418576"/>
                </a:lnTo>
                <a:lnTo>
                  <a:pt x="503992" y="418576"/>
                </a:lnTo>
                <a:lnTo>
                  <a:pt x="502777" y="760643"/>
                </a:lnTo>
                <a:lnTo>
                  <a:pt x="503587" y="782098"/>
                </a:lnTo>
                <a:lnTo>
                  <a:pt x="721781" y="418981"/>
                </a:lnTo>
                <a:lnTo>
                  <a:pt x="721781" y="418981"/>
                </a:lnTo>
                <a:lnTo>
                  <a:pt x="721781" y="418981"/>
                </a:lnTo>
                <a:lnTo>
                  <a:pt x="739188" y="418981"/>
                </a:lnTo>
                <a:lnTo>
                  <a:pt x="847678" y="418981"/>
                </a:lnTo>
                <a:cubicBezTo>
                  <a:pt x="847678" y="418981"/>
                  <a:pt x="848487" y="722995"/>
                  <a:pt x="848892" y="783717"/>
                </a:cubicBezTo>
                <a:lnTo>
                  <a:pt x="1067895" y="418981"/>
                </a:lnTo>
                <a:lnTo>
                  <a:pt x="1067895" y="418981"/>
                </a:lnTo>
                <a:lnTo>
                  <a:pt x="1067895" y="418981"/>
                </a:lnTo>
                <a:lnTo>
                  <a:pt x="1085302" y="418981"/>
                </a:lnTo>
                <a:lnTo>
                  <a:pt x="1193387" y="418981"/>
                </a:lnTo>
                <a:lnTo>
                  <a:pt x="1193387" y="970336"/>
                </a:lnTo>
                <a:lnTo>
                  <a:pt x="1083683" y="970336"/>
                </a:lnTo>
                <a:close/>
                <a:moveTo>
                  <a:pt x="1190149" y="0"/>
                </a:moveTo>
                <a:lnTo>
                  <a:pt x="396716" y="0"/>
                </a:lnTo>
                <a:lnTo>
                  <a:pt x="0" y="694253"/>
                </a:lnTo>
                <a:lnTo>
                  <a:pt x="396716" y="1388507"/>
                </a:lnTo>
                <a:lnTo>
                  <a:pt x="1190149" y="1388507"/>
                </a:lnTo>
                <a:lnTo>
                  <a:pt x="1586865" y="694253"/>
                </a:lnTo>
                <a:lnTo>
                  <a:pt x="1190149" y="0"/>
                </a:lnTo>
                <a:close/>
              </a:path>
            </a:pathLst>
          </a:custGeom>
          <a:solidFill>
            <a:schemeClr val="lt1"/>
          </a:solidFill>
          <a:ln>
            <a:noFill/>
          </a:ln>
        </p:spPr>
        <p:txBody>
          <a:bodyPr spcFirstLastPara="1" wrap="square" lIns="91433" tIns="45700" rIns="91433" bIns="45700"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31" name="Google Shape;31;p3"/>
          <p:cNvSpPr txBox="1"/>
          <p:nvPr/>
        </p:nvSpPr>
        <p:spPr>
          <a:xfrm>
            <a:off x="5451800" y="6245247"/>
            <a:ext cx="1288400" cy="273200"/>
          </a:xfrm>
          <a:prstGeom prst="rect">
            <a:avLst/>
          </a:prstGeom>
          <a:noFill/>
          <a:ln>
            <a:noFill/>
          </a:ln>
        </p:spPr>
        <p:txBody>
          <a:bodyPr spcFirstLastPara="1" wrap="square" lIns="0" tIns="0" rIns="0" bIns="0" anchor="b" anchorCtr="0">
            <a:noAutofit/>
          </a:bodyPr>
          <a:lstStyle/>
          <a:p>
            <a:pPr marL="0" lvl="0" indent="0" algn="ctr" rtl="0">
              <a:spcBef>
                <a:spcPts val="0"/>
              </a:spcBef>
              <a:spcAft>
                <a:spcPts val="0"/>
              </a:spcAft>
              <a:buNone/>
            </a:pPr>
            <a:r>
              <a:rPr lang="en-GB" sz="667">
                <a:solidFill>
                  <a:schemeClr val="lt1"/>
                </a:solidFill>
                <a:latin typeface="Inter"/>
                <a:ea typeface="Inter"/>
                <a:cs typeface="Inter"/>
                <a:sym typeface="Inter"/>
              </a:rPr>
              <a:t>Private and Confidential</a:t>
            </a:r>
            <a:endParaRPr sz="667">
              <a:solidFill>
                <a:schemeClr val="lt1"/>
              </a:solidFill>
              <a:latin typeface="Inter"/>
              <a:ea typeface="Inter"/>
              <a:cs typeface="Inter"/>
              <a:sym typeface="Inter"/>
            </a:endParaRPr>
          </a:p>
        </p:txBody>
      </p:sp>
      <p:sp>
        <p:nvSpPr>
          <p:cNvPr id="32" name="Google Shape;32;p3"/>
          <p:cNvSpPr txBox="1">
            <a:spLocks noGrp="1"/>
          </p:cNvSpPr>
          <p:nvPr>
            <p:ph type="title"/>
          </p:nvPr>
        </p:nvSpPr>
        <p:spPr>
          <a:xfrm>
            <a:off x="470667" y="2309467"/>
            <a:ext cx="8660800" cy="2564000"/>
          </a:xfrm>
          <a:prstGeom prst="rect">
            <a:avLst/>
          </a:prstGeom>
        </p:spPr>
        <p:txBody>
          <a:bodyPr spcFirstLastPara="1" wrap="square" lIns="0" tIns="91425" rIns="91425" bIns="91425" anchor="t" anchorCtr="0">
            <a:noAutofit/>
          </a:bodyPr>
          <a:lstStyle>
            <a:lvl1pPr lvl="0" rtl="0">
              <a:lnSpc>
                <a:spcPct val="85000"/>
              </a:lnSpc>
              <a:spcBef>
                <a:spcPts val="0"/>
              </a:spcBef>
              <a:spcAft>
                <a:spcPts val="0"/>
              </a:spcAft>
              <a:buClr>
                <a:schemeClr val="lt1"/>
              </a:buClr>
              <a:buSzPts val="4600"/>
              <a:buFont typeface="Inter Medium"/>
              <a:buNone/>
              <a:defRPr sz="6133">
                <a:solidFill>
                  <a:schemeClr val="lt1"/>
                </a:solidFill>
                <a:latin typeface="Inter Medium"/>
                <a:ea typeface="Inter Medium"/>
                <a:cs typeface="Inter Medium"/>
                <a:sym typeface="Inter Medium"/>
              </a:defRPr>
            </a:lvl1pPr>
            <a:lvl2pPr lvl="1" rtl="0">
              <a:lnSpc>
                <a:spcPct val="75000"/>
              </a:lnSpc>
              <a:spcBef>
                <a:spcPts val="0"/>
              </a:spcBef>
              <a:spcAft>
                <a:spcPts val="0"/>
              </a:spcAft>
              <a:buSzPts val="1100"/>
              <a:buNone/>
              <a:defRPr/>
            </a:lvl2pPr>
            <a:lvl3pPr lvl="2" rtl="0">
              <a:lnSpc>
                <a:spcPct val="75000"/>
              </a:lnSpc>
              <a:spcBef>
                <a:spcPts val="0"/>
              </a:spcBef>
              <a:spcAft>
                <a:spcPts val="0"/>
              </a:spcAft>
              <a:buSzPts val="1100"/>
              <a:buNone/>
              <a:defRPr/>
            </a:lvl3pPr>
            <a:lvl4pPr lvl="3" rtl="0">
              <a:lnSpc>
                <a:spcPct val="75000"/>
              </a:lnSpc>
              <a:spcBef>
                <a:spcPts val="0"/>
              </a:spcBef>
              <a:spcAft>
                <a:spcPts val="0"/>
              </a:spcAft>
              <a:buSzPts val="1100"/>
              <a:buNone/>
              <a:defRPr/>
            </a:lvl4pPr>
            <a:lvl5pPr lvl="4" rtl="0">
              <a:lnSpc>
                <a:spcPct val="75000"/>
              </a:lnSpc>
              <a:spcBef>
                <a:spcPts val="0"/>
              </a:spcBef>
              <a:spcAft>
                <a:spcPts val="0"/>
              </a:spcAft>
              <a:buSzPts val="1100"/>
              <a:buNone/>
              <a:defRPr/>
            </a:lvl5pPr>
            <a:lvl6pPr lvl="5" rtl="0">
              <a:lnSpc>
                <a:spcPct val="75000"/>
              </a:lnSpc>
              <a:spcBef>
                <a:spcPts val="0"/>
              </a:spcBef>
              <a:spcAft>
                <a:spcPts val="0"/>
              </a:spcAft>
              <a:buSzPts val="1100"/>
              <a:buNone/>
              <a:defRPr/>
            </a:lvl6pPr>
            <a:lvl7pPr lvl="6" rtl="0">
              <a:lnSpc>
                <a:spcPct val="75000"/>
              </a:lnSpc>
              <a:spcBef>
                <a:spcPts val="0"/>
              </a:spcBef>
              <a:spcAft>
                <a:spcPts val="0"/>
              </a:spcAft>
              <a:buSzPts val="1100"/>
              <a:buNone/>
              <a:defRPr/>
            </a:lvl7pPr>
            <a:lvl8pPr lvl="7" rtl="0">
              <a:lnSpc>
                <a:spcPct val="75000"/>
              </a:lnSpc>
              <a:spcBef>
                <a:spcPts val="0"/>
              </a:spcBef>
              <a:spcAft>
                <a:spcPts val="0"/>
              </a:spcAft>
              <a:buSzPts val="1100"/>
              <a:buNone/>
              <a:defRPr/>
            </a:lvl8pPr>
            <a:lvl9pPr lvl="8" rtl="0">
              <a:lnSpc>
                <a:spcPct val="75000"/>
              </a:lnSpc>
              <a:spcBef>
                <a:spcPts val="0"/>
              </a:spcBef>
              <a:spcAft>
                <a:spcPts val="0"/>
              </a:spcAft>
              <a:buSzPts val="1100"/>
              <a:buNone/>
              <a:defRPr/>
            </a:lvl9pPr>
          </a:lstStyle>
          <a:p>
            <a:endParaRPr/>
          </a:p>
        </p:txBody>
      </p:sp>
    </p:spTree>
    <p:extLst>
      <p:ext uri="{BB962C8B-B14F-4D97-AF65-F5344CB8AC3E}">
        <p14:creationId xmlns:p14="http://schemas.microsoft.com/office/powerpoint/2010/main" val="312876451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Title Slide Logo only">
  <p:cSld name="Title Slide Logo only">
    <p:bg>
      <p:bgPr>
        <a:solidFill>
          <a:schemeClr val="dk2"/>
        </a:solidFill>
        <a:effectLst/>
      </p:bgPr>
    </p:bg>
    <p:spTree>
      <p:nvGrpSpPr>
        <p:cNvPr id="1" name="Shape 33"/>
        <p:cNvGrpSpPr/>
        <p:nvPr/>
      </p:nvGrpSpPr>
      <p:grpSpPr>
        <a:xfrm>
          <a:off x="0" y="0"/>
          <a:ext cx="0" cy="0"/>
          <a:chOff x="0" y="0"/>
          <a:chExt cx="0" cy="0"/>
        </a:xfrm>
      </p:grpSpPr>
      <p:grpSp>
        <p:nvGrpSpPr>
          <p:cNvPr id="34" name="Google Shape;34;p4"/>
          <p:cNvGrpSpPr/>
          <p:nvPr/>
        </p:nvGrpSpPr>
        <p:grpSpPr>
          <a:xfrm>
            <a:off x="4086973" y="3091892"/>
            <a:ext cx="4022956" cy="674223"/>
            <a:chOff x="2455289" y="1451556"/>
            <a:chExt cx="2208151" cy="370100"/>
          </a:xfrm>
        </p:grpSpPr>
        <p:sp>
          <p:nvSpPr>
            <p:cNvPr id="35" name="Google Shape;35;p4"/>
            <p:cNvSpPr/>
            <p:nvPr/>
          </p:nvSpPr>
          <p:spPr>
            <a:xfrm>
              <a:off x="2876395" y="1554783"/>
              <a:ext cx="221938" cy="264747"/>
            </a:xfrm>
            <a:custGeom>
              <a:avLst/>
              <a:gdLst/>
              <a:ahLst/>
              <a:cxnLst/>
              <a:rect l="l" t="t" r="r" b="b"/>
              <a:pathLst>
                <a:path w="295917" h="352996" extrusionOk="0">
                  <a:moveTo>
                    <a:pt x="225076" y="193096"/>
                  </a:moveTo>
                  <a:cubicBezTo>
                    <a:pt x="225076" y="250174"/>
                    <a:pt x="194310" y="284988"/>
                    <a:pt x="148566" y="284988"/>
                  </a:cubicBezTo>
                  <a:cubicBezTo>
                    <a:pt x="101608" y="284988"/>
                    <a:pt x="70842" y="250174"/>
                    <a:pt x="70842" y="193096"/>
                  </a:cubicBezTo>
                  <a:lnTo>
                    <a:pt x="70842" y="0"/>
                  </a:lnTo>
                  <a:lnTo>
                    <a:pt x="0" y="0"/>
                  </a:lnTo>
                  <a:lnTo>
                    <a:pt x="0" y="191477"/>
                  </a:lnTo>
                  <a:cubicBezTo>
                    <a:pt x="0" y="289441"/>
                    <a:pt x="54245" y="352997"/>
                    <a:pt x="146542" y="352997"/>
                  </a:cubicBezTo>
                  <a:cubicBezTo>
                    <a:pt x="238030" y="352997"/>
                    <a:pt x="295918" y="288227"/>
                    <a:pt x="295918" y="191477"/>
                  </a:cubicBezTo>
                  <a:lnTo>
                    <a:pt x="295918" y="0"/>
                  </a:lnTo>
                  <a:lnTo>
                    <a:pt x="225076" y="0"/>
                  </a:lnTo>
                  <a:lnTo>
                    <a:pt x="225076" y="193096"/>
                  </a:lnTo>
                  <a:close/>
                </a:path>
              </a:pathLst>
            </a:custGeom>
            <a:solidFill>
              <a:srgbClr val="FFFFFF"/>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36" name="Google Shape;36;p4"/>
            <p:cNvSpPr/>
            <p:nvPr/>
          </p:nvSpPr>
          <p:spPr>
            <a:xfrm>
              <a:off x="3150858" y="1452164"/>
              <a:ext cx="52220" cy="364027"/>
            </a:xfrm>
            <a:custGeom>
              <a:avLst/>
              <a:gdLst/>
              <a:ahLst/>
              <a:cxnLst/>
              <a:rect l="l" t="t" r="r" b="b"/>
              <a:pathLst>
                <a:path w="69627" h="485370" extrusionOk="0">
                  <a:moveTo>
                    <a:pt x="0" y="0"/>
                  </a:moveTo>
                  <a:lnTo>
                    <a:pt x="69628" y="0"/>
                  </a:lnTo>
                  <a:lnTo>
                    <a:pt x="69628" y="485370"/>
                  </a:lnTo>
                  <a:lnTo>
                    <a:pt x="0" y="485370"/>
                  </a:lnTo>
                  <a:close/>
                </a:path>
              </a:pathLst>
            </a:custGeom>
            <a:solidFill>
              <a:srgbClr val="FFFFFF"/>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37" name="Google Shape;37;p4"/>
            <p:cNvSpPr/>
            <p:nvPr/>
          </p:nvSpPr>
          <p:spPr>
            <a:xfrm>
              <a:off x="3440501" y="1555087"/>
              <a:ext cx="52220" cy="260800"/>
            </a:xfrm>
            <a:custGeom>
              <a:avLst/>
              <a:gdLst/>
              <a:ahLst/>
              <a:cxnLst/>
              <a:rect l="l" t="t" r="r" b="b"/>
              <a:pathLst>
                <a:path w="69627" h="347733" extrusionOk="0">
                  <a:moveTo>
                    <a:pt x="0" y="0"/>
                  </a:moveTo>
                  <a:lnTo>
                    <a:pt x="69627" y="0"/>
                  </a:lnTo>
                  <a:lnTo>
                    <a:pt x="69627" y="347734"/>
                  </a:lnTo>
                  <a:lnTo>
                    <a:pt x="0" y="347734"/>
                  </a:lnTo>
                  <a:close/>
                </a:path>
              </a:pathLst>
            </a:custGeom>
            <a:solidFill>
              <a:srgbClr val="FFFFFF"/>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38" name="Google Shape;38;p4"/>
            <p:cNvSpPr/>
            <p:nvPr/>
          </p:nvSpPr>
          <p:spPr>
            <a:xfrm>
              <a:off x="3517618" y="1555087"/>
              <a:ext cx="257764" cy="261104"/>
            </a:xfrm>
            <a:custGeom>
              <a:avLst/>
              <a:gdLst/>
              <a:ahLst/>
              <a:cxnLst/>
              <a:rect l="l" t="t" r="r" b="b"/>
              <a:pathLst>
                <a:path w="343685" h="348138" extrusionOk="0">
                  <a:moveTo>
                    <a:pt x="269200" y="0"/>
                  </a:moveTo>
                  <a:lnTo>
                    <a:pt x="172045" y="255842"/>
                  </a:lnTo>
                  <a:lnTo>
                    <a:pt x="74081" y="0"/>
                  </a:lnTo>
                  <a:lnTo>
                    <a:pt x="0" y="0"/>
                  </a:lnTo>
                  <a:lnTo>
                    <a:pt x="136422" y="348139"/>
                  </a:lnTo>
                  <a:lnTo>
                    <a:pt x="207264" y="348139"/>
                  </a:lnTo>
                  <a:lnTo>
                    <a:pt x="343686" y="0"/>
                  </a:lnTo>
                  <a:close/>
                </a:path>
              </a:pathLst>
            </a:custGeom>
            <a:solidFill>
              <a:srgbClr val="FFFFFF"/>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39" name="Google Shape;39;p4"/>
            <p:cNvSpPr/>
            <p:nvPr/>
          </p:nvSpPr>
          <p:spPr>
            <a:xfrm>
              <a:off x="4209848" y="1549621"/>
              <a:ext cx="188541" cy="272034"/>
            </a:xfrm>
            <a:custGeom>
              <a:avLst/>
              <a:gdLst/>
              <a:ahLst/>
              <a:cxnLst/>
              <a:rect l="l" t="t" r="r" b="b"/>
              <a:pathLst>
                <a:path w="251388" h="362712" extrusionOk="0">
                  <a:moveTo>
                    <a:pt x="150591" y="148971"/>
                  </a:moveTo>
                  <a:lnTo>
                    <a:pt x="109704" y="139660"/>
                  </a:lnTo>
                  <a:cubicBezTo>
                    <a:pt x="84606" y="133588"/>
                    <a:pt x="72057" y="120229"/>
                    <a:pt x="72057" y="102013"/>
                  </a:cubicBezTo>
                  <a:cubicBezTo>
                    <a:pt x="72057" y="76915"/>
                    <a:pt x="95131" y="61531"/>
                    <a:pt x="126302" y="62341"/>
                  </a:cubicBezTo>
                  <a:cubicBezTo>
                    <a:pt x="145328" y="62341"/>
                    <a:pt x="164759" y="68413"/>
                    <a:pt x="183380" y="77724"/>
                  </a:cubicBezTo>
                  <a:cubicBezTo>
                    <a:pt x="206454" y="88654"/>
                    <a:pt x="225886" y="104037"/>
                    <a:pt x="233577" y="111324"/>
                  </a:cubicBezTo>
                  <a:lnTo>
                    <a:pt x="233577" y="38457"/>
                  </a:lnTo>
                  <a:cubicBezTo>
                    <a:pt x="221837" y="29551"/>
                    <a:pt x="178522" y="0"/>
                    <a:pt x="123063" y="0"/>
                  </a:cubicBezTo>
                  <a:cubicBezTo>
                    <a:pt x="46149" y="0"/>
                    <a:pt x="0" y="51411"/>
                    <a:pt x="0" y="107680"/>
                  </a:cubicBezTo>
                  <a:cubicBezTo>
                    <a:pt x="0" y="161115"/>
                    <a:pt x="37648" y="187428"/>
                    <a:pt x="87439" y="199573"/>
                  </a:cubicBezTo>
                  <a:lnTo>
                    <a:pt x="127111" y="208883"/>
                  </a:lnTo>
                  <a:cubicBezTo>
                    <a:pt x="162330" y="216980"/>
                    <a:pt x="179332" y="229934"/>
                    <a:pt x="179332" y="254222"/>
                  </a:cubicBezTo>
                  <a:cubicBezTo>
                    <a:pt x="179332" y="278511"/>
                    <a:pt x="158687" y="301585"/>
                    <a:pt x="121039" y="301585"/>
                  </a:cubicBezTo>
                  <a:cubicBezTo>
                    <a:pt x="97155" y="301585"/>
                    <a:pt x="73271" y="293489"/>
                    <a:pt x="54245" y="282559"/>
                  </a:cubicBezTo>
                  <a:cubicBezTo>
                    <a:pt x="31171" y="270415"/>
                    <a:pt x="13764" y="255437"/>
                    <a:pt x="9311" y="250984"/>
                  </a:cubicBezTo>
                  <a:lnTo>
                    <a:pt x="8096" y="325065"/>
                  </a:lnTo>
                  <a:cubicBezTo>
                    <a:pt x="12549" y="329922"/>
                    <a:pt x="52626" y="362712"/>
                    <a:pt x="123468" y="362712"/>
                  </a:cubicBezTo>
                  <a:cubicBezTo>
                    <a:pt x="202406" y="362712"/>
                    <a:pt x="251388" y="307253"/>
                    <a:pt x="251388" y="250984"/>
                  </a:cubicBezTo>
                  <a:cubicBezTo>
                    <a:pt x="250579" y="201597"/>
                    <a:pt x="216979" y="163949"/>
                    <a:pt x="150591" y="148971"/>
                  </a:cubicBezTo>
                  <a:close/>
                </a:path>
              </a:pathLst>
            </a:custGeom>
            <a:solidFill>
              <a:srgbClr val="FFFFFF"/>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40" name="Google Shape;40;p4"/>
            <p:cNvSpPr/>
            <p:nvPr/>
          </p:nvSpPr>
          <p:spPr>
            <a:xfrm>
              <a:off x="3775382" y="1552051"/>
              <a:ext cx="242584" cy="267176"/>
            </a:xfrm>
            <a:custGeom>
              <a:avLst/>
              <a:gdLst/>
              <a:ahLst/>
              <a:cxnLst/>
              <a:rect l="l" t="t" r="r" b="b"/>
              <a:pathLst>
                <a:path w="323445" h="356235" extrusionOk="0">
                  <a:moveTo>
                    <a:pt x="70842" y="150995"/>
                  </a:moveTo>
                  <a:cubicBezTo>
                    <a:pt x="79343" y="101203"/>
                    <a:pt x="112538" y="64770"/>
                    <a:pt x="164758" y="64770"/>
                  </a:cubicBezTo>
                  <a:cubicBezTo>
                    <a:pt x="216575" y="64770"/>
                    <a:pt x="247340" y="101203"/>
                    <a:pt x="255437" y="150995"/>
                  </a:cubicBezTo>
                  <a:lnTo>
                    <a:pt x="70842" y="150995"/>
                  </a:lnTo>
                  <a:close/>
                  <a:moveTo>
                    <a:pt x="164758" y="0"/>
                  </a:moveTo>
                  <a:cubicBezTo>
                    <a:pt x="70842" y="0"/>
                    <a:pt x="0" y="79748"/>
                    <a:pt x="0" y="178118"/>
                  </a:cubicBezTo>
                  <a:cubicBezTo>
                    <a:pt x="0" y="276487"/>
                    <a:pt x="76914" y="356235"/>
                    <a:pt x="180546" y="356235"/>
                  </a:cubicBezTo>
                  <a:cubicBezTo>
                    <a:pt x="259889" y="356235"/>
                    <a:pt x="303609" y="317778"/>
                    <a:pt x="303609" y="317778"/>
                  </a:cubicBezTo>
                  <a:lnTo>
                    <a:pt x="303609" y="246936"/>
                  </a:lnTo>
                  <a:cubicBezTo>
                    <a:pt x="303609" y="246936"/>
                    <a:pt x="255437" y="290655"/>
                    <a:pt x="185809" y="290655"/>
                  </a:cubicBezTo>
                  <a:cubicBezTo>
                    <a:pt x="123063" y="290655"/>
                    <a:pt x="81772" y="255032"/>
                    <a:pt x="71247" y="204835"/>
                  </a:cubicBezTo>
                  <a:lnTo>
                    <a:pt x="322231" y="204835"/>
                  </a:lnTo>
                  <a:cubicBezTo>
                    <a:pt x="323041" y="195929"/>
                    <a:pt x="323445" y="186618"/>
                    <a:pt x="323445" y="177713"/>
                  </a:cubicBezTo>
                  <a:cubicBezTo>
                    <a:pt x="323445" y="79748"/>
                    <a:pt x="256247" y="0"/>
                    <a:pt x="164758" y="0"/>
                  </a:cubicBezTo>
                  <a:close/>
                </a:path>
              </a:pathLst>
            </a:custGeom>
            <a:solidFill>
              <a:srgbClr val="FFFFFF"/>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41" name="Google Shape;41;p4"/>
            <p:cNvSpPr/>
            <p:nvPr/>
          </p:nvSpPr>
          <p:spPr>
            <a:xfrm>
              <a:off x="3429268" y="1451556"/>
              <a:ext cx="74687" cy="65883"/>
            </a:xfrm>
            <a:custGeom>
              <a:avLst/>
              <a:gdLst/>
              <a:ahLst/>
              <a:cxnLst/>
              <a:rect l="l" t="t" r="r" b="b"/>
              <a:pathLst>
                <a:path w="99583" h="87844" extrusionOk="0">
                  <a:moveTo>
                    <a:pt x="24693" y="0"/>
                  </a:moveTo>
                  <a:lnTo>
                    <a:pt x="0" y="43720"/>
                  </a:lnTo>
                  <a:lnTo>
                    <a:pt x="24693" y="87844"/>
                  </a:lnTo>
                  <a:lnTo>
                    <a:pt x="74890" y="87844"/>
                  </a:lnTo>
                  <a:lnTo>
                    <a:pt x="99584" y="43720"/>
                  </a:lnTo>
                  <a:lnTo>
                    <a:pt x="74890" y="0"/>
                  </a:lnTo>
                  <a:close/>
                </a:path>
              </a:pathLst>
            </a:custGeom>
            <a:solidFill>
              <a:srgbClr val="FFFFFF"/>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42" name="Google Shape;42;p4"/>
            <p:cNvSpPr/>
            <p:nvPr/>
          </p:nvSpPr>
          <p:spPr>
            <a:xfrm>
              <a:off x="2455288" y="1554783"/>
              <a:ext cx="375868" cy="261103"/>
            </a:xfrm>
            <a:custGeom>
              <a:avLst/>
              <a:gdLst/>
              <a:ahLst/>
              <a:cxnLst/>
              <a:rect l="l" t="t" r="r" b="b"/>
              <a:pathLst>
                <a:path w="501157" h="348138" extrusionOk="0">
                  <a:moveTo>
                    <a:pt x="433149" y="405"/>
                  </a:moveTo>
                  <a:lnTo>
                    <a:pt x="422219" y="405"/>
                  </a:lnTo>
                  <a:lnTo>
                    <a:pt x="422219" y="405"/>
                  </a:lnTo>
                  <a:lnTo>
                    <a:pt x="422219" y="405"/>
                  </a:lnTo>
                  <a:lnTo>
                    <a:pt x="284988" y="230338"/>
                  </a:lnTo>
                  <a:cubicBezTo>
                    <a:pt x="284988" y="192286"/>
                    <a:pt x="284178" y="405"/>
                    <a:pt x="284178" y="405"/>
                  </a:cubicBezTo>
                  <a:lnTo>
                    <a:pt x="216575" y="405"/>
                  </a:lnTo>
                  <a:lnTo>
                    <a:pt x="205645" y="405"/>
                  </a:lnTo>
                  <a:lnTo>
                    <a:pt x="205645" y="405"/>
                  </a:lnTo>
                  <a:lnTo>
                    <a:pt x="205645" y="405"/>
                  </a:lnTo>
                  <a:lnTo>
                    <a:pt x="69223" y="229529"/>
                  </a:lnTo>
                  <a:lnTo>
                    <a:pt x="68818" y="216170"/>
                  </a:lnTo>
                  <a:lnTo>
                    <a:pt x="69628" y="405"/>
                  </a:lnTo>
                  <a:lnTo>
                    <a:pt x="0" y="405"/>
                  </a:lnTo>
                  <a:lnTo>
                    <a:pt x="0" y="348139"/>
                  </a:lnTo>
                  <a:lnTo>
                    <a:pt x="69628" y="348139"/>
                  </a:lnTo>
                  <a:cubicBezTo>
                    <a:pt x="74081" y="340852"/>
                    <a:pt x="84606" y="322636"/>
                    <a:pt x="98369" y="299157"/>
                  </a:cubicBezTo>
                  <a:lnTo>
                    <a:pt x="216575" y="100394"/>
                  </a:lnTo>
                  <a:lnTo>
                    <a:pt x="216575" y="347734"/>
                  </a:lnTo>
                  <a:lnTo>
                    <a:pt x="285393" y="347734"/>
                  </a:lnTo>
                  <a:cubicBezTo>
                    <a:pt x="285393" y="347734"/>
                    <a:pt x="285393" y="347734"/>
                    <a:pt x="285393" y="347734"/>
                  </a:cubicBezTo>
                  <a:lnTo>
                    <a:pt x="285393" y="347734"/>
                  </a:lnTo>
                  <a:lnTo>
                    <a:pt x="432340" y="101608"/>
                  </a:lnTo>
                  <a:lnTo>
                    <a:pt x="432340" y="347734"/>
                  </a:lnTo>
                  <a:lnTo>
                    <a:pt x="501158" y="347734"/>
                  </a:lnTo>
                  <a:lnTo>
                    <a:pt x="501158" y="0"/>
                  </a:lnTo>
                  <a:lnTo>
                    <a:pt x="433149" y="0"/>
                  </a:lnTo>
                  <a:close/>
                </a:path>
              </a:pathLst>
            </a:custGeom>
            <a:solidFill>
              <a:srgbClr val="FFFFFF"/>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43" name="Google Shape;43;p4"/>
            <p:cNvSpPr/>
            <p:nvPr/>
          </p:nvSpPr>
          <p:spPr>
            <a:xfrm>
              <a:off x="4428749" y="1553569"/>
              <a:ext cx="234690" cy="263229"/>
            </a:xfrm>
            <a:custGeom>
              <a:avLst/>
              <a:gdLst/>
              <a:ahLst/>
              <a:cxnLst/>
              <a:rect l="l" t="t" r="r" b="b"/>
              <a:pathLst>
                <a:path w="312920" h="350972" extrusionOk="0">
                  <a:moveTo>
                    <a:pt x="68009" y="136017"/>
                  </a:moveTo>
                  <a:cubicBezTo>
                    <a:pt x="72057" y="123468"/>
                    <a:pt x="78129" y="112538"/>
                    <a:pt x="85821" y="103227"/>
                  </a:cubicBezTo>
                  <a:cubicBezTo>
                    <a:pt x="97155" y="89059"/>
                    <a:pt x="110514" y="78533"/>
                    <a:pt x="125492" y="71247"/>
                  </a:cubicBezTo>
                  <a:cubicBezTo>
                    <a:pt x="140470" y="63960"/>
                    <a:pt x="155853" y="60317"/>
                    <a:pt x="171236" y="60317"/>
                  </a:cubicBezTo>
                  <a:cubicBezTo>
                    <a:pt x="194310" y="60317"/>
                    <a:pt x="212932" y="65580"/>
                    <a:pt x="226290" y="75700"/>
                  </a:cubicBezTo>
                  <a:cubicBezTo>
                    <a:pt x="238435" y="84606"/>
                    <a:pt x="244102" y="95941"/>
                    <a:pt x="244102" y="110918"/>
                  </a:cubicBezTo>
                  <a:cubicBezTo>
                    <a:pt x="244102" y="119420"/>
                    <a:pt x="242078" y="130350"/>
                    <a:pt x="225481" y="140065"/>
                  </a:cubicBezTo>
                  <a:cubicBezTo>
                    <a:pt x="209693" y="149376"/>
                    <a:pt x="190667" y="153829"/>
                    <a:pt x="169212" y="153829"/>
                  </a:cubicBezTo>
                  <a:cubicBezTo>
                    <a:pt x="139256" y="153424"/>
                    <a:pt x="104847" y="147757"/>
                    <a:pt x="68009" y="136017"/>
                  </a:cubicBezTo>
                  <a:close/>
                  <a:moveTo>
                    <a:pt x="277297" y="238030"/>
                  </a:moveTo>
                  <a:lnTo>
                    <a:pt x="261509" y="252603"/>
                  </a:lnTo>
                  <a:cubicBezTo>
                    <a:pt x="247746" y="265152"/>
                    <a:pt x="232767" y="274868"/>
                    <a:pt x="217789" y="281749"/>
                  </a:cubicBezTo>
                  <a:cubicBezTo>
                    <a:pt x="203216" y="288227"/>
                    <a:pt x="185809" y="291465"/>
                    <a:pt x="165164" y="291465"/>
                  </a:cubicBezTo>
                  <a:cubicBezTo>
                    <a:pt x="146542" y="291465"/>
                    <a:pt x="129540" y="287012"/>
                    <a:pt x="113348" y="278106"/>
                  </a:cubicBezTo>
                  <a:cubicBezTo>
                    <a:pt x="97155" y="269200"/>
                    <a:pt x="84606" y="257056"/>
                    <a:pt x="74890" y="240458"/>
                  </a:cubicBezTo>
                  <a:cubicBezTo>
                    <a:pt x="66389" y="226290"/>
                    <a:pt x="61937" y="211312"/>
                    <a:pt x="60722" y="193905"/>
                  </a:cubicBezTo>
                  <a:cubicBezTo>
                    <a:pt x="75700" y="198763"/>
                    <a:pt x="89869" y="202406"/>
                    <a:pt x="103227" y="205645"/>
                  </a:cubicBezTo>
                  <a:cubicBezTo>
                    <a:pt x="124682" y="210907"/>
                    <a:pt x="147352" y="213336"/>
                    <a:pt x="170021" y="213336"/>
                  </a:cubicBezTo>
                  <a:cubicBezTo>
                    <a:pt x="191881" y="213336"/>
                    <a:pt x="212932" y="209693"/>
                    <a:pt x="232767" y="202406"/>
                  </a:cubicBezTo>
                  <a:cubicBezTo>
                    <a:pt x="253413" y="194715"/>
                    <a:pt x="270415" y="183380"/>
                    <a:pt x="283774" y="168807"/>
                  </a:cubicBezTo>
                  <a:cubicBezTo>
                    <a:pt x="297942" y="152614"/>
                    <a:pt x="305229" y="133183"/>
                    <a:pt x="305229" y="110514"/>
                  </a:cubicBezTo>
                  <a:cubicBezTo>
                    <a:pt x="305229" y="89059"/>
                    <a:pt x="299157" y="69628"/>
                    <a:pt x="286607" y="52221"/>
                  </a:cubicBezTo>
                  <a:cubicBezTo>
                    <a:pt x="274868" y="35623"/>
                    <a:pt x="258271" y="22265"/>
                    <a:pt x="237625" y="13359"/>
                  </a:cubicBezTo>
                  <a:cubicBezTo>
                    <a:pt x="217789" y="4453"/>
                    <a:pt x="195525" y="0"/>
                    <a:pt x="172045" y="0"/>
                  </a:cubicBezTo>
                  <a:cubicBezTo>
                    <a:pt x="143708" y="0"/>
                    <a:pt x="116181" y="7287"/>
                    <a:pt x="90273" y="21455"/>
                  </a:cubicBezTo>
                  <a:cubicBezTo>
                    <a:pt x="63961" y="36028"/>
                    <a:pt x="42101" y="57078"/>
                    <a:pt x="25503" y="85011"/>
                  </a:cubicBezTo>
                  <a:cubicBezTo>
                    <a:pt x="8501" y="112943"/>
                    <a:pt x="0" y="146542"/>
                    <a:pt x="0" y="184999"/>
                  </a:cubicBezTo>
                  <a:cubicBezTo>
                    <a:pt x="0" y="219408"/>
                    <a:pt x="8096" y="249769"/>
                    <a:pt x="24289" y="274868"/>
                  </a:cubicBezTo>
                  <a:cubicBezTo>
                    <a:pt x="40481" y="299966"/>
                    <a:pt x="61532" y="319397"/>
                    <a:pt x="87845" y="331946"/>
                  </a:cubicBezTo>
                  <a:cubicBezTo>
                    <a:pt x="113348" y="344495"/>
                    <a:pt x="140470" y="350973"/>
                    <a:pt x="168807" y="350973"/>
                  </a:cubicBezTo>
                  <a:cubicBezTo>
                    <a:pt x="195525" y="350973"/>
                    <a:pt x="219409" y="346115"/>
                    <a:pt x="240459" y="336399"/>
                  </a:cubicBezTo>
                  <a:cubicBezTo>
                    <a:pt x="260699" y="327088"/>
                    <a:pt x="280131" y="313730"/>
                    <a:pt x="298752" y="297132"/>
                  </a:cubicBezTo>
                  <a:lnTo>
                    <a:pt x="312920" y="284583"/>
                  </a:lnTo>
                  <a:lnTo>
                    <a:pt x="277297" y="238030"/>
                  </a:lnTo>
                  <a:close/>
                </a:path>
              </a:pathLst>
            </a:custGeom>
            <a:solidFill>
              <a:srgbClr val="FFFFFF"/>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44" name="Google Shape;44;p4"/>
            <p:cNvSpPr/>
            <p:nvPr/>
          </p:nvSpPr>
          <p:spPr>
            <a:xfrm>
              <a:off x="3227064" y="1481006"/>
              <a:ext cx="183683" cy="334577"/>
            </a:xfrm>
            <a:custGeom>
              <a:avLst/>
              <a:gdLst/>
              <a:ahLst/>
              <a:cxnLst/>
              <a:rect l="l" t="t" r="r" b="b"/>
              <a:pathLst>
                <a:path w="244911" h="446103" extrusionOk="0">
                  <a:moveTo>
                    <a:pt x="156662" y="0"/>
                  </a:moveTo>
                  <a:lnTo>
                    <a:pt x="87844" y="0"/>
                  </a:lnTo>
                  <a:lnTo>
                    <a:pt x="87844" y="98369"/>
                  </a:lnTo>
                  <a:lnTo>
                    <a:pt x="0" y="98369"/>
                  </a:lnTo>
                  <a:lnTo>
                    <a:pt x="0" y="159496"/>
                  </a:lnTo>
                  <a:lnTo>
                    <a:pt x="87844" y="159496"/>
                  </a:lnTo>
                  <a:lnTo>
                    <a:pt x="87844" y="446103"/>
                  </a:lnTo>
                  <a:lnTo>
                    <a:pt x="156662" y="446103"/>
                  </a:lnTo>
                  <a:lnTo>
                    <a:pt x="156662" y="159496"/>
                  </a:lnTo>
                  <a:lnTo>
                    <a:pt x="244912" y="159496"/>
                  </a:lnTo>
                  <a:lnTo>
                    <a:pt x="244912" y="98369"/>
                  </a:lnTo>
                  <a:lnTo>
                    <a:pt x="156662" y="98369"/>
                  </a:lnTo>
                  <a:close/>
                </a:path>
              </a:pathLst>
            </a:custGeom>
            <a:solidFill>
              <a:srgbClr val="FFFFFF"/>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45" name="Google Shape;45;p4"/>
            <p:cNvSpPr/>
            <p:nvPr/>
          </p:nvSpPr>
          <p:spPr>
            <a:xfrm>
              <a:off x="4047416" y="1554480"/>
              <a:ext cx="140875" cy="261104"/>
            </a:xfrm>
            <a:custGeom>
              <a:avLst/>
              <a:gdLst/>
              <a:ahLst/>
              <a:cxnLst/>
              <a:rect l="l" t="t" r="r" b="b"/>
              <a:pathLst>
                <a:path w="187833" h="348138" extrusionOk="0">
                  <a:moveTo>
                    <a:pt x="4048" y="405"/>
                  </a:moveTo>
                  <a:lnTo>
                    <a:pt x="0" y="405"/>
                  </a:lnTo>
                  <a:lnTo>
                    <a:pt x="0" y="348139"/>
                  </a:lnTo>
                  <a:lnTo>
                    <a:pt x="69628" y="348139"/>
                  </a:lnTo>
                  <a:lnTo>
                    <a:pt x="69628" y="61127"/>
                  </a:lnTo>
                  <a:lnTo>
                    <a:pt x="187833" y="61127"/>
                  </a:lnTo>
                  <a:lnTo>
                    <a:pt x="187833" y="0"/>
                  </a:lnTo>
                  <a:lnTo>
                    <a:pt x="4048" y="0"/>
                  </a:lnTo>
                  <a:close/>
                </a:path>
              </a:pathLst>
            </a:custGeom>
            <a:solidFill>
              <a:srgbClr val="FFFFFF"/>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grpSp>
      <p:sp>
        <p:nvSpPr>
          <p:cNvPr id="46" name="Google Shape;46;p4"/>
          <p:cNvSpPr txBox="1"/>
          <p:nvPr/>
        </p:nvSpPr>
        <p:spPr>
          <a:xfrm>
            <a:off x="5451800" y="6245247"/>
            <a:ext cx="1288400" cy="273200"/>
          </a:xfrm>
          <a:prstGeom prst="rect">
            <a:avLst/>
          </a:prstGeom>
          <a:noFill/>
          <a:ln>
            <a:noFill/>
          </a:ln>
        </p:spPr>
        <p:txBody>
          <a:bodyPr spcFirstLastPara="1" wrap="square" lIns="0" tIns="0" rIns="0" bIns="0" anchor="b" anchorCtr="0">
            <a:noAutofit/>
          </a:bodyPr>
          <a:lstStyle/>
          <a:p>
            <a:pPr marL="0" lvl="0" indent="0" algn="ctr" rtl="0">
              <a:spcBef>
                <a:spcPts val="0"/>
              </a:spcBef>
              <a:spcAft>
                <a:spcPts val="0"/>
              </a:spcAft>
              <a:buNone/>
            </a:pPr>
            <a:r>
              <a:rPr lang="en-GB" sz="667">
                <a:solidFill>
                  <a:schemeClr val="lt1"/>
                </a:solidFill>
                <a:latin typeface="Inter"/>
                <a:ea typeface="Inter"/>
                <a:cs typeface="Inter"/>
                <a:sym typeface="Inter"/>
              </a:rPr>
              <a:t>Private and Confidential</a:t>
            </a:r>
            <a:endParaRPr sz="667">
              <a:solidFill>
                <a:schemeClr val="lt1"/>
              </a:solidFill>
              <a:latin typeface="Inter"/>
              <a:ea typeface="Inter"/>
              <a:cs typeface="Inter"/>
              <a:sym typeface="Inter"/>
            </a:endParaRPr>
          </a:p>
        </p:txBody>
      </p:sp>
    </p:spTree>
    <p:extLst>
      <p:ext uri="{BB962C8B-B14F-4D97-AF65-F5344CB8AC3E}">
        <p14:creationId xmlns:p14="http://schemas.microsoft.com/office/powerpoint/2010/main" val="253035992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End slide">
  <p:cSld name="End slide">
    <p:bg>
      <p:bgPr>
        <a:solidFill>
          <a:schemeClr val="dk2"/>
        </a:solidFill>
        <a:effectLst/>
      </p:bgPr>
    </p:bg>
    <p:spTree>
      <p:nvGrpSpPr>
        <p:cNvPr id="1" name="Shape 47"/>
        <p:cNvGrpSpPr/>
        <p:nvPr/>
      </p:nvGrpSpPr>
      <p:grpSpPr>
        <a:xfrm>
          <a:off x="0" y="0"/>
          <a:ext cx="0" cy="0"/>
          <a:chOff x="0" y="0"/>
          <a:chExt cx="0" cy="0"/>
        </a:xfrm>
      </p:grpSpPr>
      <p:sp>
        <p:nvSpPr>
          <p:cNvPr id="48" name="Google Shape;48;p5"/>
          <p:cNvSpPr/>
          <p:nvPr/>
        </p:nvSpPr>
        <p:spPr>
          <a:xfrm>
            <a:off x="5598934" y="2994059"/>
            <a:ext cx="994436" cy="870131"/>
          </a:xfrm>
          <a:custGeom>
            <a:avLst/>
            <a:gdLst/>
            <a:ahLst/>
            <a:cxnLst/>
            <a:rect l="l" t="t" r="r" b="b"/>
            <a:pathLst>
              <a:path w="1586865" h="1388506" extrusionOk="0">
                <a:moveTo>
                  <a:pt x="1083683" y="969931"/>
                </a:moveTo>
                <a:lnTo>
                  <a:pt x="1083683" y="579692"/>
                </a:lnTo>
                <a:lnTo>
                  <a:pt x="849297" y="969931"/>
                </a:lnTo>
                <a:lnTo>
                  <a:pt x="848892" y="969931"/>
                </a:lnTo>
                <a:cubicBezTo>
                  <a:pt x="848892" y="969931"/>
                  <a:pt x="848892" y="969931"/>
                  <a:pt x="848892" y="969931"/>
                </a:cubicBezTo>
                <a:lnTo>
                  <a:pt x="738783" y="969931"/>
                </a:lnTo>
                <a:lnTo>
                  <a:pt x="738783" y="577668"/>
                </a:lnTo>
                <a:lnTo>
                  <a:pt x="549735" y="892612"/>
                </a:lnTo>
                <a:cubicBezTo>
                  <a:pt x="527876" y="929449"/>
                  <a:pt x="510873" y="958191"/>
                  <a:pt x="503992" y="969931"/>
                </a:cubicBezTo>
                <a:lnTo>
                  <a:pt x="393073" y="969931"/>
                </a:lnTo>
                <a:lnTo>
                  <a:pt x="393073" y="418576"/>
                </a:lnTo>
                <a:lnTo>
                  <a:pt x="503992" y="418576"/>
                </a:lnTo>
                <a:lnTo>
                  <a:pt x="502777" y="760643"/>
                </a:lnTo>
                <a:lnTo>
                  <a:pt x="503587" y="782098"/>
                </a:lnTo>
                <a:lnTo>
                  <a:pt x="721781" y="418981"/>
                </a:lnTo>
                <a:lnTo>
                  <a:pt x="721781" y="418981"/>
                </a:lnTo>
                <a:lnTo>
                  <a:pt x="721781" y="418981"/>
                </a:lnTo>
                <a:lnTo>
                  <a:pt x="739188" y="418981"/>
                </a:lnTo>
                <a:lnTo>
                  <a:pt x="847678" y="418981"/>
                </a:lnTo>
                <a:cubicBezTo>
                  <a:pt x="847678" y="418981"/>
                  <a:pt x="848487" y="722995"/>
                  <a:pt x="848892" y="783717"/>
                </a:cubicBezTo>
                <a:lnTo>
                  <a:pt x="1067895" y="418981"/>
                </a:lnTo>
                <a:lnTo>
                  <a:pt x="1067895" y="418981"/>
                </a:lnTo>
                <a:lnTo>
                  <a:pt x="1067895" y="418981"/>
                </a:lnTo>
                <a:lnTo>
                  <a:pt x="1085302" y="418981"/>
                </a:lnTo>
                <a:lnTo>
                  <a:pt x="1193387" y="418981"/>
                </a:lnTo>
                <a:lnTo>
                  <a:pt x="1193387" y="970336"/>
                </a:lnTo>
                <a:lnTo>
                  <a:pt x="1083683" y="970336"/>
                </a:lnTo>
                <a:close/>
                <a:moveTo>
                  <a:pt x="1190149" y="0"/>
                </a:moveTo>
                <a:lnTo>
                  <a:pt x="396716" y="0"/>
                </a:lnTo>
                <a:lnTo>
                  <a:pt x="0" y="694253"/>
                </a:lnTo>
                <a:lnTo>
                  <a:pt x="396716" y="1388507"/>
                </a:lnTo>
                <a:lnTo>
                  <a:pt x="1190149" y="1388507"/>
                </a:lnTo>
                <a:lnTo>
                  <a:pt x="1586865" y="694253"/>
                </a:lnTo>
                <a:lnTo>
                  <a:pt x="1190149" y="0"/>
                </a:lnTo>
                <a:close/>
              </a:path>
            </a:pathLst>
          </a:custGeom>
          <a:solidFill>
            <a:schemeClr val="lt1"/>
          </a:solidFill>
          <a:ln>
            <a:noFill/>
          </a:ln>
        </p:spPr>
        <p:txBody>
          <a:bodyPr spcFirstLastPara="1" wrap="square" lIns="91433" tIns="45700" rIns="91433" bIns="45700"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49" name="Google Shape;49;p5"/>
          <p:cNvSpPr txBox="1"/>
          <p:nvPr/>
        </p:nvSpPr>
        <p:spPr>
          <a:xfrm>
            <a:off x="5451800" y="6245247"/>
            <a:ext cx="1288400" cy="273200"/>
          </a:xfrm>
          <a:prstGeom prst="rect">
            <a:avLst/>
          </a:prstGeom>
          <a:noFill/>
          <a:ln>
            <a:noFill/>
          </a:ln>
        </p:spPr>
        <p:txBody>
          <a:bodyPr spcFirstLastPara="1" wrap="square" lIns="0" tIns="0" rIns="0" bIns="0" anchor="b" anchorCtr="0">
            <a:noAutofit/>
          </a:bodyPr>
          <a:lstStyle/>
          <a:p>
            <a:pPr marL="0" lvl="0" indent="0" algn="ctr" rtl="0">
              <a:spcBef>
                <a:spcPts val="0"/>
              </a:spcBef>
              <a:spcAft>
                <a:spcPts val="0"/>
              </a:spcAft>
              <a:buNone/>
            </a:pPr>
            <a:r>
              <a:rPr lang="en-GB" sz="667">
                <a:solidFill>
                  <a:schemeClr val="lt1"/>
                </a:solidFill>
                <a:latin typeface="Inter"/>
                <a:ea typeface="Inter"/>
                <a:cs typeface="Inter"/>
                <a:sym typeface="Inter"/>
              </a:rPr>
              <a:t>Private and Confidential</a:t>
            </a:r>
            <a:endParaRPr sz="667">
              <a:solidFill>
                <a:schemeClr val="lt1"/>
              </a:solidFill>
              <a:latin typeface="Inter"/>
              <a:ea typeface="Inter"/>
              <a:cs typeface="Inter"/>
              <a:sym typeface="Inter"/>
            </a:endParaRPr>
          </a:p>
        </p:txBody>
      </p:sp>
    </p:spTree>
    <p:extLst>
      <p:ext uri="{BB962C8B-B14F-4D97-AF65-F5344CB8AC3E}">
        <p14:creationId xmlns:p14="http://schemas.microsoft.com/office/powerpoint/2010/main" val="174634042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Title Slide 1">
  <p:cSld name="Title Slide 1">
    <p:bg>
      <p:bgPr>
        <a:solidFill>
          <a:schemeClr val="dk2"/>
        </a:solidFill>
        <a:effectLst/>
      </p:bgPr>
    </p:bg>
    <p:spTree>
      <p:nvGrpSpPr>
        <p:cNvPr id="1" name="Shape 50"/>
        <p:cNvGrpSpPr/>
        <p:nvPr/>
      </p:nvGrpSpPr>
      <p:grpSpPr>
        <a:xfrm>
          <a:off x="0" y="0"/>
          <a:ext cx="0" cy="0"/>
          <a:chOff x="0" y="0"/>
          <a:chExt cx="0" cy="0"/>
        </a:xfrm>
      </p:grpSpPr>
      <p:grpSp>
        <p:nvGrpSpPr>
          <p:cNvPr id="51" name="Google Shape;51;p6"/>
          <p:cNvGrpSpPr/>
          <p:nvPr/>
        </p:nvGrpSpPr>
        <p:grpSpPr>
          <a:xfrm>
            <a:off x="481593" y="1804662"/>
            <a:ext cx="1937284" cy="324700"/>
            <a:chOff x="2455289" y="1451556"/>
            <a:chExt cx="2208151" cy="370100"/>
          </a:xfrm>
        </p:grpSpPr>
        <p:sp>
          <p:nvSpPr>
            <p:cNvPr id="52" name="Google Shape;52;p6"/>
            <p:cNvSpPr/>
            <p:nvPr/>
          </p:nvSpPr>
          <p:spPr>
            <a:xfrm>
              <a:off x="2876395" y="1554783"/>
              <a:ext cx="221938" cy="264747"/>
            </a:xfrm>
            <a:custGeom>
              <a:avLst/>
              <a:gdLst/>
              <a:ahLst/>
              <a:cxnLst/>
              <a:rect l="l" t="t" r="r" b="b"/>
              <a:pathLst>
                <a:path w="295917" h="352996" extrusionOk="0">
                  <a:moveTo>
                    <a:pt x="225076" y="193096"/>
                  </a:moveTo>
                  <a:cubicBezTo>
                    <a:pt x="225076" y="250174"/>
                    <a:pt x="194310" y="284988"/>
                    <a:pt x="148566" y="284988"/>
                  </a:cubicBezTo>
                  <a:cubicBezTo>
                    <a:pt x="101608" y="284988"/>
                    <a:pt x="70842" y="250174"/>
                    <a:pt x="70842" y="193096"/>
                  </a:cubicBezTo>
                  <a:lnTo>
                    <a:pt x="70842" y="0"/>
                  </a:lnTo>
                  <a:lnTo>
                    <a:pt x="0" y="0"/>
                  </a:lnTo>
                  <a:lnTo>
                    <a:pt x="0" y="191477"/>
                  </a:lnTo>
                  <a:cubicBezTo>
                    <a:pt x="0" y="289441"/>
                    <a:pt x="54245" y="352997"/>
                    <a:pt x="146542" y="352997"/>
                  </a:cubicBezTo>
                  <a:cubicBezTo>
                    <a:pt x="238030" y="352997"/>
                    <a:pt x="295918" y="288227"/>
                    <a:pt x="295918" y="191477"/>
                  </a:cubicBezTo>
                  <a:lnTo>
                    <a:pt x="295918" y="0"/>
                  </a:lnTo>
                  <a:lnTo>
                    <a:pt x="225076" y="0"/>
                  </a:lnTo>
                  <a:lnTo>
                    <a:pt x="225076" y="193096"/>
                  </a:lnTo>
                  <a:close/>
                </a:path>
              </a:pathLst>
            </a:custGeom>
            <a:solidFill>
              <a:srgbClr val="FFFFFF"/>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53" name="Google Shape;53;p6"/>
            <p:cNvSpPr/>
            <p:nvPr/>
          </p:nvSpPr>
          <p:spPr>
            <a:xfrm>
              <a:off x="3150858" y="1452164"/>
              <a:ext cx="52220" cy="364027"/>
            </a:xfrm>
            <a:custGeom>
              <a:avLst/>
              <a:gdLst/>
              <a:ahLst/>
              <a:cxnLst/>
              <a:rect l="l" t="t" r="r" b="b"/>
              <a:pathLst>
                <a:path w="69627" h="485370" extrusionOk="0">
                  <a:moveTo>
                    <a:pt x="0" y="0"/>
                  </a:moveTo>
                  <a:lnTo>
                    <a:pt x="69628" y="0"/>
                  </a:lnTo>
                  <a:lnTo>
                    <a:pt x="69628" y="485370"/>
                  </a:lnTo>
                  <a:lnTo>
                    <a:pt x="0" y="485370"/>
                  </a:lnTo>
                  <a:close/>
                </a:path>
              </a:pathLst>
            </a:custGeom>
            <a:solidFill>
              <a:srgbClr val="FFFFFF"/>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54" name="Google Shape;54;p6"/>
            <p:cNvSpPr/>
            <p:nvPr/>
          </p:nvSpPr>
          <p:spPr>
            <a:xfrm>
              <a:off x="3440501" y="1555087"/>
              <a:ext cx="52220" cy="260800"/>
            </a:xfrm>
            <a:custGeom>
              <a:avLst/>
              <a:gdLst/>
              <a:ahLst/>
              <a:cxnLst/>
              <a:rect l="l" t="t" r="r" b="b"/>
              <a:pathLst>
                <a:path w="69627" h="347733" extrusionOk="0">
                  <a:moveTo>
                    <a:pt x="0" y="0"/>
                  </a:moveTo>
                  <a:lnTo>
                    <a:pt x="69627" y="0"/>
                  </a:lnTo>
                  <a:lnTo>
                    <a:pt x="69627" y="347734"/>
                  </a:lnTo>
                  <a:lnTo>
                    <a:pt x="0" y="347734"/>
                  </a:lnTo>
                  <a:close/>
                </a:path>
              </a:pathLst>
            </a:custGeom>
            <a:solidFill>
              <a:srgbClr val="FFFFFF"/>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55" name="Google Shape;55;p6"/>
            <p:cNvSpPr/>
            <p:nvPr/>
          </p:nvSpPr>
          <p:spPr>
            <a:xfrm>
              <a:off x="3517618" y="1555087"/>
              <a:ext cx="257764" cy="261104"/>
            </a:xfrm>
            <a:custGeom>
              <a:avLst/>
              <a:gdLst/>
              <a:ahLst/>
              <a:cxnLst/>
              <a:rect l="l" t="t" r="r" b="b"/>
              <a:pathLst>
                <a:path w="343685" h="348138" extrusionOk="0">
                  <a:moveTo>
                    <a:pt x="269200" y="0"/>
                  </a:moveTo>
                  <a:lnTo>
                    <a:pt x="172045" y="255842"/>
                  </a:lnTo>
                  <a:lnTo>
                    <a:pt x="74081" y="0"/>
                  </a:lnTo>
                  <a:lnTo>
                    <a:pt x="0" y="0"/>
                  </a:lnTo>
                  <a:lnTo>
                    <a:pt x="136422" y="348139"/>
                  </a:lnTo>
                  <a:lnTo>
                    <a:pt x="207264" y="348139"/>
                  </a:lnTo>
                  <a:lnTo>
                    <a:pt x="343686" y="0"/>
                  </a:lnTo>
                  <a:close/>
                </a:path>
              </a:pathLst>
            </a:custGeom>
            <a:solidFill>
              <a:srgbClr val="FFFFFF"/>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56" name="Google Shape;56;p6"/>
            <p:cNvSpPr/>
            <p:nvPr/>
          </p:nvSpPr>
          <p:spPr>
            <a:xfrm>
              <a:off x="4209848" y="1549621"/>
              <a:ext cx="188541" cy="272034"/>
            </a:xfrm>
            <a:custGeom>
              <a:avLst/>
              <a:gdLst/>
              <a:ahLst/>
              <a:cxnLst/>
              <a:rect l="l" t="t" r="r" b="b"/>
              <a:pathLst>
                <a:path w="251388" h="362712" extrusionOk="0">
                  <a:moveTo>
                    <a:pt x="150591" y="148971"/>
                  </a:moveTo>
                  <a:lnTo>
                    <a:pt x="109704" y="139660"/>
                  </a:lnTo>
                  <a:cubicBezTo>
                    <a:pt x="84606" y="133588"/>
                    <a:pt x="72057" y="120229"/>
                    <a:pt x="72057" y="102013"/>
                  </a:cubicBezTo>
                  <a:cubicBezTo>
                    <a:pt x="72057" y="76915"/>
                    <a:pt x="95131" y="61531"/>
                    <a:pt x="126302" y="62341"/>
                  </a:cubicBezTo>
                  <a:cubicBezTo>
                    <a:pt x="145328" y="62341"/>
                    <a:pt x="164759" y="68413"/>
                    <a:pt x="183380" y="77724"/>
                  </a:cubicBezTo>
                  <a:cubicBezTo>
                    <a:pt x="206454" y="88654"/>
                    <a:pt x="225886" y="104037"/>
                    <a:pt x="233577" y="111324"/>
                  </a:cubicBezTo>
                  <a:lnTo>
                    <a:pt x="233577" y="38457"/>
                  </a:lnTo>
                  <a:cubicBezTo>
                    <a:pt x="221837" y="29551"/>
                    <a:pt x="178522" y="0"/>
                    <a:pt x="123063" y="0"/>
                  </a:cubicBezTo>
                  <a:cubicBezTo>
                    <a:pt x="46149" y="0"/>
                    <a:pt x="0" y="51411"/>
                    <a:pt x="0" y="107680"/>
                  </a:cubicBezTo>
                  <a:cubicBezTo>
                    <a:pt x="0" y="161115"/>
                    <a:pt x="37648" y="187428"/>
                    <a:pt x="87439" y="199573"/>
                  </a:cubicBezTo>
                  <a:lnTo>
                    <a:pt x="127111" y="208883"/>
                  </a:lnTo>
                  <a:cubicBezTo>
                    <a:pt x="162330" y="216980"/>
                    <a:pt x="179332" y="229934"/>
                    <a:pt x="179332" y="254222"/>
                  </a:cubicBezTo>
                  <a:cubicBezTo>
                    <a:pt x="179332" y="278511"/>
                    <a:pt x="158687" y="301585"/>
                    <a:pt x="121039" y="301585"/>
                  </a:cubicBezTo>
                  <a:cubicBezTo>
                    <a:pt x="97155" y="301585"/>
                    <a:pt x="73271" y="293489"/>
                    <a:pt x="54245" y="282559"/>
                  </a:cubicBezTo>
                  <a:cubicBezTo>
                    <a:pt x="31171" y="270415"/>
                    <a:pt x="13764" y="255437"/>
                    <a:pt x="9311" y="250984"/>
                  </a:cubicBezTo>
                  <a:lnTo>
                    <a:pt x="8096" y="325065"/>
                  </a:lnTo>
                  <a:cubicBezTo>
                    <a:pt x="12549" y="329922"/>
                    <a:pt x="52626" y="362712"/>
                    <a:pt x="123468" y="362712"/>
                  </a:cubicBezTo>
                  <a:cubicBezTo>
                    <a:pt x="202406" y="362712"/>
                    <a:pt x="251388" y="307253"/>
                    <a:pt x="251388" y="250984"/>
                  </a:cubicBezTo>
                  <a:cubicBezTo>
                    <a:pt x="250579" y="201597"/>
                    <a:pt x="216979" y="163949"/>
                    <a:pt x="150591" y="148971"/>
                  </a:cubicBezTo>
                  <a:close/>
                </a:path>
              </a:pathLst>
            </a:custGeom>
            <a:solidFill>
              <a:srgbClr val="FFFFFF"/>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57" name="Google Shape;57;p6"/>
            <p:cNvSpPr/>
            <p:nvPr/>
          </p:nvSpPr>
          <p:spPr>
            <a:xfrm>
              <a:off x="3775382" y="1552051"/>
              <a:ext cx="242584" cy="267176"/>
            </a:xfrm>
            <a:custGeom>
              <a:avLst/>
              <a:gdLst/>
              <a:ahLst/>
              <a:cxnLst/>
              <a:rect l="l" t="t" r="r" b="b"/>
              <a:pathLst>
                <a:path w="323445" h="356235" extrusionOk="0">
                  <a:moveTo>
                    <a:pt x="70842" y="150995"/>
                  </a:moveTo>
                  <a:cubicBezTo>
                    <a:pt x="79343" y="101203"/>
                    <a:pt x="112538" y="64770"/>
                    <a:pt x="164758" y="64770"/>
                  </a:cubicBezTo>
                  <a:cubicBezTo>
                    <a:pt x="216575" y="64770"/>
                    <a:pt x="247340" y="101203"/>
                    <a:pt x="255437" y="150995"/>
                  </a:cubicBezTo>
                  <a:lnTo>
                    <a:pt x="70842" y="150995"/>
                  </a:lnTo>
                  <a:close/>
                  <a:moveTo>
                    <a:pt x="164758" y="0"/>
                  </a:moveTo>
                  <a:cubicBezTo>
                    <a:pt x="70842" y="0"/>
                    <a:pt x="0" y="79748"/>
                    <a:pt x="0" y="178118"/>
                  </a:cubicBezTo>
                  <a:cubicBezTo>
                    <a:pt x="0" y="276487"/>
                    <a:pt x="76914" y="356235"/>
                    <a:pt x="180546" y="356235"/>
                  </a:cubicBezTo>
                  <a:cubicBezTo>
                    <a:pt x="259889" y="356235"/>
                    <a:pt x="303609" y="317778"/>
                    <a:pt x="303609" y="317778"/>
                  </a:cubicBezTo>
                  <a:lnTo>
                    <a:pt x="303609" y="246936"/>
                  </a:lnTo>
                  <a:cubicBezTo>
                    <a:pt x="303609" y="246936"/>
                    <a:pt x="255437" y="290655"/>
                    <a:pt x="185809" y="290655"/>
                  </a:cubicBezTo>
                  <a:cubicBezTo>
                    <a:pt x="123063" y="290655"/>
                    <a:pt x="81772" y="255032"/>
                    <a:pt x="71247" y="204835"/>
                  </a:cubicBezTo>
                  <a:lnTo>
                    <a:pt x="322231" y="204835"/>
                  </a:lnTo>
                  <a:cubicBezTo>
                    <a:pt x="323041" y="195929"/>
                    <a:pt x="323445" y="186618"/>
                    <a:pt x="323445" y="177713"/>
                  </a:cubicBezTo>
                  <a:cubicBezTo>
                    <a:pt x="323445" y="79748"/>
                    <a:pt x="256247" y="0"/>
                    <a:pt x="164758" y="0"/>
                  </a:cubicBezTo>
                  <a:close/>
                </a:path>
              </a:pathLst>
            </a:custGeom>
            <a:solidFill>
              <a:srgbClr val="FFFFFF"/>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58" name="Google Shape;58;p6"/>
            <p:cNvSpPr/>
            <p:nvPr/>
          </p:nvSpPr>
          <p:spPr>
            <a:xfrm>
              <a:off x="3429268" y="1451556"/>
              <a:ext cx="74687" cy="65883"/>
            </a:xfrm>
            <a:custGeom>
              <a:avLst/>
              <a:gdLst/>
              <a:ahLst/>
              <a:cxnLst/>
              <a:rect l="l" t="t" r="r" b="b"/>
              <a:pathLst>
                <a:path w="99583" h="87844" extrusionOk="0">
                  <a:moveTo>
                    <a:pt x="24693" y="0"/>
                  </a:moveTo>
                  <a:lnTo>
                    <a:pt x="0" y="43720"/>
                  </a:lnTo>
                  <a:lnTo>
                    <a:pt x="24693" y="87844"/>
                  </a:lnTo>
                  <a:lnTo>
                    <a:pt x="74890" y="87844"/>
                  </a:lnTo>
                  <a:lnTo>
                    <a:pt x="99584" y="43720"/>
                  </a:lnTo>
                  <a:lnTo>
                    <a:pt x="74890" y="0"/>
                  </a:lnTo>
                  <a:close/>
                </a:path>
              </a:pathLst>
            </a:custGeom>
            <a:solidFill>
              <a:srgbClr val="FFFFFF"/>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59" name="Google Shape;59;p6"/>
            <p:cNvSpPr/>
            <p:nvPr/>
          </p:nvSpPr>
          <p:spPr>
            <a:xfrm>
              <a:off x="2455288" y="1554783"/>
              <a:ext cx="375868" cy="261103"/>
            </a:xfrm>
            <a:custGeom>
              <a:avLst/>
              <a:gdLst/>
              <a:ahLst/>
              <a:cxnLst/>
              <a:rect l="l" t="t" r="r" b="b"/>
              <a:pathLst>
                <a:path w="501157" h="348138" extrusionOk="0">
                  <a:moveTo>
                    <a:pt x="433149" y="405"/>
                  </a:moveTo>
                  <a:lnTo>
                    <a:pt x="422219" y="405"/>
                  </a:lnTo>
                  <a:lnTo>
                    <a:pt x="422219" y="405"/>
                  </a:lnTo>
                  <a:lnTo>
                    <a:pt x="422219" y="405"/>
                  </a:lnTo>
                  <a:lnTo>
                    <a:pt x="284988" y="230338"/>
                  </a:lnTo>
                  <a:cubicBezTo>
                    <a:pt x="284988" y="192286"/>
                    <a:pt x="284178" y="405"/>
                    <a:pt x="284178" y="405"/>
                  </a:cubicBezTo>
                  <a:lnTo>
                    <a:pt x="216575" y="405"/>
                  </a:lnTo>
                  <a:lnTo>
                    <a:pt x="205645" y="405"/>
                  </a:lnTo>
                  <a:lnTo>
                    <a:pt x="205645" y="405"/>
                  </a:lnTo>
                  <a:lnTo>
                    <a:pt x="205645" y="405"/>
                  </a:lnTo>
                  <a:lnTo>
                    <a:pt x="69223" y="229529"/>
                  </a:lnTo>
                  <a:lnTo>
                    <a:pt x="68818" y="216170"/>
                  </a:lnTo>
                  <a:lnTo>
                    <a:pt x="69628" y="405"/>
                  </a:lnTo>
                  <a:lnTo>
                    <a:pt x="0" y="405"/>
                  </a:lnTo>
                  <a:lnTo>
                    <a:pt x="0" y="348139"/>
                  </a:lnTo>
                  <a:lnTo>
                    <a:pt x="69628" y="348139"/>
                  </a:lnTo>
                  <a:cubicBezTo>
                    <a:pt x="74081" y="340852"/>
                    <a:pt x="84606" y="322636"/>
                    <a:pt x="98369" y="299157"/>
                  </a:cubicBezTo>
                  <a:lnTo>
                    <a:pt x="216575" y="100394"/>
                  </a:lnTo>
                  <a:lnTo>
                    <a:pt x="216575" y="347734"/>
                  </a:lnTo>
                  <a:lnTo>
                    <a:pt x="285393" y="347734"/>
                  </a:lnTo>
                  <a:cubicBezTo>
                    <a:pt x="285393" y="347734"/>
                    <a:pt x="285393" y="347734"/>
                    <a:pt x="285393" y="347734"/>
                  </a:cubicBezTo>
                  <a:lnTo>
                    <a:pt x="285393" y="347734"/>
                  </a:lnTo>
                  <a:lnTo>
                    <a:pt x="432340" y="101608"/>
                  </a:lnTo>
                  <a:lnTo>
                    <a:pt x="432340" y="347734"/>
                  </a:lnTo>
                  <a:lnTo>
                    <a:pt x="501158" y="347734"/>
                  </a:lnTo>
                  <a:lnTo>
                    <a:pt x="501158" y="0"/>
                  </a:lnTo>
                  <a:lnTo>
                    <a:pt x="433149" y="0"/>
                  </a:lnTo>
                  <a:close/>
                </a:path>
              </a:pathLst>
            </a:custGeom>
            <a:solidFill>
              <a:srgbClr val="FFFFFF"/>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60" name="Google Shape;60;p6"/>
            <p:cNvSpPr/>
            <p:nvPr/>
          </p:nvSpPr>
          <p:spPr>
            <a:xfrm>
              <a:off x="4428749" y="1553569"/>
              <a:ext cx="234690" cy="263229"/>
            </a:xfrm>
            <a:custGeom>
              <a:avLst/>
              <a:gdLst/>
              <a:ahLst/>
              <a:cxnLst/>
              <a:rect l="l" t="t" r="r" b="b"/>
              <a:pathLst>
                <a:path w="312920" h="350972" extrusionOk="0">
                  <a:moveTo>
                    <a:pt x="68009" y="136017"/>
                  </a:moveTo>
                  <a:cubicBezTo>
                    <a:pt x="72057" y="123468"/>
                    <a:pt x="78129" y="112538"/>
                    <a:pt x="85821" y="103227"/>
                  </a:cubicBezTo>
                  <a:cubicBezTo>
                    <a:pt x="97155" y="89059"/>
                    <a:pt x="110514" y="78533"/>
                    <a:pt x="125492" y="71247"/>
                  </a:cubicBezTo>
                  <a:cubicBezTo>
                    <a:pt x="140470" y="63960"/>
                    <a:pt x="155853" y="60317"/>
                    <a:pt x="171236" y="60317"/>
                  </a:cubicBezTo>
                  <a:cubicBezTo>
                    <a:pt x="194310" y="60317"/>
                    <a:pt x="212932" y="65580"/>
                    <a:pt x="226290" y="75700"/>
                  </a:cubicBezTo>
                  <a:cubicBezTo>
                    <a:pt x="238435" y="84606"/>
                    <a:pt x="244102" y="95941"/>
                    <a:pt x="244102" y="110918"/>
                  </a:cubicBezTo>
                  <a:cubicBezTo>
                    <a:pt x="244102" y="119420"/>
                    <a:pt x="242078" y="130350"/>
                    <a:pt x="225481" y="140065"/>
                  </a:cubicBezTo>
                  <a:cubicBezTo>
                    <a:pt x="209693" y="149376"/>
                    <a:pt x="190667" y="153829"/>
                    <a:pt x="169212" y="153829"/>
                  </a:cubicBezTo>
                  <a:cubicBezTo>
                    <a:pt x="139256" y="153424"/>
                    <a:pt x="104847" y="147757"/>
                    <a:pt x="68009" y="136017"/>
                  </a:cubicBezTo>
                  <a:close/>
                  <a:moveTo>
                    <a:pt x="277297" y="238030"/>
                  </a:moveTo>
                  <a:lnTo>
                    <a:pt x="261509" y="252603"/>
                  </a:lnTo>
                  <a:cubicBezTo>
                    <a:pt x="247746" y="265152"/>
                    <a:pt x="232767" y="274868"/>
                    <a:pt x="217789" y="281749"/>
                  </a:cubicBezTo>
                  <a:cubicBezTo>
                    <a:pt x="203216" y="288227"/>
                    <a:pt x="185809" y="291465"/>
                    <a:pt x="165164" y="291465"/>
                  </a:cubicBezTo>
                  <a:cubicBezTo>
                    <a:pt x="146542" y="291465"/>
                    <a:pt x="129540" y="287012"/>
                    <a:pt x="113348" y="278106"/>
                  </a:cubicBezTo>
                  <a:cubicBezTo>
                    <a:pt x="97155" y="269200"/>
                    <a:pt x="84606" y="257056"/>
                    <a:pt x="74890" y="240458"/>
                  </a:cubicBezTo>
                  <a:cubicBezTo>
                    <a:pt x="66389" y="226290"/>
                    <a:pt x="61937" y="211312"/>
                    <a:pt x="60722" y="193905"/>
                  </a:cubicBezTo>
                  <a:cubicBezTo>
                    <a:pt x="75700" y="198763"/>
                    <a:pt x="89869" y="202406"/>
                    <a:pt x="103227" y="205645"/>
                  </a:cubicBezTo>
                  <a:cubicBezTo>
                    <a:pt x="124682" y="210907"/>
                    <a:pt x="147352" y="213336"/>
                    <a:pt x="170021" y="213336"/>
                  </a:cubicBezTo>
                  <a:cubicBezTo>
                    <a:pt x="191881" y="213336"/>
                    <a:pt x="212932" y="209693"/>
                    <a:pt x="232767" y="202406"/>
                  </a:cubicBezTo>
                  <a:cubicBezTo>
                    <a:pt x="253413" y="194715"/>
                    <a:pt x="270415" y="183380"/>
                    <a:pt x="283774" y="168807"/>
                  </a:cubicBezTo>
                  <a:cubicBezTo>
                    <a:pt x="297942" y="152614"/>
                    <a:pt x="305229" y="133183"/>
                    <a:pt x="305229" y="110514"/>
                  </a:cubicBezTo>
                  <a:cubicBezTo>
                    <a:pt x="305229" y="89059"/>
                    <a:pt x="299157" y="69628"/>
                    <a:pt x="286607" y="52221"/>
                  </a:cubicBezTo>
                  <a:cubicBezTo>
                    <a:pt x="274868" y="35623"/>
                    <a:pt x="258271" y="22265"/>
                    <a:pt x="237625" y="13359"/>
                  </a:cubicBezTo>
                  <a:cubicBezTo>
                    <a:pt x="217789" y="4453"/>
                    <a:pt x="195525" y="0"/>
                    <a:pt x="172045" y="0"/>
                  </a:cubicBezTo>
                  <a:cubicBezTo>
                    <a:pt x="143708" y="0"/>
                    <a:pt x="116181" y="7287"/>
                    <a:pt x="90273" y="21455"/>
                  </a:cubicBezTo>
                  <a:cubicBezTo>
                    <a:pt x="63961" y="36028"/>
                    <a:pt x="42101" y="57078"/>
                    <a:pt x="25503" y="85011"/>
                  </a:cubicBezTo>
                  <a:cubicBezTo>
                    <a:pt x="8501" y="112943"/>
                    <a:pt x="0" y="146542"/>
                    <a:pt x="0" y="184999"/>
                  </a:cubicBezTo>
                  <a:cubicBezTo>
                    <a:pt x="0" y="219408"/>
                    <a:pt x="8096" y="249769"/>
                    <a:pt x="24289" y="274868"/>
                  </a:cubicBezTo>
                  <a:cubicBezTo>
                    <a:pt x="40481" y="299966"/>
                    <a:pt x="61532" y="319397"/>
                    <a:pt x="87845" y="331946"/>
                  </a:cubicBezTo>
                  <a:cubicBezTo>
                    <a:pt x="113348" y="344495"/>
                    <a:pt x="140470" y="350973"/>
                    <a:pt x="168807" y="350973"/>
                  </a:cubicBezTo>
                  <a:cubicBezTo>
                    <a:pt x="195525" y="350973"/>
                    <a:pt x="219409" y="346115"/>
                    <a:pt x="240459" y="336399"/>
                  </a:cubicBezTo>
                  <a:cubicBezTo>
                    <a:pt x="260699" y="327088"/>
                    <a:pt x="280131" y="313730"/>
                    <a:pt x="298752" y="297132"/>
                  </a:cubicBezTo>
                  <a:lnTo>
                    <a:pt x="312920" y="284583"/>
                  </a:lnTo>
                  <a:lnTo>
                    <a:pt x="277297" y="238030"/>
                  </a:lnTo>
                  <a:close/>
                </a:path>
              </a:pathLst>
            </a:custGeom>
            <a:solidFill>
              <a:srgbClr val="FFFFFF"/>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61" name="Google Shape;61;p6"/>
            <p:cNvSpPr/>
            <p:nvPr/>
          </p:nvSpPr>
          <p:spPr>
            <a:xfrm>
              <a:off x="3227064" y="1481006"/>
              <a:ext cx="183683" cy="334577"/>
            </a:xfrm>
            <a:custGeom>
              <a:avLst/>
              <a:gdLst/>
              <a:ahLst/>
              <a:cxnLst/>
              <a:rect l="l" t="t" r="r" b="b"/>
              <a:pathLst>
                <a:path w="244911" h="446103" extrusionOk="0">
                  <a:moveTo>
                    <a:pt x="156662" y="0"/>
                  </a:moveTo>
                  <a:lnTo>
                    <a:pt x="87844" y="0"/>
                  </a:lnTo>
                  <a:lnTo>
                    <a:pt x="87844" y="98369"/>
                  </a:lnTo>
                  <a:lnTo>
                    <a:pt x="0" y="98369"/>
                  </a:lnTo>
                  <a:lnTo>
                    <a:pt x="0" y="159496"/>
                  </a:lnTo>
                  <a:lnTo>
                    <a:pt x="87844" y="159496"/>
                  </a:lnTo>
                  <a:lnTo>
                    <a:pt x="87844" y="446103"/>
                  </a:lnTo>
                  <a:lnTo>
                    <a:pt x="156662" y="446103"/>
                  </a:lnTo>
                  <a:lnTo>
                    <a:pt x="156662" y="159496"/>
                  </a:lnTo>
                  <a:lnTo>
                    <a:pt x="244912" y="159496"/>
                  </a:lnTo>
                  <a:lnTo>
                    <a:pt x="244912" y="98369"/>
                  </a:lnTo>
                  <a:lnTo>
                    <a:pt x="156662" y="98369"/>
                  </a:lnTo>
                  <a:close/>
                </a:path>
              </a:pathLst>
            </a:custGeom>
            <a:solidFill>
              <a:srgbClr val="FFFFFF"/>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62" name="Google Shape;62;p6"/>
            <p:cNvSpPr/>
            <p:nvPr/>
          </p:nvSpPr>
          <p:spPr>
            <a:xfrm>
              <a:off x="4047416" y="1554480"/>
              <a:ext cx="140875" cy="261104"/>
            </a:xfrm>
            <a:custGeom>
              <a:avLst/>
              <a:gdLst/>
              <a:ahLst/>
              <a:cxnLst/>
              <a:rect l="l" t="t" r="r" b="b"/>
              <a:pathLst>
                <a:path w="187833" h="348138" extrusionOk="0">
                  <a:moveTo>
                    <a:pt x="4048" y="405"/>
                  </a:moveTo>
                  <a:lnTo>
                    <a:pt x="0" y="405"/>
                  </a:lnTo>
                  <a:lnTo>
                    <a:pt x="0" y="348139"/>
                  </a:lnTo>
                  <a:lnTo>
                    <a:pt x="69628" y="348139"/>
                  </a:lnTo>
                  <a:lnTo>
                    <a:pt x="69628" y="61127"/>
                  </a:lnTo>
                  <a:lnTo>
                    <a:pt x="187833" y="61127"/>
                  </a:lnTo>
                  <a:lnTo>
                    <a:pt x="187833" y="0"/>
                  </a:lnTo>
                  <a:lnTo>
                    <a:pt x="4048" y="0"/>
                  </a:lnTo>
                  <a:close/>
                </a:path>
              </a:pathLst>
            </a:custGeom>
            <a:solidFill>
              <a:srgbClr val="FFFFFF"/>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grpSp>
      <p:sp>
        <p:nvSpPr>
          <p:cNvPr id="63" name="Google Shape;63;p6"/>
          <p:cNvSpPr txBox="1">
            <a:spLocks noGrp="1"/>
          </p:cNvSpPr>
          <p:nvPr>
            <p:ph type="title"/>
          </p:nvPr>
        </p:nvSpPr>
        <p:spPr>
          <a:xfrm>
            <a:off x="481600" y="2309467"/>
            <a:ext cx="9514800" cy="1815600"/>
          </a:xfrm>
          <a:prstGeom prst="rect">
            <a:avLst/>
          </a:prstGeom>
        </p:spPr>
        <p:txBody>
          <a:bodyPr spcFirstLastPara="1" wrap="square" lIns="0" tIns="91425" rIns="91425" bIns="91425" anchor="t" anchorCtr="0">
            <a:noAutofit/>
          </a:bodyPr>
          <a:lstStyle>
            <a:lvl1pPr lvl="0" rtl="0">
              <a:lnSpc>
                <a:spcPct val="85000"/>
              </a:lnSpc>
              <a:spcBef>
                <a:spcPts val="0"/>
              </a:spcBef>
              <a:spcAft>
                <a:spcPts val="0"/>
              </a:spcAft>
              <a:buClr>
                <a:schemeClr val="lt1"/>
              </a:buClr>
              <a:buSzPts val="4600"/>
              <a:buFont typeface="Inter Medium"/>
              <a:buNone/>
              <a:defRPr sz="6133">
                <a:solidFill>
                  <a:schemeClr val="lt1"/>
                </a:solidFill>
                <a:latin typeface="Inter Medium"/>
                <a:ea typeface="Inter Medium"/>
                <a:cs typeface="Inter Medium"/>
                <a:sym typeface="Inter Medium"/>
              </a:defRPr>
            </a:lvl1pPr>
            <a:lvl2pPr lvl="1" rtl="0">
              <a:spcBef>
                <a:spcPts val="0"/>
              </a:spcBef>
              <a:spcAft>
                <a:spcPts val="0"/>
              </a:spcAft>
              <a:buSzPts val="1100"/>
              <a:buNone/>
              <a:defRPr/>
            </a:lvl2pPr>
            <a:lvl3pPr lvl="2" rtl="0">
              <a:spcBef>
                <a:spcPts val="0"/>
              </a:spcBef>
              <a:spcAft>
                <a:spcPts val="0"/>
              </a:spcAft>
              <a:buSzPts val="1100"/>
              <a:buNone/>
              <a:defRPr/>
            </a:lvl3pPr>
            <a:lvl4pPr lvl="3" rtl="0">
              <a:spcBef>
                <a:spcPts val="0"/>
              </a:spcBef>
              <a:spcAft>
                <a:spcPts val="0"/>
              </a:spcAft>
              <a:buSzPts val="1100"/>
              <a:buNone/>
              <a:defRPr/>
            </a:lvl4pPr>
            <a:lvl5pPr lvl="4" rtl="0">
              <a:spcBef>
                <a:spcPts val="0"/>
              </a:spcBef>
              <a:spcAft>
                <a:spcPts val="0"/>
              </a:spcAft>
              <a:buSzPts val="1100"/>
              <a:buNone/>
              <a:defRPr/>
            </a:lvl5pPr>
            <a:lvl6pPr lvl="5" rtl="0">
              <a:spcBef>
                <a:spcPts val="0"/>
              </a:spcBef>
              <a:spcAft>
                <a:spcPts val="0"/>
              </a:spcAft>
              <a:buSzPts val="1100"/>
              <a:buNone/>
              <a:defRPr/>
            </a:lvl6pPr>
            <a:lvl7pPr lvl="6" rtl="0">
              <a:spcBef>
                <a:spcPts val="0"/>
              </a:spcBef>
              <a:spcAft>
                <a:spcPts val="0"/>
              </a:spcAft>
              <a:buSzPts val="1100"/>
              <a:buNone/>
              <a:defRPr/>
            </a:lvl7pPr>
            <a:lvl8pPr lvl="7" rtl="0">
              <a:spcBef>
                <a:spcPts val="0"/>
              </a:spcBef>
              <a:spcAft>
                <a:spcPts val="0"/>
              </a:spcAft>
              <a:buSzPts val="1100"/>
              <a:buNone/>
              <a:defRPr/>
            </a:lvl8pPr>
            <a:lvl9pPr lvl="8" rtl="0">
              <a:spcBef>
                <a:spcPts val="0"/>
              </a:spcBef>
              <a:spcAft>
                <a:spcPts val="0"/>
              </a:spcAft>
              <a:buSzPts val="1100"/>
              <a:buNone/>
              <a:defRPr/>
            </a:lvl9pPr>
          </a:lstStyle>
          <a:p>
            <a:endParaRPr/>
          </a:p>
        </p:txBody>
      </p:sp>
      <p:sp>
        <p:nvSpPr>
          <p:cNvPr id="64" name="Google Shape;64;p6"/>
          <p:cNvSpPr txBox="1"/>
          <p:nvPr/>
        </p:nvSpPr>
        <p:spPr>
          <a:xfrm>
            <a:off x="5451800" y="6245247"/>
            <a:ext cx="1288400" cy="273200"/>
          </a:xfrm>
          <a:prstGeom prst="rect">
            <a:avLst/>
          </a:prstGeom>
          <a:noFill/>
          <a:ln>
            <a:noFill/>
          </a:ln>
        </p:spPr>
        <p:txBody>
          <a:bodyPr spcFirstLastPara="1" wrap="square" lIns="0" tIns="0" rIns="0" bIns="0" anchor="b" anchorCtr="0">
            <a:noAutofit/>
          </a:bodyPr>
          <a:lstStyle/>
          <a:p>
            <a:pPr marL="0" lvl="0" indent="0" algn="ctr" rtl="0">
              <a:spcBef>
                <a:spcPts val="0"/>
              </a:spcBef>
              <a:spcAft>
                <a:spcPts val="0"/>
              </a:spcAft>
              <a:buNone/>
            </a:pPr>
            <a:r>
              <a:rPr lang="en-GB" sz="667">
                <a:solidFill>
                  <a:schemeClr val="lt1"/>
                </a:solidFill>
                <a:latin typeface="Inter"/>
                <a:ea typeface="Inter"/>
                <a:cs typeface="Inter"/>
                <a:sym typeface="Inter"/>
              </a:rPr>
              <a:t>Private and Confidential</a:t>
            </a:r>
            <a:endParaRPr sz="667">
              <a:solidFill>
                <a:schemeClr val="lt1"/>
              </a:solidFill>
              <a:latin typeface="Inter"/>
              <a:ea typeface="Inter"/>
              <a:cs typeface="Inter"/>
              <a:sym typeface="Inter"/>
            </a:endParaRPr>
          </a:p>
        </p:txBody>
      </p:sp>
      <p:sp>
        <p:nvSpPr>
          <p:cNvPr id="65" name="Google Shape;65;p6"/>
          <p:cNvSpPr txBox="1">
            <a:spLocks noGrp="1"/>
          </p:cNvSpPr>
          <p:nvPr>
            <p:ph type="title" idx="2"/>
          </p:nvPr>
        </p:nvSpPr>
        <p:spPr>
          <a:xfrm>
            <a:off x="481600" y="4125200"/>
            <a:ext cx="4046800" cy="869200"/>
          </a:xfrm>
          <a:prstGeom prst="rect">
            <a:avLst/>
          </a:prstGeom>
        </p:spPr>
        <p:txBody>
          <a:bodyPr spcFirstLastPara="1" wrap="square" lIns="0" tIns="91425" rIns="91425" bIns="91425" anchor="t" anchorCtr="0">
            <a:noAutofit/>
          </a:bodyPr>
          <a:lstStyle>
            <a:lvl1pPr lvl="0" rtl="0">
              <a:lnSpc>
                <a:spcPct val="75000"/>
              </a:lnSpc>
              <a:spcBef>
                <a:spcPts val="0"/>
              </a:spcBef>
              <a:spcAft>
                <a:spcPts val="0"/>
              </a:spcAft>
              <a:buClr>
                <a:schemeClr val="lt1"/>
              </a:buClr>
              <a:buSzPts val="1200"/>
              <a:buFont typeface="Inter Medium"/>
              <a:buNone/>
              <a:defRPr sz="1600">
                <a:solidFill>
                  <a:schemeClr val="lt1"/>
                </a:solidFill>
                <a:latin typeface="Inter Medium"/>
                <a:ea typeface="Inter Medium"/>
                <a:cs typeface="Inter Medium"/>
                <a:sym typeface="Inter Medium"/>
              </a:defRPr>
            </a:lvl1pPr>
            <a:lvl2pPr lvl="1" rtl="0">
              <a:lnSpc>
                <a:spcPct val="75000"/>
              </a:lnSpc>
              <a:spcBef>
                <a:spcPts val="0"/>
              </a:spcBef>
              <a:spcAft>
                <a:spcPts val="0"/>
              </a:spcAft>
              <a:buClr>
                <a:schemeClr val="accent5"/>
              </a:buClr>
              <a:buSzPts val="1400"/>
              <a:buNone/>
              <a:defRPr>
                <a:solidFill>
                  <a:schemeClr val="accent5"/>
                </a:solidFill>
              </a:defRPr>
            </a:lvl2pPr>
            <a:lvl3pPr lvl="2" rtl="0">
              <a:lnSpc>
                <a:spcPct val="75000"/>
              </a:lnSpc>
              <a:spcBef>
                <a:spcPts val="0"/>
              </a:spcBef>
              <a:spcAft>
                <a:spcPts val="0"/>
              </a:spcAft>
              <a:buClr>
                <a:schemeClr val="accent5"/>
              </a:buClr>
              <a:buSzPts val="1400"/>
              <a:buNone/>
              <a:defRPr>
                <a:solidFill>
                  <a:schemeClr val="accent5"/>
                </a:solidFill>
              </a:defRPr>
            </a:lvl3pPr>
            <a:lvl4pPr lvl="3" rtl="0">
              <a:lnSpc>
                <a:spcPct val="75000"/>
              </a:lnSpc>
              <a:spcBef>
                <a:spcPts val="0"/>
              </a:spcBef>
              <a:spcAft>
                <a:spcPts val="0"/>
              </a:spcAft>
              <a:buClr>
                <a:schemeClr val="accent5"/>
              </a:buClr>
              <a:buSzPts val="1400"/>
              <a:buNone/>
              <a:defRPr>
                <a:solidFill>
                  <a:schemeClr val="accent5"/>
                </a:solidFill>
              </a:defRPr>
            </a:lvl4pPr>
            <a:lvl5pPr lvl="4" rtl="0">
              <a:lnSpc>
                <a:spcPct val="75000"/>
              </a:lnSpc>
              <a:spcBef>
                <a:spcPts val="0"/>
              </a:spcBef>
              <a:spcAft>
                <a:spcPts val="0"/>
              </a:spcAft>
              <a:buClr>
                <a:schemeClr val="accent5"/>
              </a:buClr>
              <a:buSzPts val="1400"/>
              <a:buNone/>
              <a:defRPr>
                <a:solidFill>
                  <a:schemeClr val="accent5"/>
                </a:solidFill>
              </a:defRPr>
            </a:lvl5pPr>
            <a:lvl6pPr lvl="5" rtl="0">
              <a:lnSpc>
                <a:spcPct val="75000"/>
              </a:lnSpc>
              <a:spcBef>
                <a:spcPts val="0"/>
              </a:spcBef>
              <a:spcAft>
                <a:spcPts val="0"/>
              </a:spcAft>
              <a:buClr>
                <a:schemeClr val="accent5"/>
              </a:buClr>
              <a:buSzPts val="1400"/>
              <a:buNone/>
              <a:defRPr>
                <a:solidFill>
                  <a:schemeClr val="accent5"/>
                </a:solidFill>
              </a:defRPr>
            </a:lvl6pPr>
            <a:lvl7pPr lvl="6" rtl="0">
              <a:lnSpc>
                <a:spcPct val="75000"/>
              </a:lnSpc>
              <a:spcBef>
                <a:spcPts val="0"/>
              </a:spcBef>
              <a:spcAft>
                <a:spcPts val="0"/>
              </a:spcAft>
              <a:buClr>
                <a:schemeClr val="accent5"/>
              </a:buClr>
              <a:buSzPts val="1400"/>
              <a:buNone/>
              <a:defRPr>
                <a:solidFill>
                  <a:schemeClr val="accent5"/>
                </a:solidFill>
              </a:defRPr>
            </a:lvl7pPr>
            <a:lvl8pPr lvl="7" rtl="0">
              <a:lnSpc>
                <a:spcPct val="75000"/>
              </a:lnSpc>
              <a:spcBef>
                <a:spcPts val="0"/>
              </a:spcBef>
              <a:spcAft>
                <a:spcPts val="0"/>
              </a:spcAft>
              <a:buClr>
                <a:schemeClr val="accent5"/>
              </a:buClr>
              <a:buSzPts val="1400"/>
              <a:buNone/>
              <a:defRPr>
                <a:solidFill>
                  <a:schemeClr val="accent5"/>
                </a:solidFill>
              </a:defRPr>
            </a:lvl8pPr>
            <a:lvl9pPr lvl="8" rtl="0">
              <a:lnSpc>
                <a:spcPct val="75000"/>
              </a:lnSpc>
              <a:spcBef>
                <a:spcPts val="0"/>
              </a:spcBef>
              <a:spcAft>
                <a:spcPts val="0"/>
              </a:spcAft>
              <a:buClr>
                <a:schemeClr val="accent5"/>
              </a:buClr>
              <a:buSzPts val="1400"/>
              <a:buNone/>
              <a:defRPr>
                <a:solidFill>
                  <a:schemeClr val="accent5"/>
                </a:solidFill>
              </a:defRPr>
            </a:lvl9pPr>
          </a:lstStyle>
          <a:p>
            <a:endParaRPr/>
          </a:p>
        </p:txBody>
      </p:sp>
    </p:spTree>
    <p:extLst>
      <p:ext uri="{BB962C8B-B14F-4D97-AF65-F5344CB8AC3E}">
        <p14:creationId xmlns:p14="http://schemas.microsoft.com/office/powerpoint/2010/main" val="399465991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Title Slide 1 - Lunar">
  <p:cSld name="Title Slide 1 - Lunar">
    <p:bg>
      <p:bgPr>
        <a:solidFill>
          <a:schemeClr val="lt2"/>
        </a:solidFill>
        <a:effectLst/>
      </p:bgPr>
    </p:bg>
    <p:spTree>
      <p:nvGrpSpPr>
        <p:cNvPr id="1" name="Shape 66"/>
        <p:cNvGrpSpPr/>
        <p:nvPr/>
      </p:nvGrpSpPr>
      <p:grpSpPr>
        <a:xfrm>
          <a:off x="0" y="0"/>
          <a:ext cx="0" cy="0"/>
          <a:chOff x="0" y="0"/>
          <a:chExt cx="0" cy="0"/>
        </a:xfrm>
      </p:grpSpPr>
      <p:grpSp>
        <p:nvGrpSpPr>
          <p:cNvPr id="67" name="Google Shape;67;p7"/>
          <p:cNvGrpSpPr/>
          <p:nvPr/>
        </p:nvGrpSpPr>
        <p:grpSpPr>
          <a:xfrm>
            <a:off x="481593" y="1804662"/>
            <a:ext cx="1937284" cy="324700"/>
            <a:chOff x="2455289" y="1451556"/>
            <a:chExt cx="2208151" cy="370100"/>
          </a:xfrm>
        </p:grpSpPr>
        <p:sp>
          <p:nvSpPr>
            <p:cNvPr id="68" name="Google Shape;68;p7"/>
            <p:cNvSpPr/>
            <p:nvPr/>
          </p:nvSpPr>
          <p:spPr>
            <a:xfrm>
              <a:off x="2876395" y="1554783"/>
              <a:ext cx="221938" cy="264747"/>
            </a:xfrm>
            <a:custGeom>
              <a:avLst/>
              <a:gdLst/>
              <a:ahLst/>
              <a:cxnLst/>
              <a:rect l="l" t="t" r="r" b="b"/>
              <a:pathLst>
                <a:path w="295917" h="352996" extrusionOk="0">
                  <a:moveTo>
                    <a:pt x="225076" y="193096"/>
                  </a:moveTo>
                  <a:cubicBezTo>
                    <a:pt x="225076" y="250174"/>
                    <a:pt x="194310" y="284988"/>
                    <a:pt x="148566" y="284988"/>
                  </a:cubicBezTo>
                  <a:cubicBezTo>
                    <a:pt x="101608" y="284988"/>
                    <a:pt x="70842" y="250174"/>
                    <a:pt x="70842" y="193096"/>
                  </a:cubicBezTo>
                  <a:lnTo>
                    <a:pt x="70842" y="0"/>
                  </a:lnTo>
                  <a:lnTo>
                    <a:pt x="0" y="0"/>
                  </a:lnTo>
                  <a:lnTo>
                    <a:pt x="0" y="191477"/>
                  </a:lnTo>
                  <a:cubicBezTo>
                    <a:pt x="0" y="289441"/>
                    <a:pt x="54245" y="352997"/>
                    <a:pt x="146542" y="352997"/>
                  </a:cubicBezTo>
                  <a:cubicBezTo>
                    <a:pt x="238030" y="352997"/>
                    <a:pt x="295918" y="288227"/>
                    <a:pt x="295918" y="191477"/>
                  </a:cubicBezTo>
                  <a:lnTo>
                    <a:pt x="295918" y="0"/>
                  </a:lnTo>
                  <a:lnTo>
                    <a:pt x="225076" y="0"/>
                  </a:lnTo>
                  <a:lnTo>
                    <a:pt x="225076" y="193096"/>
                  </a:lnTo>
                  <a:close/>
                </a:path>
              </a:pathLst>
            </a:custGeom>
            <a:solidFill>
              <a:schemeClr val="dk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69" name="Google Shape;69;p7"/>
            <p:cNvSpPr/>
            <p:nvPr/>
          </p:nvSpPr>
          <p:spPr>
            <a:xfrm>
              <a:off x="3150858" y="1452164"/>
              <a:ext cx="52220" cy="364027"/>
            </a:xfrm>
            <a:custGeom>
              <a:avLst/>
              <a:gdLst/>
              <a:ahLst/>
              <a:cxnLst/>
              <a:rect l="l" t="t" r="r" b="b"/>
              <a:pathLst>
                <a:path w="69627" h="485370" extrusionOk="0">
                  <a:moveTo>
                    <a:pt x="0" y="0"/>
                  </a:moveTo>
                  <a:lnTo>
                    <a:pt x="69628" y="0"/>
                  </a:lnTo>
                  <a:lnTo>
                    <a:pt x="69628" y="485370"/>
                  </a:lnTo>
                  <a:lnTo>
                    <a:pt x="0" y="485370"/>
                  </a:lnTo>
                  <a:close/>
                </a:path>
              </a:pathLst>
            </a:custGeom>
            <a:solidFill>
              <a:schemeClr val="dk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0" name="Google Shape;70;p7"/>
            <p:cNvSpPr/>
            <p:nvPr/>
          </p:nvSpPr>
          <p:spPr>
            <a:xfrm>
              <a:off x="3440501" y="1555087"/>
              <a:ext cx="52220" cy="260800"/>
            </a:xfrm>
            <a:custGeom>
              <a:avLst/>
              <a:gdLst/>
              <a:ahLst/>
              <a:cxnLst/>
              <a:rect l="l" t="t" r="r" b="b"/>
              <a:pathLst>
                <a:path w="69627" h="347733" extrusionOk="0">
                  <a:moveTo>
                    <a:pt x="0" y="0"/>
                  </a:moveTo>
                  <a:lnTo>
                    <a:pt x="69627" y="0"/>
                  </a:lnTo>
                  <a:lnTo>
                    <a:pt x="69627" y="347734"/>
                  </a:lnTo>
                  <a:lnTo>
                    <a:pt x="0" y="347734"/>
                  </a:lnTo>
                  <a:close/>
                </a:path>
              </a:pathLst>
            </a:custGeom>
            <a:solidFill>
              <a:schemeClr val="dk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1" name="Google Shape;71;p7"/>
            <p:cNvSpPr/>
            <p:nvPr/>
          </p:nvSpPr>
          <p:spPr>
            <a:xfrm>
              <a:off x="3517618" y="1555087"/>
              <a:ext cx="257764" cy="261104"/>
            </a:xfrm>
            <a:custGeom>
              <a:avLst/>
              <a:gdLst/>
              <a:ahLst/>
              <a:cxnLst/>
              <a:rect l="l" t="t" r="r" b="b"/>
              <a:pathLst>
                <a:path w="343685" h="348138" extrusionOk="0">
                  <a:moveTo>
                    <a:pt x="269200" y="0"/>
                  </a:moveTo>
                  <a:lnTo>
                    <a:pt x="172045" y="255842"/>
                  </a:lnTo>
                  <a:lnTo>
                    <a:pt x="74081" y="0"/>
                  </a:lnTo>
                  <a:lnTo>
                    <a:pt x="0" y="0"/>
                  </a:lnTo>
                  <a:lnTo>
                    <a:pt x="136422" y="348139"/>
                  </a:lnTo>
                  <a:lnTo>
                    <a:pt x="207264" y="348139"/>
                  </a:lnTo>
                  <a:lnTo>
                    <a:pt x="343686" y="0"/>
                  </a:lnTo>
                  <a:close/>
                </a:path>
              </a:pathLst>
            </a:custGeom>
            <a:solidFill>
              <a:schemeClr val="dk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2" name="Google Shape;72;p7"/>
            <p:cNvSpPr/>
            <p:nvPr/>
          </p:nvSpPr>
          <p:spPr>
            <a:xfrm>
              <a:off x="4209848" y="1549621"/>
              <a:ext cx="188541" cy="272034"/>
            </a:xfrm>
            <a:custGeom>
              <a:avLst/>
              <a:gdLst/>
              <a:ahLst/>
              <a:cxnLst/>
              <a:rect l="l" t="t" r="r" b="b"/>
              <a:pathLst>
                <a:path w="251388" h="362712" extrusionOk="0">
                  <a:moveTo>
                    <a:pt x="150591" y="148971"/>
                  </a:moveTo>
                  <a:lnTo>
                    <a:pt x="109704" y="139660"/>
                  </a:lnTo>
                  <a:cubicBezTo>
                    <a:pt x="84606" y="133588"/>
                    <a:pt x="72057" y="120229"/>
                    <a:pt x="72057" y="102013"/>
                  </a:cubicBezTo>
                  <a:cubicBezTo>
                    <a:pt x="72057" y="76915"/>
                    <a:pt x="95131" y="61531"/>
                    <a:pt x="126302" y="62341"/>
                  </a:cubicBezTo>
                  <a:cubicBezTo>
                    <a:pt x="145328" y="62341"/>
                    <a:pt x="164759" y="68413"/>
                    <a:pt x="183380" y="77724"/>
                  </a:cubicBezTo>
                  <a:cubicBezTo>
                    <a:pt x="206454" y="88654"/>
                    <a:pt x="225886" y="104037"/>
                    <a:pt x="233577" y="111324"/>
                  </a:cubicBezTo>
                  <a:lnTo>
                    <a:pt x="233577" y="38457"/>
                  </a:lnTo>
                  <a:cubicBezTo>
                    <a:pt x="221837" y="29551"/>
                    <a:pt x="178522" y="0"/>
                    <a:pt x="123063" y="0"/>
                  </a:cubicBezTo>
                  <a:cubicBezTo>
                    <a:pt x="46149" y="0"/>
                    <a:pt x="0" y="51411"/>
                    <a:pt x="0" y="107680"/>
                  </a:cubicBezTo>
                  <a:cubicBezTo>
                    <a:pt x="0" y="161115"/>
                    <a:pt x="37648" y="187428"/>
                    <a:pt x="87439" y="199573"/>
                  </a:cubicBezTo>
                  <a:lnTo>
                    <a:pt x="127111" y="208883"/>
                  </a:lnTo>
                  <a:cubicBezTo>
                    <a:pt x="162330" y="216980"/>
                    <a:pt x="179332" y="229934"/>
                    <a:pt x="179332" y="254222"/>
                  </a:cubicBezTo>
                  <a:cubicBezTo>
                    <a:pt x="179332" y="278511"/>
                    <a:pt x="158687" y="301585"/>
                    <a:pt x="121039" y="301585"/>
                  </a:cubicBezTo>
                  <a:cubicBezTo>
                    <a:pt x="97155" y="301585"/>
                    <a:pt x="73271" y="293489"/>
                    <a:pt x="54245" y="282559"/>
                  </a:cubicBezTo>
                  <a:cubicBezTo>
                    <a:pt x="31171" y="270415"/>
                    <a:pt x="13764" y="255437"/>
                    <a:pt x="9311" y="250984"/>
                  </a:cubicBezTo>
                  <a:lnTo>
                    <a:pt x="8096" y="325065"/>
                  </a:lnTo>
                  <a:cubicBezTo>
                    <a:pt x="12549" y="329922"/>
                    <a:pt x="52626" y="362712"/>
                    <a:pt x="123468" y="362712"/>
                  </a:cubicBezTo>
                  <a:cubicBezTo>
                    <a:pt x="202406" y="362712"/>
                    <a:pt x="251388" y="307253"/>
                    <a:pt x="251388" y="250984"/>
                  </a:cubicBezTo>
                  <a:cubicBezTo>
                    <a:pt x="250579" y="201597"/>
                    <a:pt x="216979" y="163949"/>
                    <a:pt x="150591" y="148971"/>
                  </a:cubicBezTo>
                  <a:close/>
                </a:path>
              </a:pathLst>
            </a:custGeom>
            <a:solidFill>
              <a:schemeClr val="dk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3" name="Google Shape;73;p7"/>
            <p:cNvSpPr/>
            <p:nvPr/>
          </p:nvSpPr>
          <p:spPr>
            <a:xfrm>
              <a:off x="3775382" y="1552051"/>
              <a:ext cx="242584" cy="267176"/>
            </a:xfrm>
            <a:custGeom>
              <a:avLst/>
              <a:gdLst/>
              <a:ahLst/>
              <a:cxnLst/>
              <a:rect l="l" t="t" r="r" b="b"/>
              <a:pathLst>
                <a:path w="323445" h="356235" extrusionOk="0">
                  <a:moveTo>
                    <a:pt x="70842" y="150995"/>
                  </a:moveTo>
                  <a:cubicBezTo>
                    <a:pt x="79343" y="101203"/>
                    <a:pt x="112538" y="64770"/>
                    <a:pt x="164758" y="64770"/>
                  </a:cubicBezTo>
                  <a:cubicBezTo>
                    <a:pt x="216575" y="64770"/>
                    <a:pt x="247340" y="101203"/>
                    <a:pt x="255437" y="150995"/>
                  </a:cubicBezTo>
                  <a:lnTo>
                    <a:pt x="70842" y="150995"/>
                  </a:lnTo>
                  <a:close/>
                  <a:moveTo>
                    <a:pt x="164758" y="0"/>
                  </a:moveTo>
                  <a:cubicBezTo>
                    <a:pt x="70842" y="0"/>
                    <a:pt x="0" y="79748"/>
                    <a:pt x="0" y="178118"/>
                  </a:cubicBezTo>
                  <a:cubicBezTo>
                    <a:pt x="0" y="276487"/>
                    <a:pt x="76914" y="356235"/>
                    <a:pt x="180546" y="356235"/>
                  </a:cubicBezTo>
                  <a:cubicBezTo>
                    <a:pt x="259889" y="356235"/>
                    <a:pt x="303609" y="317778"/>
                    <a:pt x="303609" y="317778"/>
                  </a:cubicBezTo>
                  <a:lnTo>
                    <a:pt x="303609" y="246936"/>
                  </a:lnTo>
                  <a:cubicBezTo>
                    <a:pt x="303609" y="246936"/>
                    <a:pt x="255437" y="290655"/>
                    <a:pt x="185809" y="290655"/>
                  </a:cubicBezTo>
                  <a:cubicBezTo>
                    <a:pt x="123063" y="290655"/>
                    <a:pt x="81772" y="255032"/>
                    <a:pt x="71247" y="204835"/>
                  </a:cubicBezTo>
                  <a:lnTo>
                    <a:pt x="322231" y="204835"/>
                  </a:lnTo>
                  <a:cubicBezTo>
                    <a:pt x="323041" y="195929"/>
                    <a:pt x="323445" y="186618"/>
                    <a:pt x="323445" y="177713"/>
                  </a:cubicBezTo>
                  <a:cubicBezTo>
                    <a:pt x="323445" y="79748"/>
                    <a:pt x="256247" y="0"/>
                    <a:pt x="164758" y="0"/>
                  </a:cubicBezTo>
                  <a:close/>
                </a:path>
              </a:pathLst>
            </a:custGeom>
            <a:solidFill>
              <a:schemeClr val="dk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4" name="Google Shape;74;p7"/>
            <p:cNvSpPr/>
            <p:nvPr/>
          </p:nvSpPr>
          <p:spPr>
            <a:xfrm>
              <a:off x="3429268" y="1451556"/>
              <a:ext cx="74687" cy="65883"/>
            </a:xfrm>
            <a:custGeom>
              <a:avLst/>
              <a:gdLst/>
              <a:ahLst/>
              <a:cxnLst/>
              <a:rect l="l" t="t" r="r" b="b"/>
              <a:pathLst>
                <a:path w="99583" h="87844" extrusionOk="0">
                  <a:moveTo>
                    <a:pt x="24693" y="0"/>
                  </a:moveTo>
                  <a:lnTo>
                    <a:pt x="0" y="43720"/>
                  </a:lnTo>
                  <a:lnTo>
                    <a:pt x="24693" y="87844"/>
                  </a:lnTo>
                  <a:lnTo>
                    <a:pt x="74890" y="87844"/>
                  </a:lnTo>
                  <a:lnTo>
                    <a:pt x="99584" y="43720"/>
                  </a:lnTo>
                  <a:lnTo>
                    <a:pt x="74890" y="0"/>
                  </a:lnTo>
                  <a:close/>
                </a:path>
              </a:pathLst>
            </a:custGeom>
            <a:solidFill>
              <a:schemeClr val="dk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5" name="Google Shape;75;p7"/>
            <p:cNvSpPr/>
            <p:nvPr/>
          </p:nvSpPr>
          <p:spPr>
            <a:xfrm>
              <a:off x="2455288" y="1554783"/>
              <a:ext cx="375868" cy="261103"/>
            </a:xfrm>
            <a:custGeom>
              <a:avLst/>
              <a:gdLst/>
              <a:ahLst/>
              <a:cxnLst/>
              <a:rect l="l" t="t" r="r" b="b"/>
              <a:pathLst>
                <a:path w="501157" h="348138" extrusionOk="0">
                  <a:moveTo>
                    <a:pt x="433149" y="405"/>
                  </a:moveTo>
                  <a:lnTo>
                    <a:pt x="422219" y="405"/>
                  </a:lnTo>
                  <a:lnTo>
                    <a:pt x="422219" y="405"/>
                  </a:lnTo>
                  <a:lnTo>
                    <a:pt x="422219" y="405"/>
                  </a:lnTo>
                  <a:lnTo>
                    <a:pt x="284988" y="230338"/>
                  </a:lnTo>
                  <a:cubicBezTo>
                    <a:pt x="284988" y="192286"/>
                    <a:pt x="284178" y="405"/>
                    <a:pt x="284178" y="405"/>
                  </a:cubicBezTo>
                  <a:lnTo>
                    <a:pt x="216575" y="405"/>
                  </a:lnTo>
                  <a:lnTo>
                    <a:pt x="205645" y="405"/>
                  </a:lnTo>
                  <a:lnTo>
                    <a:pt x="205645" y="405"/>
                  </a:lnTo>
                  <a:lnTo>
                    <a:pt x="205645" y="405"/>
                  </a:lnTo>
                  <a:lnTo>
                    <a:pt x="69223" y="229529"/>
                  </a:lnTo>
                  <a:lnTo>
                    <a:pt x="68818" y="216170"/>
                  </a:lnTo>
                  <a:lnTo>
                    <a:pt x="69628" y="405"/>
                  </a:lnTo>
                  <a:lnTo>
                    <a:pt x="0" y="405"/>
                  </a:lnTo>
                  <a:lnTo>
                    <a:pt x="0" y="348139"/>
                  </a:lnTo>
                  <a:lnTo>
                    <a:pt x="69628" y="348139"/>
                  </a:lnTo>
                  <a:cubicBezTo>
                    <a:pt x="74081" y="340852"/>
                    <a:pt x="84606" y="322636"/>
                    <a:pt x="98369" y="299157"/>
                  </a:cubicBezTo>
                  <a:lnTo>
                    <a:pt x="216575" y="100394"/>
                  </a:lnTo>
                  <a:lnTo>
                    <a:pt x="216575" y="347734"/>
                  </a:lnTo>
                  <a:lnTo>
                    <a:pt x="285393" y="347734"/>
                  </a:lnTo>
                  <a:cubicBezTo>
                    <a:pt x="285393" y="347734"/>
                    <a:pt x="285393" y="347734"/>
                    <a:pt x="285393" y="347734"/>
                  </a:cubicBezTo>
                  <a:lnTo>
                    <a:pt x="285393" y="347734"/>
                  </a:lnTo>
                  <a:lnTo>
                    <a:pt x="432340" y="101608"/>
                  </a:lnTo>
                  <a:lnTo>
                    <a:pt x="432340" y="347734"/>
                  </a:lnTo>
                  <a:lnTo>
                    <a:pt x="501158" y="347734"/>
                  </a:lnTo>
                  <a:lnTo>
                    <a:pt x="501158" y="0"/>
                  </a:lnTo>
                  <a:lnTo>
                    <a:pt x="433149" y="0"/>
                  </a:lnTo>
                  <a:close/>
                </a:path>
              </a:pathLst>
            </a:custGeom>
            <a:solidFill>
              <a:schemeClr val="dk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6" name="Google Shape;76;p7"/>
            <p:cNvSpPr/>
            <p:nvPr/>
          </p:nvSpPr>
          <p:spPr>
            <a:xfrm>
              <a:off x="4428749" y="1553569"/>
              <a:ext cx="234690" cy="263229"/>
            </a:xfrm>
            <a:custGeom>
              <a:avLst/>
              <a:gdLst/>
              <a:ahLst/>
              <a:cxnLst/>
              <a:rect l="l" t="t" r="r" b="b"/>
              <a:pathLst>
                <a:path w="312920" h="350972" extrusionOk="0">
                  <a:moveTo>
                    <a:pt x="68009" y="136017"/>
                  </a:moveTo>
                  <a:cubicBezTo>
                    <a:pt x="72057" y="123468"/>
                    <a:pt x="78129" y="112538"/>
                    <a:pt x="85821" y="103227"/>
                  </a:cubicBezTo>
                  <a:cubicBezTo>
                    <a:pt x="97155" y="89059"/>
                    <a:pt x="110514" y="78533"/>
                    <a:pt x="125492" y="71247"/>
                  </a:cubicBezTo>
                  <a:cubicBezTo>
                    <a:pt x="140470" y="63960"/>
                    <a:pt x="155853" y="60317"/>
                    <a:pt x="171236" y="60317"/>
                  </a:cubicBezTo>
                  <a:cubicBezTo>
                    <a:pt x="194310" y="60317"/>
                    <a:pt x="212932" y="65580"/>
                    <a:pt x="226290" y="75700"/>
                  </a:cubicBezTo>
                  <a:cubicBezTo>
                    <a:pt x="238435" y="84606"/>
                    <a:pt x="244102" y="95941"/>
                    <a:pt x="244102" y="110918"/>
                  </a:cubicBezTo>
                  <a:cubicBezTo>
                    <a:pt x="244102" y="119420"/>
                    <a:pt x="242078" y="130350"/>
                    <a:pt x="225481" y="140065"/>
                  </a:cubicBezTo>
                  <a:cubicBezTo>
                    <a:pt x="209693" y="149376"/>
                    <a:pt x="190667" y="153829"/>
                    <a:pt x="169212" y="153829"/>
                  </a:cubicBezTo>
                  <a:cubicBezTo>
                    <a:pt x="139256" y="153424"/>
                    <a:pt x="104847" y="147757"/>
                    <a:pt x="68009" y="136017"/>
                  </a:cubicBezTo>
                  <a:close/>
                  <a:moveTo>
                    <a:pt x="277297" y="238030"/>
                  </a:moveTo>
                  <a:lnTo>
                    <a:pt x="261509" y="252603"/>
                  </a:lnTo>
                  <a:cubicBezTo>
                    <a:pt x="247746" y="265152"/>
                    <a:pt x="232767" y="274868"/>
                    <a:pt x="217789" y="281749"/>
                  </a:cubicBezTo>
                  <a:cubicBezTo>
                    <a:pt x="203216" y="288227"/>
                    <a:pt x="185809" y="291465"/>
                    <a:pt x="165164" y="291465"/>
                  </a:cubicBezTo>
                  <a:cubicBezTo>
                    <a:pt x="146542" y="291465"/>
                    <a:pt x="129540" y="287012"/>
                    <a:pt x="113348" y="278106"/>
                  </a:cubicBezTo>
                  <a:cubicBezTo>
                    <a:pt x="97155" y="269200"/>
                    <a:pt x="84606" y="257056"/>
                    <a:pt x="74890" y="240458"/>
                  </a:cubicBezTo>
                  <a:cubicBezTo>
                    <a:pt x="66389" y="226290"/>
                    <a:pt x="61937" y="211312"/>
                    <a:pt x="60722" y="193905"/>
                  </a:cubicBezTo>
                  <a:cubicBezTo>
                    <a:pt x="75700" y="198763"/>
                    <a:pt x="89869" y="202406"/>
                    <a:pt x="103227" y="205645"/>
                  </a:cubicBezTo>
                  <a:cubicBezTo>
                    <a:pt x="124682" y="210907"/>
                    <a:pt x="147352" y="213336"/>
                    <a:pt x="170021" y="213336"/>
                  </a:cubicBezTo>
                  <a:cubicBezTo>
                    <a:pt x="191881" y="213336"/>
                    <a:pt x="212932" y="209693"/>
                    <a:pt x="232767" y="202406"/>
                  </a:cubicBezTo>
                  <a:cubicBezTo>
                    <a:pt x="253413" y="194715"/>
                    <a:pt x="270415" y="183380"/>
                    <a:pt x="283774" y="168807"/>
                  </a:cubicBezTo>
                  <a:cubicBezTo>
                    <a:pt x="297942" y="152614"/>
                    <a:pt x="305229" y="133183"/>
                    <a:pt x="305229" y="110514"/>
                  </a:cubicBezTo>
                  <a:cubicBezTo>
                    <a:pt x="305229" y="89059"/>
                    <a:pt x="299157" y="69628"/>
                    <a:pt x="286607" y="52221"/>
                  </a:cubicBezTo>
                  <a:cubicBezTo>
                    <a:pt x="274868" y="35623"/>
                    <a:pt x="258271" y="22265"/>
                    <a:pt x="237625" y="13359"/>
                  </a:cubicBezTo>
                  <a:cubicBezTo>
                    <a:pt x="217789" y="4453"/>
                    <a:pt x="195525" y="0"/>
                    <a:pt x="172045" y="0"/>
                  </a:cubicBezTo>
                  <a:cubicBezTo>
                    <a:pt x="143708" y="0"/>
                    <a:pt x="116181" y="7287"/>
                    <a:pt x="90273" y="21455"/>
                  </a:cubicBezTo>
                  <a:cubicBezTo>
                    <a:pt x="63961" y="36028"/>
                    <a:pt x="42101" y="57078"/>
                    <a:pt x="25503" y="85011"/>
                  </a:cubicBezTo>
                  <a:cubicBezTo>
                    <a:pt x="8501" y="112943"/>
                    <a:pt x="0" y="146542"/>
                    <a:pt x="0" y="184999"/>
                  </a:cubicBezTo>
                  <a:cubicBezTo>
                    <a:pt x="0" y="219408"/>
                    <a:pt x="8096" y="249769"/>
                    <a:pt x="24289" y="274868"/>
                  </a:cubicBezTo>
                  <a:cubicBezTo>
                    <a:pt x="40481" y="299966"/>
                    <a:pt x="61532" y="319397"/>
                    <a:pt x="87845" y="331946"/>
                  </a:cubicBezTo>
                  <a:cubicBezTo>
                    <a:pt x="113348" y="344495"/>
                    <a:pt x="140470" y="350973"/>
                    <a:pt x="168807" y="350973"/>
                  </a:cubicBezTo>
                  <a:cubicBezTo>
                    <a:pt x="195525" y="350973"/>
                    <a:pt x="219409" y="346115"/>
                    <a:pt x="240459" y="336399"/>
                  </a:cubicBezTo>
                  <a:cubicBezTo>
                    <a:pt x="260699" y="327088"/>
                    <a:pt x="280131" y="313730"/>
                    <a:pt x="298752" y="297132"/>
                  </a:cubicBezTo>
                  <a:lnTo>
                    <a:pt x="312920" y="284583"/>
                  </a:lnTo>
                  <a:lnTo>
                    <a:pt x="277297" y="238030"/>
                  </a:lnTo>
                  <a:close/>
                </a:path>
              </a:pathLst>
            </a:custGeom>
            <a:solidFill>
              <a:schemeClr val="dk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7" name="Google Shape;77;p7"/>
            <p:cNvSpPr/>
            <p:nvPr/>
          </p:nvSpPr>
          <p:spPr>
            <a:xfrm>
              <a:off x="3227064" y="1481006"/>
              <a:ext cx="183683" cy="334577"/>
            </a:xfrm>
            <a:custGeom>
              <a:avLst/>
              <a:gdLst/>
              <a:ahLst/>
              <a:cxnLst/>
              <a:rect l="l" t="t" r="r" b="b"/>
              <a:pathLst>
                <a:path w="244911" h="446103" extrusionOk="0">
                  <a:moveTo>
                    <a:pt x="156662" y="0"/>
                  </a:moveTo>
                  <a:lnTo>
                    <a:pt x="87844" y="0"/>
                  </a:lnTo>
                  <a:lnTo>
                    <a:pt x="87844" y="98369"/>
                  </a:lnTo>
                  <a:lnTo>
                    <a:pt x="0" y="98369"/>
                  </a:lnTo>
                  <a:lnTo>
                    <a:pt x="0" y="159496"/>
                  </a:lnTo>
                  <a:lnTo>
                    <a:pt x="87844" y="159496"/>
                  </a:lnTo>
                  <a:lnTo>
                    <a:pt x="87844" y="446103"/>
                  </a:lnTo>
                  <a:lnTo>
                    <a:pt x="156662" y="446103"/>
                  </a:lnTo>
                  <a:lnTo>
                    <a:pt x="156662" y="159496"/>
                  </a:lnTo>
                  <a:lnTo>
                    <a:pt x="244912" y="159496"/>
                  </a:lnTo>
                  <a:lnTo>
                    <a:pt x="244912" y="98369"/>
                  </a:lnTo>
                  <a:lnTo>
                    <a:pt x="156662" y="98369"/>
                  </a:lnTo>
                  <a:close/>
                </a:path>
              </a:pathLst>
            </a:custGeom>
            <a:solidFill>
              <a:schemeClr val="dk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8" name="Google Shape;78;p7"/>
            <p:cNvSpPr/>
            <p:nvPr/>
          </p:nvSpPr>
          <p:spPr>
            <a:xfrm>
              <a:off x="4047416" y="1554480"/>
              <a:ext cx="140875" cy="261104"/>
            </a:xfrm>
            <a:custGeom>
              <a:avLst/>
              <a:gdLst/>
              <a:ahLst/>
              <a:cxnLst/>
              <a:rect l="l" t="t" r="r" b="b"/>
              <a:pathLst>
                <a:path w="187833" h="348138" extrusionOk="0">
                  <a:moveTo>
                    <a:pt x="4048" y="405"/>
                  </a:moveTo>
                  <a:lnTo>
                    <a:pt x="0" y="405"/>
                  </a:lnTo>
                  <a:lnTo>
                    <a:pt x="0" y="348139"/>
                  </a:lnTo>
                  <a:lnTo>
                    <a:pt x="69628" y="348139"/>
                  </a:lnTo>
                  <a:lnTo>
                    <a:pt x="69628" y="61127"/>
                  </a:lnTo>
                  <a:lnTo>
                    <a:pt x="187833" y="61127"/>
                  </a:lnTo>
                  <a:lnTo>
                    <a:pt x="187833" y="0"/>
                  </a:lnTo>
                  <a:lnTo>
                    <a:pt x="4048" y="0"/>
                  </a:lnTo>
                  <a:close/>
                </a:path>
              </a:pathLst>
            </a:custGeom>
            <a:solidFill>
              <a:schemeClr val="dk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grpSp>
      <p:sp>
        <p:nvSpPr>
          <p:cNvPr id="79" name="Google Shape;79;p7"/>
          <p:cNvSpPr txBox="1">
            <a:spLocks noGrp="1"/>
          </p:cNvSpPr>
          <p:nvPr>
            <p:ph type="title"/>
          </p:nvPr>
        </p:nvSpPr>
        <p:spPr>
          <a:xfrm>
            <a:off x="481600" y="2309600"/>
            <a:ext cx="9514800" cy="1815600"/>
          </a:xfrm>
          <a:prstGeom prst="rect">
            <a:avLst/>
          </a:prstGeom>
        </p:spPr>
        <p:txBody>
          <a:bodyPr spcFirstLastPara="1" wrap="square" lIns="0" tIns="91425" rIns="91425" bIns="91425" anchor="t" anchorCtr="0">
            <a:noAutofit/>
          </a:bodyPr>
          <a:lstStyle>
            <a:lvl1pPr lvl="0" rtl="0">
              <a:lnSpc>
                <a:spcPct val="85000"/>
              </a:lnSpc>
              <a:spcBef>
                <a:spcPts val="0"/>
              </a:spcBef>
              <a:spcAft>
                <a:spcPts val="0"/>
              </a:spcAft>
              <a:buSzPts val="4600"/>
              <a:buFont typeface="Inter Medium"/>
              <a:buNone/>
              <a:defRPr sz="6133">
                <a:latin typeface="Inter Medium"/>
                <a:ea typeface="Inter Medium"/>
                <a:cs typeface="Inter Medium"/>
                <a:sym typeface="Inter Medium"/>
              </a:defRPr>
            </a:lvl1pPr>
            <a:lvl2pPr lvl="1" rtl="0">
              <a:spcBef>
                <a:spcPts val="0"/>
              </a:spcBef>
              <a:spcAft>
                <a:spcPts val="0"/>
              </a:spcAft>
              <a:buSzPts val="1100"/>
              <a:buNone/>
              <a:defRPr/>
            </a:lvl2pPr>
            <a:lvl3pPr lvl="2" rtl="0">
              <a:spcBef>
                <a:spcPts val="0"/>
              </a:spcBef>
              <a:spcAft>
                <a:spcPts val="0"/>
              </a:spcAft>
              <a:buSzPts val="1100"/>
              <a:buNone/>
              <a:defRPr/>
            </a:lvl3pPr>
            <a:lvl4pPr lvl="3" rtl="0">
              <a:spcBef>
                <a:spcPts val="0"/>
              </a:spcBef>
              <a:spcAft>
                <a:spcPts val="0"/>
              </a:spcAft>
              <a:buSzPts val="1100"/>
              <a:buNone/>
              <a:defRPr/>
            </a:lvl4pPr>
            <a:lvl5pPr lvl="4" rtl="0">
              <a:spcBef>
                <a:spcPts val="0"/>
              </a:spcBef>
              <a:spcAft>
                <a:spcPts val="0"/>
              </a:spcAft>
              <a:buSzPts val="1100"/>
              <a:buNone/>
              <a:defRPr/>
            </a:lvl5pPr>
            <a:lvl6pPr lvl="5" rtl="0">
              <a:spcBef>
                <a:spcPts val="0"/>
              </a:spcBef>
              <a:spcAft>
                <a:spcPts val="0"/>
              </a:spcAft>
              <a:buSzPts val="1100"/>
              <a:buNone/>
              <a:defRPr/>
            </a:lvl6pPr>
            <a:lvl7pPr lvl="6" rtl="0">
              <a:spcBef>
                <a:spcPts val="0"/>
              </a:spcBef>
              <a:spcAft>
                <a:spcPts val="0"/>
              </a:spcAft>
              <a:buSzPts val="1100"/>
              <a:buNone/>
              <a:defRPr/>
            </a:lvl7pPr>
            <a:lvl8pPr lvl="7" rtl="0">
              <a:spcBef>
                <a:spcPts val="0"/>
              </a:spcBef>
              <a:spcAft>
                <a:spcPts val="0"/>
              </a:spcAft>
              <a:buSzPts val="1100"/>
              <a:buNone/>
              <a:defRPr/>
            </a:lvl8pPr>
            <a:lvl9pPr lvl="8" rtl="0">
              <a:spcBef>
                <a:spcPts val="0"/>
              </a:spcBef>
              <a:spcAft>
                <a:spcPts val="0"/>
              </a:spcAft>
              <a:buSzPts val="1100"/>
              <a:buNone/>
              <a:defRPr/>
            </a:lvl9pPr>
          </a:lstStyle>
          <a:p>
            <a:endParaRPr/>
          </a:p>
        </p:txBody>
      </p:sp>
      <p:sp>
        <p:nvSpPr>
          <p:cNvPr id="80" name="Google Shape;80;p7"/>
          <p:cNvSpPr txBox="1">
            <a:spLocks noGrp="1"/>
          </p:cNvSpPr>
          <p:nvPr>
            <p:ph type="title" idx="2"/>
          </p:nvPr>
        </p:nvSpPr>
        <p:spPr>
          <a:xfrm>
            <a:off x="481600" y="4125200"/>
            <a:ext cx="4046800" cy="869200"/>
          </a:xfrm>
          <a:prstGeom prst="rect">
            <a:avLst/>
          </a:prstGeom>
        </p:spPr>
        <p:txBody>
          <a:bodyPr spcFirstLastPara="1" wrap="square" lIns="0" tIns="91425" rIns="91425" bIns="91425" anchor="t" anchorCtr="0">
            <a:noAutofit/>
          </a:bodyPr>
          <a:lstStyle>
            <a:lvl1pPr lvl="0" rtl="0">
              <a:lnSpc>
                <a:spcPct val="75000"/>
              </a:lnSpc>
              <a:spcBef>
                <a:spcPts val="0"/>
              </a:spcBef>
              <a:spcAft>
                <a:spcPts val="0"/>
              </a:spcAft>
              <a:buClr>
                <a:schemeClr val="dk2"/>
              </a:buClr>
              <a:buSzPts val="1200"/>
              <a:buFont typeface="Inter Medium"/>
              <a:buNone/>
              <a:defRPr sz="1600">
                <a:solidFill>
                  <a:schemeClr val="dk2"/>
                </a:solidFill>
                <a:latin typeface="Inter Medium"/>
                <a:ea typeface="Inter Medium"/>
                <a:cs typeface="Inter Medium"/>
                <a:sym typeface="Inter Medium"/>
              </a:defRPr>
            </a:lvl1pPr>
            <a:lvl2pPr lvl="1" rtl="0">
              <a:lnSpc>
                <a:spcPct val="75000"/>
              </a:lnSpc>
              <a:spcBef>
                <a:spcPts val="0"/>
              </a:spcBef>
              <a:spcAft>
                <a:spcPts val="0"/>
              </a:spcAft>
              <a:buClr>
                <a:schemeClr val="dk2"/>
              </a:buClr>
              <a:buSzPts val="1400"/>
              <a:buNone/>
              <a:defRPr>
                <a:solidFill>
                  <a:schemeClr val="dk2"/>
                </a:solidFill>
              </a:defRPr>
            </a:lvl2pPr>
            <a:lvl3pPr lvl="2" rtl="0">
              <a:lnSpc>
                <a:spcPct val="75000"/>
              </a:lnSpc>
              <a:spcBef>
                <a:spcPts val="0"/>
              </a:spcBef>
              <a:spcAft>
                <a:spcPts val="0"/>
              </a:spcAft>
              <a:buClr>
                <a:schemeClr val="dk2"/>
              </a:buClr>
              <a:buSzPts val="1400"/>
              <a:buNone/>
              <a:defRPr>
                <a:solidFill>
                  <a:schemeClr val="dk2"/>
                </a:solidFill>
              </a:defRPr>
            </a:lvl3pPr>
            <a:lvl4pPr lvl="3" rtl="0">
              <a:lnSpc>
                <a:spcPct val="75000"/>
              </a:lnSpc>
              <a:spcBef>
                <a:spcPts val="0"/>
              </a:spcBef>
              <a:spcAft>
                <a:spcPts val="0"/>
              </a:spcAft>
              <a:buClr>
                <a:schemeClr val="dk2"/>
              </a:buClr>
              <a:buSzPts val="1400"/>
              <a:buNone/>
              <a:defRPr>
                <a:solidFill>
                  <a:schemeClr val="dk2"/>
                </a:solidFill>
              </a:defRPr>
            </a:lvl4pPr>
            <a:lvl5pPr lvl="4" rtl="0">
              <a:lnSpc>
                <a:spcPct val="75000"/>
              </a:lnSpc>
              <a:spcBef>
                <a:spcPts val="0"/>
              </a:spcBef>
              <a:spcAft>
                <a:spcPts val="0"/>
              </a:spcAft>
              <a:buClr>
                <a:schemeClr val="dk2"/>
              </a:buClr>
              <a:buSzPts val="1400"/>
              <a:buNone/>
              <a:defRPr>
                <a:solidFill>
                  <a:schemeClr val="dk2"/>
                </a:solidFill>
              </a:defRPr>
            </a:lvl5pPr>
            <a:lvl6pPr lvl="5" rtl="0">
              <a:lnSpc>
                <a:spcPct val="75000"/>
              </a:lnSpc>
              <a:spcBef>
                <a:spcPts val="0"/>
              </a:spcBef>
              <a:spcAft>
                <a:spcPts val="0"/>
              </a:spcAft>
              <a:buClr>
                <a:schemeClr val="dk2"/>
              </a:buClr>
              <a:buSzPts val="1400"/>
              <a:buNone/>
              <a:defRPr>
                <a:solidFill>
                  <a:schemeClr val="dk2"/>
                </a:solidFill>
              </a:defRPr>
            </a:lvl6pPr>
            <a:lvl7pPr lvl="6" rtl="0">
              <a:lnSpc>
                <a:spcPct val="75000"/>
              </a:lnSpc>
              <a:spcBef>
                <a:spcPts val="0"/>
              </a:spcBef>
              <a:spcAft>
                <a:spcPts val="0"/>
              </a:spcAft>
              <a:buClr>
                <a:schemeClr val="dk2"/>
              </a:buClr>
              <a:buSzPts val="1400"/>
              <a:buNone/>
              <a:defRPr>
                <a:solidFill>
                  <a:schemeClr val="dk2"/>
                </a:solidFill>
              </a:defRPr>
            </a:lvl7pPr>
            <a:lvl8pPr lvl="7" rtl="0">
              <a:lnSpc>
                <a:spcPct val="75000"/>
              </a:lnSpc>
              <a:spcBef>
                <a:spcPts val="0"/>
              </a:spcBef>
              <a:spcAft>
                <a:spcPts val="0"/>
              </a:spcAft>
              <a:buClr>
                <a:schemeClr val="dk2"/>
              </a:buClr>
              <a:buSzPts val="1400"/>
              <a:buNone/>
              <a:defRPr>
                <a:solidFill>
                  <a:schemeClr val="dk2"/>
                </a:solidFill>
              </a:defRPr>
            </a:lvl8pPr>
            <a:lvl9pPr lvl="8" rtl="0">
              <a:lnSpc>
                <a:spcPct val="75000"/>
              </a:lnSpc>
              <a:spcBef>
                <a:spcPts val="0"/>
              </a:spcBef>
              <a:spcAft>
                <a:spcPts val="0"/>
              </a:spcAft>
              <a:buClr>
                <a:schemeClr val="dk2"/>
              </a:buClr>
              <a:buSzPts val="1400"/>
              <a:buNone/>
              <a:defRPr>
                <a:solidFill>
                  <a:schemeClr val="dk2"/>
                </a:solidFill>
              </a:defRPr>
            </a:lvl9pPr>
          </a:lstStyle>
          <a:p>
            <a:endParaRPr/>
          </a:p>
        </p:txBody>
      </p:sp>
      <p:sp>
        <p:nvSpPr>
          <p:cNvPr id="81" name="Google Shape;81;p7"/>
          <p:cNvSpPr txBox="1">
            <a:spLocks noGrp="1"/>
          </p:cNvSpPr>
          <p:nvPr>
            <p:ph type="sldNum" idx="12"/>
          </p:nvPr>
        </p:nvSpPr>
        <p:spPr>
          <a:xfrm>
            <a:off x="11409045" y="6333135"/>
            <a:ext cx="731600" cy="524800"/>
          </a:xfrm>
          <a:prstGeom prst="rect">
            <a:avLst/>
          </a:prstGeom>
        </p:spPr>
        <p:txBody>
          <a:bodyPr spcFirstLastPara="1" wrap="square" lIns="91425" tIns="91425" rIns="0" bIns="0" anchor="t" anchorCtr="0">
            <a:noAutofit/>
          </a:bodyPr>
          <a:lstStyle>
            <a:lvl1pPr lvl="0" rtl="0">
              <a:buNone/>
              <a:defRPr sz="1733">
                <a:solidFill>
                  <a:schemeClr val="dk1"/>
                </a:solidFill>
              </a:defRPr>
            </a:lvl1pPr>
            <a:lvl2pPr lvl="1" rtl="0">
              <a:buNone/>
              <a:defRPr sz="1733">
                <a:solidFill>
                  <a:schemeClr val="dk1"/>
                </a:solidFill>
              </a:defRPr>
            </a:lvl2pPr>
            <a:lvl3pPr lvl="2" rtl="0">
              <a:buNone/>
              <a:defRPr sz="1733">
                <a:solidFill>
                  <a:schemeClr val="dk1"/>
                </a:solidFill>
              </a:defRPr>
            </a:lvl3pPr>
            <a:lvl4pPr lvl="3" rtl="0">
              <a:buNone/>
              <a:defRPr sz="1733">
                <a:solidFill>
                  <a:schemeClr val="dk1"/>
                </a:solidFill>
              </a:defRPr>
            </a:lvl4pPr>
            <a:lvl5pPr lvl="4" rtl="0">
              <a:buNone/>
              <a:defRPr sz="1733">
                <a:solidFill>
                  <a:schemeClr val="dk1"/>
                </a:solidFill>
              </a:defRPr>
            </a:lvl5pPr>
            <a:lvl6pPr lvl="5" rtl="0">
              <a:buNone/>
              <a:defRPr sz="1733">
                <a:solidFill>
                  <a:schemeClr val="dk1"/>
                </a:solidFill>
              </a:defRPr>
            </a:lvl6pPr>
            <a:lvl7pPr lvl="6" rtl="0">
              <a:buNone/>
              <a:defRPr sz="1733">
                <a:solidFill>
                  <a:schemeClr val="dk1"/>
                </a:solidFill>
              </a:defRPr>
            </a:lvl7pPr>
            <a:lvl8pPr lvl="7" rtl="0">
              <a:buNone/>
              <a:defRPr sz="1733">
                <a:solidFill>
                  <a:schemeClr val="dk1"/>
                </a:solidFill>
              </a:defRPr>
            </a:lvl8pPr>
            <a:lvl9pPr lvl="8" rtl="0">
              <a:buNone/>
              <a:defRPr sz="1733">
                <a:solidFill>
                  <a:schemeClr val="dk1"/>
                </a:solidFill>
              </a:defRPr>
            </a:lvl9pPr>
          </a:lstStyle>
          <a:p>
            <a:fld id="{00000000-1234-1234-1234-123412341234}" type="slidenum">
              <a:rPr lang="en-GB" smtClean="0"/>
              <a:pPr/>
              <a:t>‹#›</a:t>
            </a:fld>
            <a:endParaRPr lang="en-GB"/>
          </a:p>
        </p:txBody>
      </p:sp>
    </p:spTree>
    <p:extLst>
      <p:ext uri="{BB962C8B-B14F-4D97-AF65-F5344CB8AC3E}">
        <p14:creationId xmlns:p14="http://schemas.microsoft.com/office/powerpoint/2010/main" val="3292292153"/>
      </p:ext>
    </p:extLst>
  </p:cSld>
  <p:clrMapOvr>
    <a:masterClrMapping/>
  </p:clrMapOvr>
  <p:extLst>
    <p:ext uri="{DCECCB84-F9BA-43D5-87BE-67443E8EF086}">
      <p15:sldGuideLst xmlns:p15="http://schemas.microsoft.com/office/powerpoint/2012/main">
        <p15:guide id="1" orient="horz" pos="2322">
          <p15:clr>
            <a:srgbClr val="E46962"/>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Title Slide 2 - Lunar">
  <p:cSld name="Title Slide 2 - Lunar">
    <p:bg>
      <p:bgPr>
        <a:solidFill>
          <a:schemeClr val="lt2"/>
        </a:solidFill>
        <a:effectLst/>
      </p:bgPr>
    </p:bg>
    <p:spTree>
      <p:nvGrpSpPr>
        <p:cNvPr id="1" name="Shape 82"/>
        <p:cNvGrpSpPr/>
        <p:nvPr/>
      </p:nvGrpSpPr>
      <p:grpSpPr>
        <a:xfrm>
          <a:off x="0" y="0"/>
          <a:ext cx="0" cy="0"/>
          <a:chOff x="0" y="0"/>
          <a:chExt cx="0" cy="0"/>
        </a:xfrm>
      </p:grpSpPr>
      <p:grpSp>
        <p:nvGrpSpPr>
          <p:cNvPr id="83" name="Google Shape;83;p8"/>
          <p:cNvGrpSpPr/>
          <p:nvPr/>
        </p:nvGrpSpPr>
        <p:grpSpPr>
          <a:xfrm>
            <a:off x="5127359" y="5371262"/>
            <a:ext cx="1937284" cy="324700"/>
            <a:chOff x="2455289" y="1451556"/>
            <a:chExt cx="2208151" cy="370100"/>
          </a:xfrm>
        </p:grpSpPr>
        <p:sp>
          <p:nvSpPr>
            <p:cNvPr id="84" name="Google Shape;84;p8"/>
            <p:cNvSpPr/>
            <p:nvPr/>
          </p:nvSpPr>
          <p:spPr>
            <a:xfrm>
              <a:off x="2876395" y="1554783"/>
              <a:ext cx="221938" cy="264747"/>
            </a:xfrm>
            <a:custGeom>
              <a:avLst/>
              <a:gdLst/>
              <a:ahLst/>
              <a:cxnLst/>
              <a:rect l="l" t="t" r="r" b="b"/>
              <a:pathLst>
                <a:path w="295917" h="352996" extrusionOk="0">
                  <a:moveTo>
                    <a:pt x="225076" y="193096"/>
                  </a:moveTo>
                  <a:cubicBezTo>
                    <a:pt x="225076" y="250174"/>
                    <a:pt x="194310" y="284988"/>
                    <a:pt x="148566" y="284988"/>
                  </a:cubicBezTo>
                  <a:cubicBezTo>
                    <a:pt x="101608" y="284988"/>
                    <a:pt x="70842" y="250174"/>
                    <a:pt x="70842" y="193096"/>
                  </a:cubicBezTo>
                  <a:lnTo>
                    <a:pt x="70842" y="0"/>
                  </a:lnTo>
                  <a:lnTo>
                    <a:pt x="0" y="0"/>
                  </a:lnTo>
                  <a:lnTo>
                    <a:pt x="0" y="191477"/>
                  </a:lnTo>
                  <a:cubicBezTo>
                    <a:pt x="0" y="289441"/>
                    <a:pt x="54245" y="352997"/>
                    <a:pt x="146542" y="352997"/>
                  </a:cubicBezTo>
                  <a:cubicBezTo>
                    <a:pt x="238030" y="352997"/>
                    <a:pt x="295918" y="288227"/>
                    <a:pt x="295918" y="191477"/>
                  </a:cubicBezTo>
                  <a:lnTo>
                    <a:pt x="295918" y="0"/>
                  </a:lnTo>
                  <a:lnTo>
                    <a:pt x="225076" y="0"/>
                  </a:lnTo>
                  <a:lnTo>
                    <a:pt x="225076" y="193096"/>
                  </a:lnTo>
                  <a:close/>
                </a:path>
              </a:pathLst>
            </a:custGeom>
            <a:solidFill>
              <a:schemeClr val="dk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85" name="Google Shape;85;p8"/>
            <p:cNvSpPr/>
            <p:nvPr/>
          </p:nvSpPr>
          <p:spPr>
            <a:xfrm>
              <a:off x="3150858" y="1452164"/>
              <a:ext cx="52220" cy="364027"/>
            </a:xfrm>
            <a:custGeom>
              <a:avLst/>
              <a:gdLst/>
              <a:ahLst/>
              <a:cxnLst/>
              <a:rect l="l" t="t" r="r" b="b"/>
              <a:pathLst>
                <a:path w="69627" h="485370" extrusionOk="0">
                  <a:moveTo>
                    <a:pt x="0" y="0"/>
                  </a:moveTo>
                  <a:lnTo>
                    <a:pt x="69628" y="0"/>
                  </a:lnTo>
                  <a:lnTo>
                    <a:pt x="69628" y="485370"/>
                  </a:lnTo>
                  <a:lnTo>
                    <a:pt x="0" y="485370"/>
                  </a:lnTo>
                  <a:close/>
                </a:path>
              </a:pathLst>
            </a:custGeom>
            <a:solidFill>
              <a:schemeClr val="dk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86" name="Google Shape;86;p8"/>
            <p:cNvSpPr/>
            <p:nvPr/>
          </p:nvSpPr>
          <p:spPr>
            <a:xfrm>
              <a:off x="3440501" y="1555087"/>
              <a:ext cx="52220" cy="260800"/>
            </a:xfrm>
            <a:custGeom>
              <a:avLst/>
              <a:gdLst/>
              <a:ahLst/>
              <a:cxnLst/>
              <a:rect l="l" t="t" r="r" b="b"/>
              <a:pathLst>
                <a:path w="69627" h="347733" extrusionOk="0">
                  <a:moveTo>
                    <a:pt x="0" y="0"/>
                  </a:moveTo>
                  <a:lnTo>
                    <a:pt x="69627" y="0"/>
                  </a:lnTo>
                  <a:lnTo>
                    <a:pt x="69627" y="347734"/>
                  </a:lnTo>
                  <a:lnTo>
                    <a:pt x="0" y="347734"/>
                  </a:lnTo>
                  <a:close/>
                </a:path>
              </a:pathLst>
            </a:custGeom>
            <a:solidFill>
              <a:schemeClr val="dk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87" name="Google Shape;87;p8"/>
            <p:cNvSpPr/>
            <p:nvPr/>
          </p:nvSpPr>
          <p:spPr>
            <a:xfrm>
              <a:off x="3517618" y="1555087"/>
              <a:ext cx="257764" cy="261104"/>
            </a:xfrm>
            <a:custGeom>
              <a:avLst/>
              <a:gdLst/>
              <a:ahLst/>
              <a:cxnLst/>
              <a:rect l="l" t="t" r="r" b="b"/>
              <a:pathLst>
                <a:path w="343685" h="348138" extrusionOk="0">
                  <a:moveTo>
                    <a:pt x="269200" y="0"/>
                  </a:moveTo>
                  <a:lnTo>
                    <a:pt x="172045" y="255842"/>
                  </a:lnTo>
                  <a:lnTo>
                    <a:pt x="74081" y="0"/>
                  </a:lnTo>
                  <a:lnTo>
                    <a:pt x="0" y="0"/>
                  </a:lnTo>
                  <a:lnTo>
                    <a:pt x="136422" y="348139"/>
                  </a:lnTo>
                  <a:lnTo>
                    <a:pt x="207264" y="348139"/>
                  </a:lnTo>
                  <a:lnTo>
                    <a:pt x="343686" y="0"/>
                  </a:lnTo>
                  <a:close/>
                </a:path>
              </a:pathLst>
            </a:custGeom>
            <a:solidFill>
              <a:schemeClr val="dk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88" name="Google Shape;88;p8"/>
            <p:cNvSpPr/>
            <p:nvPr/>
          </p:nvSpPr>
          <p:spPr>
            <a:xfrm>
              <a:off x="4209848" y="1549621"/>
              <a:ext cx="188541" cy="272034"/>
            </a:xfrm>
            <a:custGeom>
              <a:avLst/>
              <a:gdLst/>
              <a:ahLst/>
              <a:cxnLst/>
              <a:rect l="l" t="t" r="r" b="b"/>
              <a:pathLst>
                <a:path w="251388" h="362712" extrusionOk="0">
                  <a:moveTo>
                    <a:pt x="150591" y="148971"/>
                  </a:moveTo>
                  <a:lnTo>
                    <a:pt x="109704" y="139660"/>
                  </a:lnTo>
                  <a:cubicBezTo>
                    <a:pt x="84606" y="133588"/>
                    <a:pt x="72057" y="120229"/>
                    <a:pt x="72057" y="102013"/>
                  </a:cubicBezTo>
                  <a:cubicBezTo>
                    <a:pt x="72057" y="76915"/>
                    <a:pt x="95131" y="61531"/>
                    <a:pt x="126302" y="62341"/>
                  </a:cubicBezTo>
                  <a:cubicBezTo>
                    <a:pt x="145328" y="62341"/>
                    <a:pt x="164759" y="68413"/>
                    <a:pt x="183380" y="77724"/>
                  </a:cubicBezTo>
                  <a:cubicBezTo>
                    <a:pt x="206454" y="88654"/>
                    <a:pt x="225886" y="104037"/>
                    <a:pt x="233577" y="111324"/>
                  </a:cubicBezTo>
                  <a:lnTo>
                    <a:pt x="233577" y="38457"/>
                  </a:lnTo>
                  <a:cubicBezTo>
                    <a:pt x="221837" y="29551"/>
                    <a:pt x="178522" y="0"/>
                    <a:pt x="123063" y="0"/>
                  </a:cubicBezTo>
                  <a:cubicBezTo>
                    <a:pt x="46149" y="0"/>
                    <a:pt x="0" y="51411"/>
                    <a:pt x="0" y="107680"/>
                  </a:cubicBezTo>
                  <a:cubicBezTo>
                    <a:pt x="0" y="161115"/>
                    <a:pt x="37648" y="187428"/>
                    <a:pt x="87439" y="199573"/>
                  </a:cubicBezTo>
                  <a:lnTo>
                    <a:pt x="127111" y="208883"/>
                  </a:lnTo>
                  <a:cubicBezTo>
                    <a:pt x="162330" y="216980"/>
                    <a:pt x="179332" y="229934"/>
                    <a:pt x="179332" y="254222"/>
                  </a:cubicBezTo>
                  <a:cubicBezTo>
                    <a:pt x="179332" y="278511"/>
                    <a:pt x="158687" y="301585"/>
                    <a:pt x="121039" y="301585"/>
                  </a:cubicBezTo>
                  <a:cubicBezTo>
                    <a:pt x="97155" y="301585"/>
                    <a:pt x="73271" y="293489"/>
                    <a:pt x="54245" y="282559"/>
                  </a:cubicBezTo>
                  <a:cubicBezTo>
                    <a:pt x="31171" y="270415"/>
                    <a:pt x="13764" y="255437"/>
                    <a:pt x="9311" y="250984"/>
                  </a:cubicBezTo>
                  <a:lnTo>
                    <a:pt x="8096" y="325065"/>
                  </a:lnTo>
                  <a:cubicBezTo>
                    <a:pt x="12549" y="329922"/>
                    <a:pt x="52626" y="362712"/>
                    <a:pt x="123468" y="362712"/>
                  </a:cubicBezTo>
                  <a:cubicBezTo>
                    <a:pt x="202406" y="362712"/>
                    <a:pt x="251388" y="307253"/>
                    <a:pt x="251388" y="250984"/>
                  </a:cubicBezTo>
                  <a:cubicBezTo>
                    <a:pt x="250579" y="201597"/>
                    <a:pt x="216979" y="163949"/>
                    <a:pt x="150591" y="148971"/>
                  </a:cubicBezTo>
                  <a:close/>
                </a:path>
              </a:pathLst>
            </a:custGeom>
            <a:solidFill>
              <a:schemeClr val="dk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89" name="Google Shape;89;p8"/>
            <p:cNvSpPr/>
            <p:nvPr/>
          </p:nvSpPr>
          <p:spPr>
            <a:xfrm>
              <a:off x="3775382" y="1552051"/>
              <a:ext cx="242584" cy="267176"/>
            </a:xfrm>
            <a:custGeom>
              <a:avLst/>
              <a:gdLst/>
              <a:ahLst/>
              <a:cxnLst/>
              <a:rect l="l" t="t" r="r" b="b"/>
              <a:pathLst>
                <a:path w="323445" h="356235" extrusionOk="0">
                  <a:moveTo>
                    <a:pt x="70842" y="150995"/>
                  </a:moveTo>
                  <a:cubicBezTo>
                    <a:pt x="79343" y="101203"/>
                    <a:pt x="112538" y="64770"/>
                    <a:pt x="164758" y="64770"/>
                  </a:cubicBezTo>
                  <a:cubicBezTo>
                    <a:pt x="216575" y="64770"/>
                    <a:pt x="247340" y="101203"/>
                    <a:pt x="255437" y="150995"/>
                  </a:cubicBezTo>
                  <a:lnTo>
                    <a:pt x="70842" y="150995"/>
                  </a:lnTo>
                  <a:close/>
                  <a:moveTo>
                    <a:pt x="164758" y="0"/>
                  </a:moveTo>
                  <a:cubicBezTo>
                    <a:pt x="70842" y="0"/>
                    <a:pt x="0" y="79748"/>
                    <a:pt x="0" y="178118"/>
                  </a:cubicBezTo>
                  <a:cubicBezTo>
                    <a:pt x="0" y="276487"/>
                    <a:pt x="76914" y="356235"/>
                    <a:pt x="180546" y="356235"/>
                  </a:cubicBezTo>
                  <a:cubicBezTo>
                    <a:pt x="259889" y="356235"/>
                    <a:pt x="303609" y="317778"/>
                    <a:pt x="303609" y="317778"/>
                  </a:cubicBezTo>
                  <a:lnTo>
                    <a:pt x="303609" y="246936"/>
                  </a:lnTo>
                  <a:cubicBezTo>
                    <a:pt x="303609" y="246936"/>
                    <a:pt x="255437" y="290655"/>
                    <a:pt x="185809" y="290655"/>
                  </a:cubicBezTo>
                  <a:cubicBezTo>
                    <a:pt x="123063" y="290655"/>
                    <a:pt x="81772" y="255032"/>
                    <a:pt x="71247" y="204835"/>
                  </a:cubicBezTo>
                  <a:lnTo>
                    <a:pt x="322231" y="204835"/>
                  </a:lnTo>
                  <a:cubicBezTo>
                    <a:pt x="323041" y="195929"/>
                    <a:pt x="323445" y="186618"/>
                    <a:pt x="323445" y="177713"/>
                  </a:cubicBezTo>
                  <a:cubicBezTo>
                    <a:pt x="323445" y="79748"/>
                    <a:pt x="256247" y="0"/>
                    <a:pt x="164758" y="0"/>
                  </a:cubicBezTo>
                  <a:close/>
                </a:path>
              </a:pathLst>
            </a:custGeom>
            <a:solidFill>
              <a:schemeClr val="dk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90" name="Google Shape;90;p8"/>
            <p:cNvSpPr/>
            <p:nvPr/>
          </p:nvSpPr>
          <p:spPr>
            <a:xfrm>
              <a:off x="3429268" y="1451556"/>
              <a:ext cx="74687" cy="65883"/>
            </a:xfrm>
            <a:custGeom>
              <a:avLst/>
              <a:gdLst/>
              <a:ahLst/>
              <a:cxnLst/>
              <a:rect l="l" t="t" r="r" b="b"/>
              <a:pathLst>
                <a:path w="99583" h="87844" extrusionOk="0">
                  <a:moveTo>
                    <a:pt x="24693" y="0"/>
                  </a:moveTo>
                  <a:lnTo>
                    <a:pt x="0" y="43720"/>
                  </a:lnTo>
                  <a:lnTo>
                    <a:pt x="24693" y="87844"/>
                  </a:lnTo>
                  <a:lnTo>
                    <a:pt x="74890" y="87844"/>
                  </a:lnTo>
                  <a:lnTo>
                    <a:pt x="99584" y="43720"/>
                  </a:lnTo>
                  <a:lnTo>
                    <a:pt x="74890" y="0"/>
                  </a:lnTo>
                  <a:close/>
                </a:path>
              </a:pathLst>
            </a:custGeom>
            <a:solidFill>
              <a:schemeClr val="dk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91" name="Google Shape;91;p8"/>
            <p:cNvSpPr/>
            <p:nvPr/>
          </p:nvSpPr>
          <p:spPr>
            <a:xfrm>
              <a:off x="2455288" y="1554783"/>
              <a:ext cx="375868" cy="261103"/>
            </a:xfrm>
            <a:custGeom>
              <a:avLst/>
              <a:gdLst/>
              <a:ahLst/>
              <a:cxnLst/>
              <a:rect l="l" t="t" r="r" b="b"/>
              <a:pathLst>
                <a:path w="501157" h="348138" extrusionOk="0">
                  <a:moveTo>
                    <a:pt x="433149" y="405"/>
                  </a:moveTo>
                  <a:lnTo>
                    <a:pt x="422219" y="405"/>
                  </a:lnTo>
                  <a:lnTo>
                    <a:pt x="422219" y="405"/>
                  </a:lnTo>
                  <a:lnTo>
                    <a:pt x="422219" y="405"/>
                  </a:lnTo>
                  <a:lnTo>
                    <a:pt x="284988" y="230338"/>
                  </a:lnTo>
                  <a:cubicBezTo>
                    <a:pt x="284988" y="192286"/>
                    <a:pt x="284178" y="405"/>
                    <a:pt x="284178" y="405"/>
                  </a:cubicBezTo>
                  <a:lnTo>
                    <a:pt x="216575" y="405"/>
                  </a:lnTo>
                  <a:lnTo>
                    <a:pt x="205645" y="405"/>
                  </a:lnTo>
                  <a:lnTo>
                    <a:pt x="205645" y="405"/>
                  </a:lnTo>
                  <a:lnTo>
                    <a:pt x="205645" y="405"/>
                  </a:lnTo>
                  <a:lnTo>
                    <a:pt x="69223" y="229529"/>
                  </a:lnTo>
                  <a:lnTo>
                    <a:pt x="68818" y="216170"/>
                  </a:lnTo>
                  <a:lnTo>
                    <a:pt x="69628" y="405"/>
                  </a:lnTo>
                  <a:lnTo>
                    <a:pt x="0" y="405"/>
                  </a:lnTo>
                  <a:lnTo>
                    <a:pt x="0" y="348139"/>
                  </a:lnTo>
                  <a:lnTo>
                    <a:pt x="69628" y="348139"/>
                  </a:lnTo>
                  <a:cubicBezTo>
                    <a:pt x="74081" y="340852"/>
                    <a:pt x="84606" y="322636"/>
                    <a:pt x="98369" y="299157"/>
                  </a:cubicBezTo>
                  <a:lnTo>
                    <a:pt x="216575" y="100394"/>
                  </a:lnTo>
                  <a:lnTo>
                    <a:pt x="216575" y="347734"/>
                  </a:lnTo>
                  <a:lnTo>
                    <a:pt x="285393" y="347734"/>
                  </a:lnTo>
                  <a:cubicBezTo>
                    <a:pt x="285393" y="347734"/>
                    <a:pt x="285393" y="347734"/>
                    <a:pt x="285393" y="347734"/>
                  </a:cubicBezTo>
                  <a:lnTo>
                    <a:pt x="285393" y="347734"/>
                  </a:lnTo>
                  <a:lnTo>
                    <a:pt x="432340" y="101608"/>
                  </a:lnTo>
                  <a:lnTo>
                    <a:pt x="432340" y="347734"/>
                  </a:lnTo>
                  <a:lnTo>
                    <a:pt x="501158" y="347734"/>
                  </a:lnTo>
                  <a:lnTo>
                    <a:pt x="501158" y="0"/>
                  </a:lnTo>
                  <a:lnTo>
                    <a:pt x="433149" y="0"/>
                  </a:lnTo>
                  <a:close/>
                </a:path>
              </a:pathLst>
            </a:custGeom>
            <a:solidFill>
              <a:schemeClr val="dk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92" name="Google Shape;92;p8"/>
            <p:cNvSpPr/>
            <p:nvPr/>
          </p:nvSpPr>
          <p:spPr>
            <a:xfrm>
              <a:off x="4428749" y="1553569"/>
              <a:ext cx="234690" cy="263229"/>
            </a:xfrm>
            <a:custGeom>
              <a:avLst/>
              <a:gdLst/>
              <a:ahLst/>
              <a:cxnLst/>
              <a:rect l="l" t="t" r="r" b="b"/>
              <a:pathLst>
                <a:path w="312920" h="350972" extrusionOk="0">
                  <a:moveTo>
                    <a:pt x="68009" y="136017"/>
                  </a:moveTo>
                  <a:cubicBezTo>
                    <a:pt x="72057" y="123468"/>
                    <a:pt x="78129" y="112538"/>
                    <a:pt x="85821" y="103227"/>
                  </a:cubicBezTo>
                  <a:cubicBezTo>
                    <a:pt x="97155" y="89059"/>
                    <a:pt x="110514" y="78533"/>
                    <a:pt x="125492" y="71247"/>
                  </a:cubicBezTo>
                  <a:cubicBezTo>
                    <a:pt x="140470" y="63960"/>
                    <a:pt x="155853" y="60317"/>
                    <a:pt x="171236" y="60317"/>
                  </a:cubicBezTo>
                  <a:cubicBezTo>
                    <a:pt x="194310" y="60317"/>
                    <a:pt x="212932" y="65580"/>
                    <a:pt x="226290" y="75700"/>
                  </a:cubicBezTo>
                  <a:cubicBezTo>
                    <a:pt x="238435" y="84606"/>
                    <a:pt x="244102" y="95941"/>
                    <a:pt x="244102" y="110918"/>
                  </a:cubicBezTo>
                  <a:cubicBezTo>
                    <a:pt x="244102" y="119420"/>
                    <a:pt x="242078" y="130350"/>
                    <a:pt x="225481" y="140065"/>
                  </a:cubicBezTo>
                  <a:cubicBezTo>
                    <a:pt x="209693" y="149376"/>
                    <a:pt x="190667" y="153829"/>
                    <a:pt x="169212" y="153829"/>
                  </a:cubicBezTo>
                  <a:cubicBezTo>
                    <a:pt x="139256" y="153424"/>
                    <a:pt x="104847" y="147757"/>
                    <a:pt x="68009" y="136017"/>
                  </a:cubicBezTo>
                  <a:close/>
                  <a:moveTo>
                    <a:pt x="277297" y="238030"/>
                  </a:moveTo>
                  <a:lnTo>
                    <a:pt x="261509" y="252603"/>
                  </a:lnTo>
                  <a:cubicBezTo>
                    <a:pt x="247746" y="265152"/>
                    <a:pt x="232767" y="274868"/>
                    <a:pt x="217789" y="281749"/>
                  </a:cubicBezTo>
                  <a:cubicBezTo>
                    <a:pt x="203216" y="288227"/>
                    <a:pt x="185809" y="291465"/>
                    <a:pt x="165164" y="291465"/>
                  </a:cubicBezTo>
                  <a:cubicBezTo>
                    <a:pt x="146542" y="291465"/>
                    <a:pt x="129540" y="287012"/>
                    <a:pt x="113348" y="278106"/>
                  </a:cubicBezTo>
                  <a:cubicBezTo>
                    <a:pt x="97155" y="269200"/>
                    <a:pt x="84606" y="257056"/>
                    <a:pt x="74890" y="240458"/>
                  </a:cubicBezTo>
                  <a:cubicBezTo>
                    <a:pt x="66389" y="226290"/>
                    <a:pt x="61937" y="211312"/>
                    <a:pt x="60722" y="193905"/>
                  </a:cubicBezTo>
                  <a:cubicBezTo>
                    <a:pt x="75700" y="198763"/>
                    <a:pt x="89869" y="202406"/>
                    <a:pt x="103227" y="205645"/>
                  </a:cubicBezTo>
                  <a:cubicBezTo>
                    <a:pt x="124682" y="210907"/>
                    <a:pt x="147352" y="213336"/>
                    <a:pt x="170021" y="213336"/>
                  </a:cubicBezTo>
                  <a:cubicBezTo>
                    <a:pt x="191881" y="213336"/>
                    <a:pt x="212932" y="209693"/>
                    <a:pt x="232767" y="202406"/>
                  </a:cubicBezTo>
                  <a:cubicBezTo>
                    <a:pt x="253413" y="194715"/>
                    <a:pt x="270415" y="183380"/>
                    <a:pt x="283774" y="168807"/>
                  </a:cubicBezTo>
                  <a:cubicBezTo>
                    <a:pt x="297942" y="152614"/>
                    <a:pt x="305229" y="133183"/>
                    <a:pt x="305229" y="110514"/>
                  </a:cubicBezTo>
                  <a:cubicBezTo>
                    <a:pt x="305229" y="89059"/>
                    <a:pt x="299157" y="69628"/>
                    <a:pt x="286607" y="52221"/>
                  </a:cubicBezTo>
                  <a:cubicBezTo>
                    <a:pt x="274868" y="35623"/>
                    <a:pt x="258271" y="22265"/>
                    <a:pt x="237625" y="13359"/>
                  </a:cubicBezTo>
                  <a:cubicBezTo>
                    <a:pt x="217789" y="4453"/>
                    <a:pt x="195525" y="0"/>
                    <a:pt x="172045" y="0"/>
                  </a:cubicBezTo>
                  <a:cubicBezTo>
                    <a:pt x="143708" y="0"/>
                    <a:pt x="116181" y="7287"/>
                    <a:pt x="90273" y="21455"/>
                  </a:cubicBezTo>
                  <a:cubicBezTo>
                    <a:pt x="63961" y="36028"/>
                    <a:pt x="42101" y="57078"/>
                    <a:pt x="25503" y="85011"/>
                  </a:cubicBezTo>
                  <a:cubicBezTo>
                    <a:pt x="8501" y="112943"/>
                    <a:pt x="0" y="146542"/>
                    <a:pt x="0" y="184999"/>
                  </a:cubicBezTo>
                  <a:cubicBezTo>
                    <a:pt x="0" y="219408"/>
                    <a:pt x="8096" y="249769"/>
                    <a:pt x="24289" y="274868"/>
                  </a:cubicBezTo>
                  <a:cubicBezTo>
                    <a:pt x="40481" y="299966"/>
                    <a:pt x="61532" y="319397"/>
                    <a:pt x="87845" y="331946"/>
                  </a:cubicBezTo>
                  <a:cubicBezTo>
                    <a:pt x="113348" y="344495"/>
                    <a:pt x="140470" y="350973"/>
                    <a:pt x="168807" y="350973"/>
                  </a:cubicBezTo>
                  <a:cubicBezTo>
                    <a:pt x="195525" y="350973"/>
                    <a:pt x="219409" y="346115"/>
                    <a:pt x="240459" y="336399"/>
                  </a:cubicBezTo>
                  <a:cubicBezTo>
                    <a:pt x="260699" y="327088"/>
                    <a:pt x="280131" y="313730"/>
                    <a:pt x="298752" y="297132"/>
                  </a:cubicBezTo>
                  <a:lnTo>
                    <a:pt x="312920" y="284583"/>
                  </a:lnTo>
                  <a:lnTo>
                    <a:pt x="277297" y="238030"/>
                  </a:lnTo>
                  <a:close/>
                </a:path>
              </a:pathLst>
            </a:custGeom>
            <a:solidFill>
              <a:schemeClr val="dk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93" name="Google Shape;93;p8"/>
            <p:cNvSpPr/>
            <p:nvPr/>
          </p:nvSpPr>
          <p:spPr>
            <a:xfrm>
              <a:off x="3227064" y="1481006"/>
              <a:ext cx="183683" cy="334577"/>
            </a:xfrm>
            <a:custGeom>
              <a:avLst/>
              <a:gdLst/>
              <a:ahLst/>
              <a:cxnLst/>
              <a:rect l="l" t="t" r="r" b="b"/>
              <a:pathLst>
                <a:path w="244911" h="446103" extrusionOk="0">
                  <a:moveTo>
                    <a:pt x="156662" y="0"/>
                  </a:moveTo>
                  <a:lnTo>
                    <a:pt x="87844" y="0"/>
                  </a:lnTo>
                  <a:lnTo>
                    <a:pt x="87844" y="98369"/>
                  </a:lnTo>
                  <a:lnTo>
                    <a:pt x="0" y="98369"/>
                  </a:lnTo>
                  <a:lnTo>
                    <a:pt x="0" y="159496"/>
                  </a:lnTo>
                  <a:lnTo>
                    <a:pt x="87844" y="159496"/>
                  </a:lnTo>
                  <a:lnTo>
                    <a:pt x="87844" y="446103"/>
                  </a:lnTo>
                  <a:lnTo>
                    <a:pt x="156662" y="446103"/>
                  </a:lnTo>
                  <a:lnTo>
                    <a:pt x="156662" y="159496"/>
                  </a:lnTo>
                  <a:lnTo>
                    <a:pt x="244912" y="159496"/>
                  </a:lnTo>
                  <a:lnTo>
                    <a:pt x="244912" y="98369"/>
                  </a:lnTo>
                  <a:lnTo>
                    <a:pt x="156662" y="98369"/>
                  </a:lnTo>
                  <a:close/>
                </a:path>
              </a:pathLst>
            </a:custGeom>
            <a:solidFill>
              <a:schemeClr val="dk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94" name="Google Shape;94;p8"/>
            <p:cNvSpPr/>
            <p:nvPr/>
          </p:nvSpPr>
          <p:spPr>
            <a:xfrm>
              <a:off x="4047416" y="1554480"/>
              <a:ext cx="140875" cy="261104"/>
            </a:xfrm>
            <a:custGeom>
              <a:avLst/>
              <a:gdLst/>
              <a:ahLst/>
              <a:cxnLst/>
              <a:rect l="l" t="t" r="r" b="b"/>
              <a:pathLst>
                <a:path w="187833" h="348138" extrusionOk="0">
                  <a:moveTo>
                    <a:pt x="4048" y="405"/>
                  </a:moveTo>
                  <a:lnTo>
                    <a:pt x="0" y="405"/>
                  </a:lnTo>
                  <a:lnTo>
                    <a:pt x="0" y="348139"/>
                  </a:lnTo>
                  <a:lnTo>
                    <a:pt x="69628" y="348139"/>
                  </a:lnTo>
                  <a:lnTo>
                    <a:pt x="69628" y="61127"/>
                  </a:lnTo>
                  <a:lnTo>
                    <a:pt x="187833" y="61127"/>
                  </a:lnTo>
                  <a:lnTo>
                    <a:pt x="187833" y="0"/>
                  </a:lnTo>
                  <a:lnTo>
                    <a:pt x="4048" y="0"/>
                  </a:lnTo>
                  <a:close/>
                </a:path>
              </a:pathLst>
            </a:custGeom>
            <a:solidFill>
              <a:schemeClr val="dk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grpSp>
      <p:sp>
        <p:nvSpPr>
          <p:cNvPr id="95" name="Google Shape;95;p8"/>
          <p:cNvSpPr txBox="1">
            <a:spLocks noGrp="1"/>
          </p:cNvSpPr>
          <p:nvPr>
            <p:ph type="title"/>
          </p:nvPr>
        </p:nvSpPr>
        <p:spPr>
          <a:xfrm>
            <a:off x="1338600" y="2309467"/>
            <a:ext cx="9514800" cy="1815600"/>
          </a:xfrm>
          <a:prstGeom prst="rect">
            <a:avLst/>
          </a:prstGeom>
        </p:spPr>
        <p:txBody>
          <a:bodyPr spcFirstLastPara="1" wrap="square" lIns="0" tIns="91425" rIns="91425" bIns="91425" anchor="t" anchorCtr="0">
            <a:noAutofit/>
          </a:bodyPr>
          <a:lstStyle>
            <a:lvl1pPr lvl="0" algn="ctr" rtl="0">
              <a:lnSpc>
                <a:spcPct val="85000"/>
              </a:lnSpc>
              <a:spcBef>
                <a:spcPts val="0"/>
              </a:spcBef>
              <a:spcAft>
                <a:spcPts val="0"/>
              </a:spcAft>
              <a:buSzPts val="4600"/>
              <a:buFont typeface="Inter Medium"/>
              <a:buNone/>
              <a:defRPr sz="6133">
                <a:latin typeface="Inter Medium"/>
                <a:ea typeface="Inter Medium"/>
                <a:cs typeface="Inter Medium"/>
                <a:sym typeface="Inter Medium"/>
              </a:defRPr>
            </a:lvl1pPr>
            <a:lvl2pPr lvl="1" rtl="0">
              <a:spcBef>
                <a:spcPts val="0"/>
              </a:spcBef>
              <a:spcAft>
                <a:spcPts val="0"/>
              </a:spcAft>
              <a:buSzPts val="1100"/>
              <a:buNone/>
              <a:defRPr/>
            </a:lvl2pPr>
            <a:lvl3pPr lvl="2" rtl="0">
              <a:spcBef>
                <a:spcPts val="0"/>
              </a:spcBef>
              <a:spcAft>
                <a:spcPts val="0"/>
              </a:spcAft>
              <a:buSzPts val="1100"/>
              <a:buNone/>
              <a:defRPr/>
            </a:lvl3pPr>
            <a:lvl4pPr lvl="3" rtl="0">
              <a:spcBef>
                <a:spcPts val="0"/>
              </a:spcBef>
              <a:spcAft>
                <a:spcPts val="0"/>
              </a:spcAft>
              <a:buSzPts val="1100"/>
              <a:buNone/>
              <a:defRPr/>
            </a:lvl4pPr>
            <a:lvl5pPr lvl="4" rtl="0">
              <a:spcBef>
                <a:spcPts val="0"/>
              </a:spcBef>
              <a:spcAft>
                <a:spcPts val="0"/>
              </a:spcAft>
              <a:buSzPts val="1100"/>
              <a:buNone/>
              <a:defRPr/>
            </a:lvl5pPr>
            <a:lvl6pPr lvl="5" rtl="0">
              <a:spcBef>
                <a:spcPts val="0"/>
              </a:spcBef>
              <a:spcAft>
                <a:spcPts val="0"/>
              </a:spcAft>
              <a:buSzPts val="1100"/>
              <a:buNone/>
              <a:defRPr/>
            </a:lvl6pPr>
            <a:lvl7pPr lvl="6" rtl="0">
              <a:spcBef>
                <a:spcPts val="0"/>
              </a:spcBef>
              <a:spcAft>
                <a:spcPts val="0"/>
              </a:spcAft>
              <a:buSzPts val="1100"/>
              <a:buNone/>
              <a:defRPr/>
            </a:lvl7pPr>
            <a:lvl8pPr lvl="7" rtl="0">
              <a:spcBef>
                <a:spcPts val="0"/>
              </a:spcBef>
              <a:spcAft>
                <a:spcPts val="0"/>
              </a:spcAft>
              <a:buSzPts val="1100"/>
              <a:buNone/>
              <a:defRPr/>
            </a:lvl8pPr>
            <a:lvl9pPr lvl="8" rtl="0">
              <a:spcBef>
                <a:spcPts val="0"/>
              </a:spcBef>
              <a:spcAft>
                <a:spcPts val="0"/>
              </a:spcAft>
              <a:buSzPts val="1100"/>
              <a:buNone/>
              <a:defRPr/>
            </a:lvl9pPr>
          </a:lstStyle>
          <a:p>
            <a:endParaRPr/>
          </a:p>
        </p:txBody>
      </p:sp>
      <p:sp>
        <p:nvSpPr>
          <p:cNvPr id="96" name="Google Shape;96;p8"/>
          <p:cNvSpPr txBox="1">
            <a:spLocks noGrp="1"/>
          </p:cNvSpPr>
          <p:nvPr>
            <p:ph type="title" idx="2"/>
          </p:nvPr>
        </p:nvSpPr>
        <p:spPr>
          <a:xfrm>
            <a:off x="4072600" y="4125200"/>
            <a:ext cx="4046800" cy="869200"/>
          </a:xfrm>
          <a:prstGeom prst="rect">
            <a:avLst/>
          </a:prstGeom>
        </p:spPr>
        <p:txBody>
          <a:bodyPr spcFirstLastPara="1" wrap="square" lIns="0" tIns="91425" rIns="91425" bIns="91425" anchor="t" anchorCtr="0">
            <a:noAutofit/>
          </a:bodyPr>
          <a:lstStyle>
            <a:lvl1pPr lvl="0" algn="ctr" rtl="0">
              <a:lnSpc>
                <a:spcPct val="75000"/>
              </a:lnSpc>
              <a:spcBef>
                <a:spcPts val="0"/>
              </a:spcBef>
              <a:spcAft>
                <a:spcPts val="0"/>
              </a:spcAft>
              <a:buClr>
                <a:schemeClr val="dk2"/>
              </a:buClr>
              <a:buSzPts val="1400"/>
              <a:buFont typeface="Inter Medium"/>
              <a:buNone/>
              <a:defRPr sz="1867">
                <a:solidFill>
                  <a:schemeClr val="dk2"/>
                </a:solidFill>
                <a:latin typeface="Inter Medium"/>
                <a:ea typeface="Inter Medium"/>
                <a:cs typeface="Inter Medium"/>
                <a:sym typeface="Inter Medium"/>
              </a:defRPr>
            </a:lvl1pPr>
            <a:lvl2pPr lvl="1" algn="ctr" rtl="0">
              <a:lnSpc>
                <a:spcPct val="75000"/>
              </a:lnSpc>
              <a:spcBef>
                <a:spcPts val="0"/>
              </a:spcBef>
              <a:spcAft>
                <a:spcPts val="0"/>
              </a:spcAft>
              <a:buClr>
                <a:schemeClr val="dk2"/>
              </a:buClr>
              <a:buSzPts val="1400"/>
              <a:buNone/>
              <a:defRPr>
                <a:solidFill>
                  <a:schemeClr val="dk2"/>
                </a:solidFill>
              </a:defRPr>
            </a:lvl2pPr>
            <a:lvl3pPr lvl="2" algn="ctr" rtl="0">
              <a:lnSpc>
                <a:spcPct val="75000"/>
              </a:lnSpc>
              <a:spcBef>
                <a:spcPts val="0"/>
              </a:spcBef>
              <a:spcAft>
                <a:spcPts val="0"/>
              </a:spcAft>
              <a:buClr>
                <a:schemeClr val="dk2"/>
              </a:buClr>
              <a:buSzPts val="1400"/>
              <a:buNone/>
              <a:defRPr>
                <a:solidFill>
                  <a:schemeClr val="dk2"/>
                </a:solidFill>
              </a:defRPr>
            </a:lvl3pPr>
            <a:lvl4pPr lvl="3" algn="ctr" rtl="0">
              <a:lnSpc>
                <a:spcPct val="75000"/>
              </a:lnSpc>
              <a:spcBef>
                <a:spcPts val="0"/>
              </a:spcBef>
              <a:spcAft>
                <a:spcPts val="0"/>
              </a:spcAft>
              <a:buClr>
                <a:schemeClr val="dk2"/>
              </a:buClr>
              <a:buSzPts val="1400"/>
              <a:buNone/>
              <a:defRPr>
                <a:solidFill>
                  <a:schemeClr val="dk2"/>
                </a:solidFill>
              </a:defRPr>
            </a:lvl4pPr>
            <a:lvl5pPr lvl="4" algn="ctr" rtl="0">
              <a:lnSpc>
                <a:spcPct val="75000"/>
              </a:lnSpc>
              <a:spcBef>
                <a:spcPts val="0"/>
              </a:spcBef>
              <a:spcAft>
                <a:spcPts val="0"/>
              </a:spcAft>
              <a:buClr>
                <a:schemeClr val="dk2"/>
              </a:buClr>
              <a:buSzPts val="1400"/>
              <a:buNone/>
              <a:defRPr>
                <a:solidFill>
                  <a:schemeClr val="dk2"/>
                </a:solidFill>
              </a:defRPr>
            </a:lvl5pPr>
            <a:lvl6pPr lvl="5" algn="ctr" rtl="0">
              <a:lnSpc>
                <a:spcPct val="75000"/>
              </a:lnSpc>
              <a:spcBef>
                <a:spcPts val="0"/>
              </a:spcBef>
              <a:spcAft>
                <a:spcPts val="0"/>
              </a:spcAft>
              <a:buClr>
                <a:schemeClr val="dk2"/>
              </a:buClr>
              <a:buSzPts val="1400"/>
              <a:buNone/>
              <a:defRPr>
                <a:solidFill>
                  <a:schemeClr val="dk2"/>
                </a:solidFill>
              </a:defRPr>
            </a:lvl6pPr>
            <a:lvl7pPr lvl="6" algn="ctr" rtl="0">
              <a:lnSpc>
                <a:spcPct val="75000"/>
              </a:lnSpc>
              <a:spcBef>
                <a:spcPts val="0"/>
              </a:spcBef>
              <a:spcAft>
                <a:spcPts val="0"/>
              </a:spcAft>
              <a:buClr>
                <a:schemeClr val="dk2"/>
              </a:buClr>
              <a:buSzPts val="1400"/>
              <a:buNone/>
              <a:defRPr>
                <a:solidFill>
                  <a:schemeClr val="dk2"/>
                </a:solidFill>
              </a:defRPr>
            </a:lvl7pPr>
            <a:lvl8pPr lvl="7" algn="ctr" rtl="0">
              <a:lnSpc>
                <a:spcPct val="75000"/>
              </a:lnSpc>
              <a:spcBef>
                <a:spcPts val="0"/>
              </a:spcBef>
              <a:spcAft>
                <a:spcPts val="0"/>
              </a:spcAft>
              <a:buClr>
                <a:schemeClr val="dk2"/>
              </a:buClr>
              <a:buSzPts val="1400"/>
              <a:buNone/>
              <a:defRPr>
                <a:solidFill>
                  <a:schemeClr val="dk2"/>
                </a:solidFill>
              </a:defRPr>
            </a:lvl8pPr>
            <a:lvl9pPr lvl="8" algn="ctr" rtl="0">
              <a:lnSpc>
                <a:spcPct val="75000"/>
              </a:lnSpc>
              <a:spcBef>
                <a:spcPts val="0"/>
              </a:spcBef>
              <a:spcAft>
                <a:spcPts val="0"/>
              </a:spcAft>
              <a:buClr>
                <a:schemeClr val="dk2"/>
              </a:buClr>
              <a:buSzPts val="1400"/>
              <a:buNone/>
              <a:defRPr>
                <a:solidFill>
                  <a:schemeClr val="dk2"/>
                </a:solidFill>
              </a:defRPr>
            </a:lvl9pPr>
          </a:lstStyle>
          <a:p>
            <a:endParaRPr/>
          </a:p>
        </p:txBody>
      </p:sp>
    </p:spTree>
    <p:extLst>
      <p:ext uri="{BB962C8B-B14F-4D97-AF65-F5344CB8AC3E}">
        <p14:creationId xmlns:p14="http://schemas.microsoft.com/office/powerpoint/2010/main" val="115364010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Title Slide with image 1">
  <p:cSld name="Title Slide with image 1">
    <p:bg>
      <p:bgPr>
        <a:solidFill>
          <a:schemeClr val="dk2"/>
        </a:solidFill>
        <a:effectLst/>
      </p:bgPr>
    </p:bg>
    <p:spTree>
      <p:nvGrpSpPr>
        <p:cNvPr id="1" name="Shape 97"/>
        <p:cNvGrpSpPr/>
        <p:nvPr/>
      </p:nvGrpSpPr>
      <p:grpSpPr>
        <a:xfrm>
          <a:off x="0" y="0"/>
          <a:ext cx="0" cy="0"/>
          <a:chOff x="0" y="0"/>
          <a:chExt cx="0" cy="0"/>
        </a:xfrm>
      </p:grpSpPr>
      <p:sp>
        <p:nvSpPr>
          <p:cNvPr id="98" name="Google Shape;98;p9"/>
          <p:cNvSpPr>
            <a:spLocks noGrp="1"/>
          </p:cNvSpPr>
          <p:nvPr>
            <p:ph type="pic" idx="2"/>
          </p:nvPr>
        </p:nvSpPr>
        <p:spPr>
          <a:xfrm>
            <a:off x="481600" y="360000"/>
            <a:ext cx="5117600" cy="6138400"/>
          </a:xfrm>
          <a:prstGeom prst="roundRect">
            <a:avLst>
              <a:gd name="adj" fmla="val 4322"/>
            </a:avLst>
          </a:prstGeom>
          <a:noFill/>
          <a:ln>
            <a:noFill/>
          </a:ln>
        </p:spPr>
      </p:sp>
      <p:grpSp>
        <p:nvGrpSpPr>
          <p:cNvPr id="99" name="Google Shape;99;p9"/>
          <p:cNvGrpSpPr/>
          <p:nvPr/>
        </p:nvGrpSpPr>
        <p:grpSpPr>
          <a:xfrm>
            <a:off x="6125617" y="702658"/>
            <a:ext cx="1566904" cy="262623"/>
            <a:chOff x="2455289" y="1451556"/>
            <a:chExt cx="2208151" cy="370100"/>
          </a:xfrm>
        </p:grpSpPr>
        <p:sp>
          <p:nvSpPr>
            <p:cNvPr id="100" name="Google Shape;100;p9"/>
            <p:cNvSpPr/>
            <p:nvPr/>
          </p:nvSpPr>
          <p:spPr>
            <a:xfrm>
              <a:off x="2876395" y="1554783"/>
              <a:ext cx="221938" cy="264747"/>
            </a:xfrm>
            <a:custGeom>
              <a:avLst/>
              <a:gdLst/>
              <a:ahLst/>
              <a:cxnLst/>
              <a:rect l="l" t="t" r="r" b="b"/>
              <a:pathLst>
                <a:path w="295917" h="352996" extrusionOk="0">
                  <a:moveTo>
                    <a:pt x="225076" y="193096"/>
                  </a:moveTo>
                  <a:cubicBezTo>
                    <a:pt x="225076" y="250174"/>
                    <a:pt x="194310" y="284988"/>
                    <a:pt x="148566" y="284988"/>
                  </a:cubicBezTo>
                  <a:cubicBezTo>
                    <a:pt x="101608" y="284988"/>
                    <a:pt x="70842" y="250174"/>
                    <a:pt x="70842" y="193096"/>
                  </a:cubicBezTo>
                  <a:lnTo>
                    <a:pt x="70842" y="0"/>
                  </a:lnTo>
                  <a:lnTo>
                    <a:pt x="0" y="0"/>
                  </a:lnTo>
                  <a:lnTo>
                    <a:pt x="0" y="191477"/>
                  </a:lnTo>
                  <a:cubicBezTo>
                    <a:pt x="0" y="289441"/>
                    <a:pt x="54245" y="352997"/>
                    <a:pt x="146542" y="352997"/>
                  </a:cubicBezTo>
                  <a:cubicBezTo>
                    <a:pt x="238030" y="352997"/>
                    <a:pt x="295918" y="288227"/>
                    <a:pt x="295918" y="191477"/>
                  </a:cubicBezTo>
                  <a:lnTo>
                    <a:pt x="295918" y="0"/>
                  </a:lnTo>
                  <a:lnTo>
                    <a:pt x="225076" y="0"/>
                  </a:lnTo>
                  <a:lnTo>
                    <a:pt x="225076" y="193096"/>
                  </a:lnTo>
                  <a:close/>
                </a:path>
              </a:pathLst>
            </a:custGeom>
            <a:solidFill>
              <a:srgbClr val="FFFFFF"/>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01" name="Google Shape;101;p9"/>
            <p:cNvSpPr/>
            <p:nvPr/>
          </p:nvSpPr>
          <p:spPr>
            <a:xfrm>
              <a:off x="3150858" y="1452164"/>
              <a:ext cx="52220" cy="364027"/>
            </a:xfrm>
            <a:custGeom>
              <a:avLst/>
              <a:gdLst/>
              <a:ahLst/>
              <a:cxnLst/>
              <a:rect l="l" t="t" r="r" b="b"/>
              <a:pathLst>
                <a:path w="69627" h="485370" extrusionOk="0">
                  <a:moveTo>
                    <a:pt x="0" y="0"/>
                  </a:moveTo>
                  <a:lnTo>
                    <a:pt x="69628" y="0"/>
                  </a:lnTo>
                  <a:lnTo>
                    <a:pt x="69628" y="485370"/>
                  </a:lnTo>
                  <a:lnTo>
                    <a:pt x="0" y="485370"/>
                  </a:lnTo>
                  <a:close/>
                </a:path>
              </a:pathLst>
            </a:custGeom>
            <a:solidFill>
              <a:srgbClr val="FFFFFF"/>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02" name="Google Shape;102;p9"/>
            <p:cNvSpPr/>
            <p:nvPr/>
          </p:nvSpPr>
          <p:spPr>
            <a:xfrm>
              <a:off x="3440501" y="1555087"/>
              <a:ext cx="52220" cy="260800"/>
            </a:xfrm>
            <a:custGeom>
              <a:avLst/>
              <a:gdLst/>
              <a:ahLst/>
              <a:cxnLst/>
              <a:rect l="l" t="t" r="r" b="b"/>
              <a:pathLst>
                <a:path w="69627" h="347733" extrusionOk="0">
                  <a:moveTo>
                    <a:pt x="0" y="0"/>
                  </a:moveTo>
                  <a:lnTo>
                    <a:pt x="69627" y="0"/>
                  </a:lnTo>
                  <a:lnTo>
                    <a:pt x="69627" y="347734"/>
                  </a:lnTo>
                  <a:lnTo>
                    <a:pt x="0" y="347734"/>
                  </a:lnTo>
                  <a:close/>
                </a:path>
              </a:pathLst>
            </a:custGeom>
            <a:solidFill>
              <a:srgbClr val="FFFFFF"/>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03" name="Google Shape;103;p9"/>
            <p:cNvSpPr/>
            <p:nvPr/>
          </p:nvSpPr>
          <p:spPr>
            <a:xfrm>
              <a:off x="3517618" y="1555087"/>
              <a:ext cx="257764" cy="261104"/>
            </a:xfrm>
            <a:custGeom>
              <a:avLst/>
              <a:gdLst/>
              <a:ahLst/>
              <a:cxnLst/>
              <a:rect l="l" t="t" r="r" b="b"/>
              <a:pathLst>
                <a:path w="343685" h="348138" extrusionOk="0">
                  <a:moveTo>
                    <a:pt x="269200" y="0"/>
                  </a:moveTo>
                  <a:lnTo>
                    <a:pt x="172045" y="255842"/>
                  </a:lnTo>
                  <a:lnTo>
                    <a:pt x="74081" y="0"/>
                  </a:lnTo>
                  <a:lnTo>
                    <a:pt x="0" y="0"/>
                  </a:lnTo>
                  <a:lnTo>
                    <a:pt x="136422" y="348139"/>
                  </a:lnTo>
                  <a:lnTo>
                    <a:pt x="207264" y="348139"/>
                  </a:lnTo>
                  <a:lnTo>
                    <a:pt x="343686" y="0"/>
                  </a:lnTo>
                  <a:close/>
                </a:path>
              </a:pathLst>
            </a:custGeom>
            <a:solidFill>
              <a:srgbClr val="FFFFFF"/>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04" name="Google Shape;104;p9"/>
            <p:cNvSpPr/>
            <p:nvPr/>
          </p:nvSpPr>
          <p:spPr>
            <a:xfrm>
              <a:off x="4209848" y="1549621"/>
              <a:ext cx="188541" cy="272034"/>
            </a:xfrm>
            <a:custGeom>
              <a:avLst/>
              <a:gdLst/>
              <a:ahLst/>
              <a:cxnLst/>
              <a:rect l="l" t="t" r="r" b="b"/>
              <a:pathLst>
                <a:path w="251388" h="362712" extrusionOk="0">
                  <a:moveTo>
                    <a:pt x="150591" y="148971"/>
                  </a:moveTo>
                  <a:lnTo>
                    <a:pt x="109704" y="139660"/>
                  </a:lnTo>
                  <a:cubicBezTo>
                    <a:pt x="84606" y="133588"/>
                    <a:pt x="72057" y="120229"/>
                    <a:pt x="72057" y="102013"/>
                  </a:cubicBezTo>
                  <a:cubicBezTo>
                    <a:pt x="72057" y="76915"/>
                    <a:pt x="95131" y="61531"/>
                    <a:pt x="126302" y="62341"/>
                  </a:cubicBezTo>
                  <a:cubicBezTo>
                    <a:pt x="145328" y="62341"/>
                    <a:pt x="164759" y="68413"/>
                    <a:pt x="183380" y="77724"/>
                  </a:cubicBezTo>
                  <a:cubicBezTo>
                    <a:pt x="206454" y="88654"/>
                    <a:pt x="225886" y="104037"/>
                    <a:pt x="233577" y="111324"/>
                  </a:cubicBezTo>
                  <a:lnTo>
                    <a:pt x="233577" y="38457"/>
                  </a:lnTo>
                  <a:cubicBezTo>
                    <a:pt x="221837" y="29551"/>
                    <a:pt x="178522" y="0"/>
                    <a:pt x="123063" y="0"/>
                  </a:cubicBezTo>
                  <a:cubicBezTo>
                    <a:pt x="46149" y="0"/>
                    <a:pt x="0" y="51411"/>
                    <a:pt x="0" y="107680"/>
                  </a:cubicBezTo>
                  <a:cubicBezTo>
                    <a:pt x="0" y="161115"/>
                    <a:pt x="37648" y="187428"/>
                    <a:pt x="87439" y="199573"/>
                  </a:cubicBezTo>
                  <a:lnTo>
                    <a:pt x="127111" y="208883"/>
                  </a:lnTo>
                  <a:cubicBezTo>
                    <a:pt x="162330" y="216980"/>
                    <a:pt x="179332" y="229934"/>
                    <a:pt x="179332" y="254222"/>
                  </a:cubicBezTo>
                  <a:cubicBezTo>
                    <a:pt x="179332" y="278511"/>
                    <a:pt x="158687" y="301585"/>
                    <a:pt x="121039" y="301585"/>
                  </a:cubicBezTo>
                  <a:cubicBezTo>
                    <a:pt x="97155" y="301585"/>
                    <a:pt x="73271" y="293489"/>
                    <a:pt x="54245" y="282559"/>
                  </a:cubicBezTo>
                  <a:cubicBezTo>
                    <a:pt x="31171" y="270415"/>
                    <a:pt x="13764" y="255437"/>
                    <a:pt x="9311" y="250984"/>
                  </a:cubicBezTo>
                  <a:lnTo>
                    <a:pt x="8096" y="325065"/>
                  </a:lnTo>
                  <a:cubicBezTo>
                    <a:pt x="12549" y="329922"/>
                    <a:pt x="52626" y="362712"/>
                    <a:pt x="123468" y="362712"/>
                  </a:cubicBezTo>
                  <a:cubicBezTo>
                    <a:pt x="202406" y="362712"/>
                    <a:pt x="251388" y="307253"/>
                    <a:pt x="251388" y="250984"/>
                  </a:cubicBezTo>
                  <a:cubicBezTo>
                    <a:pt x="250579" y="201597"/>
                    <a:pt x="216979" y="163949"/>
                    <a:pt x="150591" y="148971"/>
                  </a:cubicBezTo>
                  <a:close/>
                </a:path>
              </a:pathLst>
            </a:custGeom>
            <a:solidFill>
              <a:srgbClr val="FFFFFF"/>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05" name="Google Shape;105;p9"/>
            <p:cNvSpPr/>
            <p:nvPr/>
          </p:nvSpPr>
          <p:spPr>
            <a:xfrm>
              <a:off x="3775382" y="1552051"/>
              <a:ext cx="242584" cy="267176"/>
            </a:xfrm>
            <a:custGeom>
              <a:avLst/>
              <a:gdLst/>
              <a:ahLst/>
              <a:cxnLst/>
              <a:rect l="l" t="t" r="r" b="b"/>
              <a:pathLst>
                <a:path w="323445" h="356235" extrusionOk="0">
                  <a:moveTo>
                    <a:pt x="70842" y="150995"/>
                  </a:moveTo>
                  <a:cubicBezTo>
                    <a:pt x="79343" y="101203"/>
                    <a:pt x="112538" y="64770"/>
                    <a:pt x="164758" y="64770"/>
                  </a:cubicBezTo>
                  <a:cubicBezTo>
                    <a:pt x="216575" y="64770"/>
                    <a:pt x="247340" y="101203"/>
                    <a:pt x="255437" y="150995"/>
                  </a:cubicBezTo>
                  <a:lnTo>
                    <a:pt x="70842" y="150995"/>
                  </a:lnTo>
                  <a:close/>
                  <a:moveTo>
                    <a:pt x="164758" y="0"/>
                  </a:moveTo>
                  <a:cubicBezTo>
                    <a:pt x="70842" y="0"/>
                    <a:pt x="0" y="79748"/>
                    <a:pt x="0" y="178118"/>
                  </a:cubicBezTo>
                  <a:cubicBezTo>
                    <a:pt x="0" y="276487"/>
                    <a:pt x="76914" y="356235"/>
                    <a:pt x="180546" y="356235"/>
                  </a:cubicBezTo>
                  <a:cubicBezTo>
                    <a:pt x="259889" y="356235"/>
                    <a:pt x="303609" y="317778"/>
                    <a:pt x="303609" y="317778"/>
                  </a:cubicBezTo>
                  <a:lnTo>
                    <a:pt x="303609" y="246936"/>
                  </a:lnTo>
                  <a:cubicBezTo>
                    <a:pt x="303609" y="246936"/>
                    <a:pt x="255437" y="290655"/>
                    <a:pt x="185809" y="290655"/>
                  </a:cubicBezTo>
                  <a:cubicBezTo>
                    <a:pt x="123063" y="290655"/>
                    <a:pt x="81772" y="255032"/>
                    <a:pt x="71247" y="204835"/>
                  </a:cubicBezTo>
                  <a:lnTo>
                    <a:pt x="322231" y="204835"/>
                  </a:lnTo>
                  <a:cubicBezTo>
                    <a:pt x="323041" y="195929"/>
                    <a:pt x="323445" y="186618"/>
                    <a:pt x="323445" y="177713"/>
                  </a:cubicBezTo>
                  <a:cubicBezTo>
                    <a:pt x="323445" y="79748"/>
                    <a:pt x="256247" y="0"/>
                    <a:pt x="164758" y="0"/>
                  </a:cubicBezTo>
                  <a:close/>
                </a:path>
              </a:pathLst>
            </a:custGeom>
            <a:solidFill>
              <a:srgbClr val="FFFFFF"/>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06" name="Google Shape;106;p9"/>
            <p:cNvSpPr/>
            <p:nvPr/>
          </p:nvSpPr>
          <p:spPr>
            <a:xfrm>
              <a:off x="3429268" y="1451556"/>
              <a:ext cx="74687" cy="65883"/>
            </a:xfrm>
            <a:custGeom>
              <a:avLst/>
              <a:gdLst/>
              <a:ahLst/>
              <a:cxnLst/>
              <a:rect l="l" t="t" r="r" b="b"/>
              <a:pathLst>
                <a:path w="99583" h="87844" extrusionOk="0">
                  <a:moveTo>
                    <a:pt x="24693" y="0"/>
                  </a:moveTo>
                  <a:lnTo>
                    <a:pt x="0" y="43720"/>
                  </a:lnTo>
                  <a:lnTo>
                    <a:pt x="24693" y="87844"/>
                  </a:lnTo>
                  <a:lnTo>
                    <a:pt x="74890" y="87844"/>
                  </a:lnTo>
                  <a:lnTo>
                    <a:pt x="99584" y="43720"/>
                  </a:lnTo>
                  <a:lnTo>
                    <a:pt x="74890" y="0"/>
                  </a:lnTo>
                  <a:close/>
                </a:path>
              </a:pathLst>
            </a:custGeom>
            <a:solidFill>
              <a:srgbClr val="FFFFFF"/>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07" name="Google Shape;107;p9"/>
            <p:cNvSpPr/>
            <p:nvPr/>
          </p:nvSpPr>
          <p:spPr>
            <a:xfrm>
              <a:off x="2455288" y="1554783"/>
              <a:ext cx="375868" cy="261103"/>
            </a:xfrm>
            <a:custGeom>
              <a:avLst/>
              <a:gdLst/>
              <a:ahLst/>
              <a:cxnLst/>
              <a:rect l="l" t="t" r="r" b="b"/>
              <a:pathLst>
                <a:path w="501157" h="348138" extrusionOk="0">
                  <a:moveTo>
                    <a:pt x="433149" y="405"/>
                  </a:moveTo>
                  <a:lnTo>
                    <a:pt x="422219" y="405"/>
                  </a:lnTo>
                  <a:lnTo>
                    <a:pt x="422219" y="405"/>
                  </a:lnTo>
                  <a:lnTo>
                    <a:pt x="422219" y="405"/>
                  </a:lnTo>
                  <a:lnTo>
                    <a:pt x="284988" y="230338"/>
                  </a:lnTo>
                  <a:cubicBezTo>
                    <a:pt x="284988" y="192286"/>
                    <a:pt x="284178" y="405"/>
                    <a:pt x="284178" y="405"/>
                  </a:cubicBezTo>
                  <a:lnTo>
                    <a:pt x="216575" y="405"/>
                  </a:lnTo>
                  <a:lnTo>
                    <a:pt x="205645" y="405"/>
                  </a:lnTo>
                  <a:lnTo>
                    <a:pt x="205645" y="405"/>
                  </a:lnTo>
                  <a:lnTo>
                    <a:pt x="205645" y="405"/>
                  </a:lnTo>
                  <a:lnTo>
                    <a:pt x="69223" y="229529"/>
                  </a:lnTo>
                  <a:lnTo>
                    <a:pt x="68818" y="216170"/>
                  </a:lnTo>
                  <a:lnTo>
                    <a:pt x="69628" y="405"/>
                  </a:lnTo>
                  <a:lnTo>
                    <a:pt x="0" y="405"/>
                  </a:lnTo>
                  <a:lnTo>
                    <a:pt x="0" y="348139"/>
                  </a:lnTo>
                  <a:lnTo>
                    <a:pt x="69628" y="348139"/>
                  </a:lnTo>
                  <a:cubicBezTo>
                    <a:pt x="74081" y="340852"/>
                    <a:pt x="84606" y="322636"/>
                    <a:pt x="98369" y="299157"/>
                  </a:cubicBezTo>
                  <a:lnTo>
                    <a:pt x="216575" y="100394"/>
                  </a:lnTo>
                  <a:lnTo>
                    <a:pt x="216575" y="347734"/>
                  </a:lnTo>
                  <a:lnTo>
                    <a:pt x="285393" y="347734"/>
                  </a:lnTo>
                  <a:cubicBezTo>
                    <a:pt x="285393" y="347734"/>
                    <a:pt x="285393" y="347734"/>
                    <a:pt x="285393" y="347734"/>
                  </a:cubicBezTo>
                  <a:lnTo>
                    <a:pt x="285393" y="347734"/>
                  </a:lnTo>
                  <a:lnTo>
                    <a:pt x="432340" y="101608"/>
                  </a:lnTo>
                  <a:lnTo>
                    <a:pt x="432340" y="347734"/>
                  </a:lnTo>
                  <a:lnTo>
                    <a:pt x="501158" y="347734"/>
                  </a:lnTo>
                  <a:lnTo>
                    <a:pt x="501158" y="0"/>
                  </a:lnTo>
                  <a:lnTo>
                    <a:pt x="433149" y="0"/>
                  </a:lnTo>
                  <a:close/>
                </a:path>
              </a:pathLst>
            </a:custGeom>
            <a:solidFill>
              <a:srgbClr val="FFFFFF"/>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08" name="Google Shape;108;p9"/>
            <p:cNvSpPr/>
            <p:nvPr/>
          </p:nvSpPr>
          <p:spPr>
            <a:xfrm>
              <a:off x="4428749" y="1553569"/>
              <a:ext cx="234690" cy="263229"/>
            </a:xfrm>
            <a:custGeom>
              <a:avLst/>
              <a:gdLst/>
              <a:ahLst/>
              <a:cxnLst/>
              <a:rect l="l" t="t" r="r" b="b"/>
              <a:pathLst>
                <a:path w="312920" h="350972" extrusionOk="0">
                  <a:moveTo>
                    <a:pt x="68009" y="136017"/>
                  </a:moveTo>
                  <a:cubicBezTo>
                    <a:pt x="72057" y="123468"/>
                    <a:pt x="78129" y="112538"/>
                    <a:pt x="85821" y="103227"/>
                  </a:cubicBezTo>
                  <a:cubicBezTo>
                    <a:pt x="97155" y="89059"/>
                    <a:pt x="110514" y="78533"/>
                    <a:pt x="125492" y="71247"/>
                  </a:cubicBezTo>
                  <a:cubicBezTo>
                    <a:pt x="140470" y="63960"/>
                    <a:pt x="155853" y="60317"/>
                    <a:pt x="171236" y="60317"/>
                  </a:cubicBezTo>
                  <a:cubicBezTo>
                    <a:pt x="194310" y="60317"/>
                    <a:pt x="212932" y="65580"/>
                    <a:pt x="226290" y="75700"/>
                  </a:cubicBezTo>
                  <a:cubicBezTo>
                    <a:pt x="238435" y="84606"/>
                    <a:pt x="244102" y="95941"/>
                    <a:pt x="244102" y="110918"/>
                  </a:cubicBezTo>
                  <a:cubicBezTo>
                    <a:pt x="244102" y="119420"/>
                    <a:pt x="242078" y="130350"/>
                    <a:pt x="225481" y="140065"/>
                  </a:cubicBezTo>
                  <a:cubicBezTo>
                    <a:pt x="209693" y="149376"/>
                    <a:pt x="190667" y="153829"/>
                    <a:pt x="169212" y="153829"/>
                  </a:cubicBezTo>
                  <a:cubicBezTo>
                    <a:pt x="139256" y="153424"/>
                    <a:pt x="104847" y="147757"/>
                    <a:pt x="68009" y="136017"/>
                  </a:cubicBezTo>
                  <a:close/>
                  <a:moveTo>
                    <a:pt x="277297" y="238030"/>
                  </a:moveTo>
                  <a:lnTo>
                    <a:pt x="261509" y="252603"/>
                  </a:lnTo>
                  <a:cubicBezTo>
                    <a:pt x="247746" y="265152"/>
                    <a:pt x="232767" y="274868"/>
                    <a:pt x="217789" y="281749"/>
                  </a:cubicBezTo>
                  <a:cubicBezTo>
                    <a:pt x="203216" y="288227"/>
                    <a:pt x="185809" y="291465"/>
                    <a:pt x="165164" y="291465"/>
                  </a:cubicBezTo>
                  <a:cubicBezTo>
                    <a:pt x="146542" y="291465"/>
                    <a:pt x="129540" y="287012"/>
                    <a:pt x="113348" y="278106"/>
                  </a:cubicBezTo>
                  <a:cubicBezTo>
                    <a:pt x="97155" y="269200"/>
                    <a:pt x="84606" y="257056"/>
                    <a:pt x="74890" y="240458"/>
                  </a:cubicBezTo>
                  <a:cubicBezTo>
                    <a:pt x="66389" y="226290"/>
                    <a:pt x="61937" y="211312"/>
                    <a:pt x="60722" y="193905"/>
                  </a:cubicBezTo>
                  <a:cubicBezTo>
                    <a:pt x="75700" y="198763"/>
                    <a:pt x="89869" y="202406"/>
                    <a:pt x="103227" y="205645"/>
                  </a:cubicBezTo>
                  <a:cubicBezTo>
                    <a:pt x="124682" y="210907"/>
                    <a:pt x="147352" y="213336"/>
                    <a:pt x="170021" y="213336"/>
                  </a:cubicBezTo>
                  <a:cubicBezTo>
                    <a:pt x="191881" y="213336"/>
                    <a:pt x="212932" y="209693"/>
                    <a:pt x="232767" y="202406"/>
                  </a:cubicBezTo>
                  <a:cubicBezTo>
                    <a:pt x="253413" y="194715"/>
                    <a:pt x="270415" y="183380"/>
                    <a:pt x="283774" y="168807"/>
                  </a:cubicBezTo>
                  <a:cubicBezTo>
                    <a:pt x="297942" y="152614"/>
                    <a:pt x="305229" y="133183"/>
                    <a:pt x="305229" y="110514"/>
                  </a:cubicBezTo>
                  <a:cubicBezTo>
                    <a:pt x="305229" y="89059"/>
                    <a:pt x="299157" y="69628"/>
                    <a:pt x="286607" y="52221"/>
                  </a:cubicBezTo>
                  <a:cubicBezTo>
                    <a:pt x="274868" y="35623"/>
                    <a:pt x="258271" y="22265"/>
                    <a:pt x="237625" y="13359"/>
                  </a:cubicBezTo>
                  <a:cubicBezTo>
                    <a:pt x="217789" y="4453"/>
                    <a:pt x="195525" y="0"/>
                    <a:pt x="172045" y="0"/>
                  </a:cubicBezTo>
                  <a:cubicBezTo>
                    <a:pt x="143708" y="0"/>
                    <a:pt x="116181" y="7287"/>
                    <a:pt x="90273" y="21455"/>
                  </a:cubicBezTo>
                  <a:cubicBezTo>
                    <a:pt x="63961" y="36028"/>
                    <a:pt x="42101" y="57078"/>
                    <a:pt x="25503" y="85011"/>
                  </a:cubicBezTo>
                  <a:cubicBezTo>
                    <a:pt x="8501" y="112943"/>
                    <a:pt x="0" y="146542"/>
                    <a:pt x="0" y="184999"/>
                  </a:cubicBezTo>
                  <a:cubicBezTo>
                    <a:pt x="0" y="219408"/>
                    <a:pt x="8096" y="249769"/>
                    <a:pt x="24289" y="274868"/>
                  </a:cubicBezTo>
                  <a:cubicBezTo>
                    <a:pt x="40481" y="299966"/>
                    <a:pt x="61532" y="319397"/>
                    <a:pt x="87845" y="331946"/>
                  </a:cubicBezTo>
                  <a:cubicBezTo>
                    <a:pt x="113348" y="344495"/>
                    <a:pt x="140470" y="350973"/>
                    <a:pt x="168807" y="350973"/>
                  </a:cubicBezTo>
                  <a:cubicBezTo>
                    <a:pt x="195525" y="350973"/>
                    <a:pt x="219409" y="346115"/>
                    <a:pt x="240459" y="336399"/>
                  </a:cubicBezTo>
                  <a:cubicBezTo>
                    <a:pt x="260699" y="327088"/>
                    <a:pt x="280131" y="313730"/>
                    <a:pt x="298752" y="297132"/>
                  </a:cubicBezTo>
                  <a:lnTo>
                    <a:pt x="312920" y="284583"/>
                  </a:lnTo>
                  <a:lnTo>
                    <a:pt x="277297" y="238030"/>
                  </a:lnTo>
                  <a:close/>
                </a:path>
              </a:pathLst>
            </a:custGeom>
            <a:solidFill>
              <a:srgbClr val="FFFFFF"/>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09" name="Google Shape;109;p9"/>
            <p:cNvSpPr/>
            <p:nvPr/>
          </p:nvSpPr>
          <p:spPr>
            <a:xfrm>
              <a:off x="3227064" y="1481006"/>
              <a:ext cx="183683" cy="334577"/>
            </a:xfrm>
            <a:custGeom>
              <a:avLst/>
              <a:gdLst/>
              <a:ahLst/>
              <a:cxnLst/>
              <a:rect l="l" t="t" r="r" b="b"/>
              <a:pathLst>
                <a:path w="244911" h="446103" extrusionOk="0">
                  <a:moveTo>
                    <a:pt x="156662" y="0"/>
                  </a:moveTo>
                  <a:lnTo>
                    <a:pt x="87844" y="0"/>
                  </a:lnTo>
                  <a:lnTo>
                    <a:pt x="87844" y="98369"/>
                  </a:lnTo>
                  <a:lnTo>
                    <a:pt x="0" y="98369"/>
                  </a:lnTo>
                  <a:lnTo>
                    <a:pt x="0" y="159496"/>
                  </a:lnTo>
                  <a:lnTo>
                    <a:pt x="87844" y="159496"/>
                  </a:lnTo>
                  <a:lnTo>
                    <a:pt x="87844" y="446103"/>
                  </a:lnTo>
                  <a:lnTo>
                    <a:pt x="156662" y="446103"/>
                  </a:lnTo>
                  <a:lnTo>
                    <a:pt x="156662" y="159496"/>
                  </a:lnTo>
                  <a:lnTo>
                    <a:pt x="244912" y="159496"/>
                  </a:lnTo>
                  <a:lnTo>
                    <a:pt x="244912" y="98369"/>
                  </a:lnTo>
                  <a:lnTo>
                    <a:pt x="156662" y="98369"/>
                  </a:lnTo>
                  <a:close/>
                </a:path>
              </a:pathLst>
            </a:custGeom>
            <a:solidFill>
              <a:srgbClr val="FFFFFF"/>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10" name="Google Shape;110;p9"/>
            <p:cNvSpPr/>
            <p:nvPr/>
          </p:nvSpPr>
          <p:spPr>
            <a:xfrm>
              <a:off x="4047416" y="1554480"/>
              <a:ext cx="140875" cy="261104"/>
            </a:xfrm>
            <a:custGeom>
              <a:avLst/>
              <a:gdLst/>
              <a:ahLst/>
              <a:cxnLst/>
              <a:rect l="l" t="t" r="r" b="b"/>
              <a:pathLst>
                <a:path w="187833" h="348138" extrusionOk="0">
                  <a:moveTo>
                    <a:pt x="4048" y="405"/>
                  </a:moveTo>
                  <a:lnTo>
                    <a:pt x="0" y="405"/>
                  </a:lnTo>
                  <a:lnTo>
                    <a:pt x="0" y="348139"/>
                  </a:lnTo>
                  <a:lnTo>
                    <a:pt x="69628" y="348139"/>
                  </a:lnTo>
                  <a:lnTo>
                    <a:pt x="69628" y="61127"/>
                  </a:lnTo>
                  <a:lnTo>
                    <a:pt x="187833" y="61127"/>
                  </a:lnTo>
                  <a:lnTo>
                    <a:pt x="187833" y="0"/>
                  </a:lnTo>
                  <a:lnTo>
                    <a:pt x="4048" y="0"/>
                  </a:lnTo>
                  <a:close/>
                </a:path>
              </a:pathLst>
            </a:custGeom>
            <a:solidFill>
              <a:srgbClr val="FFFFFF"/>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grpSp>
      <p:sp>
        <p:nvSpPr>
          <p:cNvPr id="111" name="Google Shape;111;p9"/>
          <p:cNvSpPr txBox="1">
            <a:spLocks noGrp="1"/>
          </p:cNvSpPr>
          <p:nvPr>
            <p:ph type="title"/>
          </p:nvPr>
        </p:nvSpPr>
        <p:spPr>
          <a:xfrm>
            <a:off x="6125633" y="1207369"/>
            <a:ext cx="5694400" cy="2564000"/>
          </a:xfrm>
          <a:prstGeom prst="rect">
            <a:avLst/>
          </a:prstGeom>
        </p:spPr>
        <p:txBody>
          <a:bodyPr spcFirstLastPara="1" wrap="square" lIns="0" tIns="91425" rIns="91425" bIns="91425" anchor="t" anchorCtr="0">
            <a:noAutofit/>
          </a:bodyPr>
          <a:lstStyle>
            <a:lvl1pPr lvl="0" rtl="0">
              <a:lnSpc>
                <a:spcPct val="85000"/>
              </a:lnSpc>
              <a:spcBef>
                <a:spcPts val="0"/>
              </a:spcBef>
              <a:spcAft>
                <a:spcPts val="0"/>
              </a:spcAft>
              <a:buClr>
                <a:schemeClr val="lt1"/>
              </a:buClr>
              <a:buSzPts val="4600"/>
              <a:buFont typeface="Inter Medium"/>
              <a:buNone/>
              <a:defRPr sz="6133">
                <a:solidFill>
                  <a:schemeClr val="lt1"/>
                </a:solidFill>
                <a:latin typeface="Inter Medium"/>
                <a:ea typeface="Inter Medium"/>
                <a:cs typeface="Inter Medium"/>
                <a:sym typeface="Inter Medium"/>
              </a:defRPr>
            </a:lvl1pPr>
            <a:lvl2pPr lvl="1" rtl="0">
              <a:lnSpc>
                <a:spcPct val="75000"/>
              </a:lnSpc>
              <a:spcBef>
                <a:spcPts val="0"/>
              </a:spcBef>
              <a:spcAft>
                <a:spcPts val="0"/>
              </a:spcAft>
              <a:buSzPts val="1100"/>
              <a:buNone/>
              <a:defRPr/>
            </a:lvl2pPr>
            <a:lvl3pPr lvl="2" rtl="0">
              <a:lnSpc>
                <a:spcPct val="75000"/>
              </a:lnSpc>
              <a:spcBef>
                <a:spcPts val="0"/>
              </a:spcBef>
              <a:spcAft>
                <a:spcPts val="0"/>
              </a:spcAft>
              <a:buSzPts val="1100"/>
              <a:buNone/>
              <a:defRPr/>
            </a:lvl3pPr>
            <a:lvl4pPr lvl="3" rtl="0">
              <a:lnSpc>
                <a:spcPct val="75000"/>
              </a:lnSpc>
              <a:spcBef>
                <a:spcPts val="0"/>
              </a:spcBef>
              <a:spcAft>
                <a:spcPts val="0"/>
              </a:spcAft>
              <a:buSzPts val="1100"/>
              <a:buNone/>
              <a:defRPr/>
            </a:lvl4pPr>
            <a:lvl5pPr lvl="4" rtl="0">
              <a:lnSpc>
                <a:spcPct val="75000"/>
              </a:lnSpc>
              <a:spcBef>
                <a:spcPts val="0"/>
              </a:spcBef>
              <a:spcAft>
                <a:spcPts val="0"/>
              </a:spcAft>
              <a:buSzPts val="1100"/>
              <a:buNone/>
              <a:defRPr/>
            </a:lvl5pPr>
            <a:lvl6pPr lvl="5" rtl="0">
              <a:lnSpc>
                <a:spcPct val="75000"/>
              </a:lnSpc>
              <a:spcBef>
                <a:spcPts val="0"/>
              </a:spcBef>
              <a:spcAft>
                <a:spcPts val="0"/>
              </a:spcAft>
              <a:buSzPts val="1100"/>
              <a:buNone/>
              <a:defRPr/>
            </a:lvl6pPr>
            <a:lvl7pPr lvl="6" rtl="0">
              <a:lnSpc>
                <a:spcPct val="75000"/>
              </a:lnSpc>
              <a:spcBef>
                <a:spcPts val="0"/>
              </a:spcBef>
              <a:spcAft>
                <a:spcPts val="0"/>
              </a:spcAft>
              <a:buSzPts val="1100"/>
              <a:buNone/>
              <a:defRPr/>
            </a:lvl7pPr>
            <a:lvl8pPr lvl="7" rtl="0">
              <a:lnSpc>
                <a:spcPct val="75000"/>
              </a:lnSpc>
              <a:spcBef>
                <a:spcPts val="0"/>
              </a:spcBef>
              <a:spcAft>
                <a:spcPts val="0"/>
              </a:spcAft>
              <a:buSzPts val="1100"/>
              <a:buNone/>
              <a:defRPr/>
            </a:lvl8pPr>
            <a:lvl9pPr lvl="8" rtl="0">
              <a:lnSpc>
                <a:spcPct val="75000"/>
              </a:lnSpc>
              <a:spcBef>
                <a:spcPts val="0"/>
              </a:spcBef>
              <a:spcAft>
                <a:spcPts val="0"/>
              </a:spcAft>
              <a:buSzPts val="1100"/>
              <a:buNone/>
              <a:defRPr/>
            </a:lvl9pPr>
          </a:lstStyle>
          <a:p>
            <a:endParaRPr/>
          </a:p>
        </p:txBody>
      </p:sp>
      <p:sp>
        <p:nvSpPr>
          <p:cNvPr id="112" name="Google Shape;112;p9"/>
          <p:cNvSpPr txBox="1">
            <a:spLocks noGrp="1"/>
          </p:cNvSpPr>
          <p:nvPr>
            <p:ph type="title" idx="3"/>
          </p:nvPr>
        </p:nvSpPr>
        <p:spPr>
          <a:xfrm>
            <a:off x="6125633" y="3951467"/>
            <a:ext cx="4046800" cy="869200"/>
          </a:xfrm>
          <a:prstGeom prst="rect">
            <a:avLst/>
          </a:prstGeom>
        </p:spPr>
        <p:txBody>
          <a:bodyPr spcFirstLastPara="1" wrap="square" lIns="0" tIns="91425" rIns="91425" bIns="91425" anchor="t" anchorCtr="0">
            <a:noAutofit/>
          </a:bodyPr>
          <a:lstStyle>
            <a:lvl1pPr lvl="0" rtl="0">
              <a:lnSpc>
                <a:spcPct val="75000"/>
              </a:lnSpc>
              <a:spcBef>
                <a:spcPts val="0"/>
              </a:spcBef>
              <a:spcAft>
                <a:spcPts val="0"/>
              </a:spcAft>
              <a:buClr>
                <a:schemeClr val="lt1"/>
              </a:buClr>
              <a:buSzPts val="1400"/>
              <a:buFont typeface="Inter Medium"/>
              <a:buNone/>
              <a:defRPr sz="1867">
                <a:solidFill>
                  <a:schemeClr val="lt1"/>
                </a:solidFill>
                <a:latin typeface="Inter Medium"/>
                <a:ea typeface="Inter Medium"/>
                <a:cs typeface="Inter Medium"/>
                <a:sym typeface="Inter Medium"/>
              </a:defRPr>
            </a:lvl1pPr>
            <a:lvl2pPr lvl="1" rtl="0">
              <a:lnSpc>
                <a:spcPct val="75000"/>
              </a:lnSpc>
              <a:spcBef>
                <a:spcPts val="0"/>
              </a:spcBef>
              <a:spcAft>
                <a:spcPts val="0"/>
              </a:spcAft>
              <a:buClr>
                <a:schemeClr val="accent5"/>
              </a:buClr>
              <a:buSzPts val="100"/>
              <a:buNone/>
              <a:defRPr sz="133">
                <a:solidFill>
                  <a:schemeClr val="accent5"/>
                </a:solidFill>
              </a:defRPr>
            </a:lvl2pPr>
            <a:lvl3pPr lvl="2" rtl="0">
              <a:lnSpc>
                <a:spcPct val="75000"/>
              </a:lnSpc>
              <a:spcBef>
                <a:spcPts val="0"/>
              </a:spcBef>
              <a:spcAft>
                <a:spcPts val="0"/>
              </a:spcAft>
              <a:buClr>
                <a:schemeClr val="accent5"/>
              </a:buClr>
              <a:buSzPts val="100"/>
              <a:buNone/>
              <a:defRPr sz="133">
                <a:solidFill>
                  <a:schemeClr val="accent5"/>
                </a:solidFill>
              </a:defRPr>
            </a:lvl3pPr>
            <a:lvl4pPr lvl="3" rtl="0">
              <a:lnSpc>
                <a:spcPct val="75000"/>
              </a:lnSpc>
              <a:spcBef>
                <a:spcPts val="0"/>
              </a:spcBef>
              <a:spcAft>
                <a:spcPts val="0"/>
              </a:spcAft>
              <a:buClr>
                <a:schemeClr val="accent5"/>
              </a:buClr>
              <a:buSzPts val="100"/>
              <a:buNone/>
              <a:defRPr sz="133">
                <a:solidFill>
                  <a:schemeClr val="accent5"/>
                </a:solidFill>
              </a:defRPr>
            </a:lvl4pPr>
            <a:lvl5pPr lvl="4" rtl="0">
              <a:lnSpc>
                <a:spcPct val="75000"/>
              </a:lnSpc>
              <a:spcBef>
                <a:spcPts val="0"/>
              </a:spcBef>
              <a:spcAft>
                <a:spcPts val="0"/>
              </a:spcAft>
              <a:buClr>
                <a:schemeClr val="accent5"/>
              </a:buClr>
              <a:buSzPts val="100"/>
              <a:buNone/>
              <a:defRPr sz="133">
                <a:solidFill>
                  <a:schemeClr val="accent5"/>
                </a:solidFill>
              </a:defRPr>
            </a:lvl5pPr>
            <a:lvl6pPr lvl="5" rtl="0">
              <a:lnSpc>
                <a:spcPct val="75000"/>
              </a:lnSpc>
              <a:spcBef>
                <a:spcPts val="0"/>
              </a:spcBef>
              <a:spcAft>
                <a:spcPts val="0"/>
              </a:spcAft>
              <a:buClr>
                <a:schemeClr val="accent5"/>
              </a:buClr>
              <a:buSzPts val="100"/>
              <a:buNone/>
              <a:defRPr sz="133">
                <a:solidFill>
                  <a:schemeClr val="accent5"/>
                </a:solidFill>
              </a:defRPr>
            </a:lvl6pPr>
            <a:lvl7pPr lvl="6" rtl="0">
              <a:lnSpc>
                <a:spcPct val="75000"/>
              </a:lnSpc>
              <a:spcBef>
                <a:spcPts val="0"/>
              </a:spcBef>
              <a:spcAft>
                <a:spcPts val="0"/>
              </a:spcAft>
              <a:buClr>
                <a:schemeClr val="accent5"/>
              </a:buClr>
              <a:buSzPts val="100"/>
              <a:buNone/>
              <a:defRPr sz="133">
                <a:solidFill>
                  <a:schemeClr val="accent5"/>
                </a:solidFill>
              </a:defRPr>
            </a:lvl7pPr>
            <a:lvl8pPr lvl="7" rtl="0">
              <a:lnSpc>
                <a:spcPct val="75000"/>
              </a:lnSpc>
              <a:spcBef>
                <a:spcPts val="0"/>
              </a:spcBef>
              <a:spcAft>
                <a:spcPts val="0"/>
              </a:spcAft>
              <a:buClr>
                <a:schemeClr val="accent5"/>
              </a:buClr>
              <a:buSzPts val="100"/>
              <a:buNone/>
              <a:defRPr sz="133">
                <a:solidFill>
                  <a:schemeClr val="accent5"/>
                </a:solidFill>
              </a:defRPr>
            </a:lvl8pPr>
            <a:lvl9pPr lvl="8" rtl="0">
              <a:lnSpc>
                <a:spcPct val="75000"/>
              </a:lnSpc>
              <a:spcBef>
                <a:spcPts val="0"/>
              </a:spcBef>
              <a:spcAft>
                <a:spcPts val="0"/>
              </a:spcAft>
              <a:buClr>
                <a:schemeClr val="accent5"/>
              </a:buClr>
              <a:buSzPts val="100"/>
              <a:buNone/>
              <a:defRPr sz="133">
                <a:solidFill>
                  <a:schemeClr val="accent5"/>
                </a:solidFill>
              </a:defRPr>
            </a:lvl9pPr>
          </a:lstStyle>
          <a:p>
            <a:endParaRPr/>
          </a:p>
        </p:txBody>
      </p:sp>
      <p:sp>
        <p:nvSpPr>
          <p:cNvPr id="113" name="Google Shape;113;p9"/>
          <p:cNvSpPr txBox="1">
            <a:spLocks noGrp="1"/>
          </p:cNvSpPr>
          <p:nvPr>
            <p:ph type="subTitle" idx="1"/>
          </p:nvPr>
        </p:nvSpPr>
        <p:spPr>
          <a:xfrm>
            <a:off x="6142300" y="6211100"/>
            <a:ext cx="3325600" cy="286800"/>
          </a:xfrm>
          <a:prstGeom prst="rect">
            <a:avLst/>
          </a:prstGeom>
          <a:solidFill>
            <a:schemeClr val="accent2"/>
          </a:solidFill>
          <a:ln w="28575" cap="flat" cmpd="sng">
            <a:solidFill>
              <a:schemeClr val="accent2"/>
            </a:solidFill>
            <a:prstDash val="solid"/>
            <a:round/>
            <a:headEnd type="none" w="sm" len="sm"/>
            <a:tailEnd type="none" w="sm" len="sm"/>
          </a:ln>
        </p:spPr>
        <p:txBody>
          <a:bodyPr spcFirstLastPara="1" wrap="square" lIns="36000" tIns="0" rIns="36000" bIns="0" anchor="ctr" anchorCtr="0">
            <a:noAutofit/>
          </a:bodyPr>
          <a:lstStyle>
            <a:lvl1pPr lvl="0" rtl="0">
              <a:spcBef>
                <a:spcPts val="1067"/>
              </a:spcBef>
              <a:spcAft>
                <a:spcPts val="0"/>
              </a:spcAft>
              <a:buSzPts val="1200"/>
              <a:buFont typeface="Inter Medium"/>
              <a:buNone/>
              <a:defRPr sz="1600">
                <a:latin typeface="Inter Medium"/>
                <a:ea typeface="Inter Medium"/>
                <a:cs typeface="Inter Medium"/>
                <a:sym typeface="Inter Medium"/>
              </a:defRPr>
            </a:lvl1pPr>
            <a:lvl2pPr lvl="1" rtl="0">
              <a:spcBef>
                <a:spcPts val="533"/>
              </a:spcBef>
              <a:spcAft>
                <a:spcPts val="0"/>
              </a:spcAft>
              <a:buSzPts val="1200"/>
              <a:buNone/>
              <a:defRPr/>
            </a:lvl2pPr>
            <a:lvl3pPr lvl="2" rtl="0">
              <a:spcBef>
                <a:spcPts val="533"/>
              </a:spcBef>
              <a:spcAft>
                <a:spcPts val="0"/>
              </a:spcAft>
              <a:buSzPts val="1200"/>
              <a:buNone/>
              <a:defRPr/>
            </a:lvl3pPr>
            <a:lvl4pPr lvl="3" rtl="0">
              <a:spcBef>
                <a:spcPts val="533"/>
              </a:spcBef>
              <a:spcAft>
                <a:spcPts val="0"/>
              </a:spcAft>
              <a:buSzPts val="1200"/>
              <a:buNone/>
              <a:defRPr/>
            </a:lvl4pPr>
            <a:lvl5pPr lvl="4" rtl="0">
              <a:spcBef>
                <a:spcPts val="533"/>
              </a:spcBef>
              <a:spcAft>
                <a:spcPts val="0"/>
              </a:spcAft>
              <a:buSzPts val="1200"/>
              <a:buNone/>
              <a:defRPr/>
            </a:lvl5pPr>
            <a:lvl6pPr lvl="5" rtl="0">
              <a:spcBef>
                <a:spcPts val="533"/>
              </a:spcBef>
              <a:spcAft>
                <a:spcPts val="0"/>
              </a:spcAft>
              <a:buSzPts val="1200"/>
              <a:buNone/>
              <a:defRPr/>
            </a:lvl6pPr>
            <a:lvl7pPr lvl="6" rtl="0">
              <a:spcBef>
                <a:spcPts val="533"/>
              </a:spcBef>
              <a:spcAft>
                <a:spcPts val="0"/>
              </a:spcAft>
              <a:buSzPts val="1200"/>
              <a:buNone/>
              <a:defRPr/>
            </a:lvl7pPr>
            <a:lvl8pPr lvl="7" rtl="0">
              <a:spcBef>
                <a:spcPts val="533"/>
              </a:spcBef>
              <a:spcAft>
                <a:spcPts val="0"/>
              </a:spcAft>
              <a:buSzPts val="1200"/>
              <a:buNone/>
              <a:defRPr/>
            </a:lvl8pPr>
            <a:lvl9pPr lvl="8" rtl="0">
              <a:spcBef>
                <a:spcPts val="533"/>
              </a:spcBef>
              <a:spcAft>
                <a:spcPts val="0"/>
              </a:spcAft>
              <a:buSzPts val="1200"/>
              <a:buNone/>
              <a:defRPr/>
            </a:lvl9pPr>
          </a:lstStyle>
          <a:p>
            <a:endParaRPr/>
          </a:p>
        </p:txBody>
      </p:sp>
      <p:sp>
        <p:nvSpPr>
          <p:cNvPr id="114" name="Google Shape;114;p9"/>
          <p:cNvSpPr txBox="1">
            <a:spLocks noGrp="1"/>
          </p:cNvSpPr>
          <p:nvPr>
            <p:ph type="sldNum" idx="12"/>
          </p:nvPr>
        </p:nvSpPr>
        <p:spPr>
          <a:xfrm>
            <a:off x="11409045" y="6333135"/>
            <a:ext cx="731600" cy="524800"/>
          </a:xfrm>
          <a:prstGeom prst="rect">
            <a:avLst/>
          </a:prstGeom>
        </p:spPr>
        <p:txBody>
          <a:bodyPr spcFirstLastPara="1" wrap="square" lIns="91425" tIns="91425" rIns="0" bIns="0" anchor="t" anchorCtr="0">
            <a:noAutofit/>
          </a:bodyPr>
          <a:lstStyle>
            <a:lvl1pPr lvl="0" rtl="0">
              <a:buNone/>
              <a:defRPr sz="1733">
                <a:solidFill>
                  <a:schemeClr val="dk1"/>
                </a:solidFill>
              </a:defRPr>
            </a:lvl1pPr>
            <a:lvl2pPr lvl="1" rtl="0">
              <a:buNone/>
              <a:defRPr sz="1733">
                <a:solidFill>
                  <a:schemeClr val="dk1"/>
                </a:solidFill>
              </a:defRPr>
            </a:lvl2pPr>
            <a:lvl3pPr lvl="2" rtl="0">
              <a:buNone/>
              <a:defRPr sz="1733">
                <a:solidFill>
                  <a:schemeClr val="dk1"/>
                </a:solidFill>
              </a:defRPr>
            </a:lvl3pPr>
            <a:lvl4pPr lvl="3" rtl="0">
              <a:buNone/>
              <a:defRPr sz="1733">
                <a:solidFill>
                  <a:schemeClr val="dk1"/>
                </a:solidFill>
              </a:defRPr>
            </a:lvl4pPr>
            <a:lvl5pPr lvl="4" rtl="0">
              <a:buNone/>
              <a:defRPr sz="1733">
                <a:solidFill>
                  <a:schemeClr val="dk1"/>
                </a:solidFill>
              </a:defRPr>
            </a:lvl5pPr>
            <a:lvl6pPr lvl="5" rtl="0">
              <a:buNone/>
              <a:defRPr sz="1733">
                <a:solidFill>
                  <a:schemeClr val="dk1"/>
                </a:solidFill>
              </a:defRPr>
            </a:lvl6pPr>
            <a:lvl7pPr lvl="6" rtl="0">
              <a:buNone/>
              <a:defRPr sz="1733">
                <a:solidFill>
                  <a:schemeClr val="dk1"/>
                </a:solidFill>
              </a:defRPr>
            </a:lvl7pPr>
            <a:lvl8pPr lvl="7" rtl="0">
              <a:buNone/>
              <a:defRPr sz="1733">
                <a:solidFill>
                  <a:schemeClr val="dk1"/>
                </a:solidFill>
              </a:defRPr>
            </a:lvl8pPr>
            <a:lvl9pPr lvl="8" rtl="0">
              <a:buNone/>
              <a:defRPr sz="1733">
                <a:solidFill>
                  <a:schemeClr val="dk1"/>
                </a:solidFill>
              </a:defRPr>
            </a:lvl9pPr>
          </a:lstStyle>
          <a:p>
            <a:fld id="{00000000-1234-1234-1234-123412341234}" type="slidenum">
              <a:rPr lang="en-GB" smtClean="0"/>
              <a:pPr/>
              <a:t>‹#›</a:t>
            </a:fld>
            <a:endParaRPr lang="en-GB"/>
          </a:p>
        </p:txBody>
      </p:sp>
    </p:spTree>
    <p:extLst>
      <p:ext uri="{BB962C8B-B14F-4D97-AF65-F5344CB8AC3E}">
        <p14:creationId xmlns:p14="http://schemas.microsoft.com/office/powerpoint/2010/main" val="307360733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Title Slide with Image 2">
  <p:cSld name="Title Slide with Image 2">
    <p:bg>
      <p:bgPr>
        <a:solidFill>
          <a:schemeClr val="dk2"/>
        </a:solidFill>
        <a:effectLst/>
      </p:bgPr>
    </p:bg>
    <p:spTree>
      <p:nvGrpSpPr>
        <p:cNvPr id="1" name="Shape 115"/>
        <p:cNvGrpSpPr/>
        <p:nvPr/>
      </p:nvGrpSpPr>
      <p:grpSpPr>
        <a:xfrm>
          <a:off x="0" y="0"/>
          <a:ext cx="0" cy="0"/>
          <a:chOff x="0" y="0"/>
          <a:chExt cx="0" cy="0"/>
        </a:xfrm>
      </p:grpSpPr>
      <p:sp>
        <p:nvSpPr>
          <p:cNvPr id="116" name="Google Shape;116;p10"/>
          <p:cNvSpPr>
            <a:spLocks noGrp="1"/>
          </p:cNvSpPr>
          <p:nvPr>
            <p:ph type="pic" idx="2"/>
          </p:nvPr>
        </p:nvSpPr>
        <p:spPr>
          <a:xfrm>
            <a:off x="481600" y="360000"/>
            <a:ext cx="5117600" cy="6138400"/>
          </a:xfrm>
          <a:prstGeom prst="roundRect">
            <a:avLst>
              <a:gd name="adj" fmla="val 4322"/>
            </a:avLst>
          </a:prstGeom>
          <a:noFill/>
          <a:ln>
            <a:noFill/>
          </a:ln>
        </p:spPr>
      </p:sp>
      <p:grpSp>
        <p:nvGrpSpPr>
          <p:cNvPr id="117" name="Google Shape;117;p10"/>
          <p:cNvGrpSpPr/>
          <p:nvPr/>
        </p:nvGrpSpPr>
        <p:grpSpPr>
          <a:xfrm>
            <a:off x="6125617" y="702658"/>
            <a:ext cx="1566904" cy="262623"/>
            <a:chOff x="2455289" y="1451556"/>
            <a:chExt cx="2208151" cy="370100"/>
          </a:xfrm>
        </p:grpSpPr>
        <p:sp>
          <p:nvSpPr>
            <p:cNvPr id="118" name="Google Shape;118;p10"/>
            <p:cNvSpPr/>
            <p:nvPr/>
          </p:nvSpPr>
          <p:spPr>
            <a:xfrm>
              <a:off x="2876395" y="1554783"/>
              <a:ext cx="221938" cy="264747"/>
            </a:xfrm>
            <a:custGeom>
              <a:avLst/>
              <a:gdLst/>
              <a:ahLst/>
              <a:cxnLst/>
              <a:rect l="l" t="t" r="r" b="b"/>
              <a:pathLst>
                <a:path w="295917" h="352996" extrusionOk="0">
                  <a:moveTo>
                    <a:pt x="225076" y="193096"/>
                  </a:moveTo>
                  <a:cubicBezTo>
                    <a:pt x="225076" y="250174"/>
                    <a:pt x="194310" y="284988"/>
                    <a:pt x="148566" y="284988"/>
                  </a:cubicBezTo>
                  <a:cubicBezTo>
                    <a:pt x="101608" y="284988"/>
                    <a:pt x="70842" y="250174"/>
                    <a:pt x="70842" y="193096"/>
                  </a:cubicBezTo>
                  <a:lnTo>
                    <a:pt x="70842" y="0"/>
                  </a:lnTo>
                  <a:lnTo>
                    <a:pt x="0" y="0"/>
                  </a:lnTo>
                  <a:lnTo>
                    <a:pt x="0" y="191477"/>
                  </a:lnTo>
                  <a:cubicBezTo>
                    <a:pt x="0" y="289441"/>
                    <a:pt x="54245" y="352997"/>
                    <a:pt x="146542" y="352997"/>
                  </a:cubicBezTo>
                  <a:cubicBezTo>
                    <a:pt x="238030" y="352997"/>
                    <a:pt x="295918" y="288227"/>
                    <a:pt x="295918" y="191477"/>
                  </a:cubicBezTo>
                  <a:lnTo>
                    <a:pt x="295918" y="0"/>
                  </a:lnTo>
                  <a:lnTo>
                    <a:pt x="225076" y="0"/>
                  </a:lnTo>
                  <a:lnTo>
                    <a:pt x="225076" y="193096"/>
                  </a:lnTo>
                  <a:close/>
                </a:path>
              </a:pathLst>
            </a:custGeom>
            <a:solidFill>
              <a:srgbClr val="FFFFFF"/>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19" name="Google Shape;119;p10"/>
            <p:cNvSpPr/>
            <p:nvPr/>
          </p:nvSpPr>
          <p:spPr>
            <a:xfrm>
              <a:off x="3150858" y="1452164"/>
              <a:ext cx="52220" cy="364027"/>
            </a:xfrm>
            <a:custGeom>
              <a:avLst/>
              <a:gdLst/>
              <a:ahLst/>
              <a:cxnLst/>
              <a:rect l="l" t="t" r="r" b="b"/>
              <a:pathLst>
                <a:path w="69627" h="485370" extrusionOk="0">
                  <a:moveTo>
                    <a:pt x="0" y="0"/>
                  </a:moveTo>
                  <a:lnTo>
                    <a:pt x="69628" y="0"/>
                  </a:lnTo>
                  <a:lnTo>
                    <a:pt x="69628" y="485370"/>
                  </a:lnTo>
                  <a:lnTo>
                    <a:pt x="0" y="485370"/>
                  </a:lnTo>
                  <a:close/>
                </a:path>
              </a:pathLst>
            </a:custGeom>
            <a:solidFill>
              <a:srgbClr val="FFFFFF"/>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0" name="Google Shape;120;p10"/>
            <p:cNvSpPr/>
            <p:nvPr/>
          </p:nvSpPr>
          <p:spPr>
            <a:xfrm>
              <a:off x="3440501" y="1555087"/>
              <a:ext cx="52220" cy="260800"/>
            </a:xfrm>
            <a:custGeom>
              <a:avLst/>
              <a:gdLst/>
              <a:ahLst/>
              <a:cxnLst/>
              <a:rect l="l" t="t" r="r" b="b"/>
              <a:pathLst>
                <a:path w="69627" h="347733" extrusionOk="0">
                  <a:moveTo>
                    <a:pt x="0" y="0"/>
                  </a:moveTo>
                  <a:lnTo>
                    <a:pt x="69627" y="0"/>
                  </a:lnTo>
                  <a:lnTo>
                    <a:pt x="69627" y="347734"/>
                  </a:lnTo>
                  <a:lnTo>
                    <a:pt x="0" y="347734"/>
                  </a:lnTo>
                  <a:close/>
                </a:path>
              </a:pathLst>
            </a:custGeom>
            <a:solidFill>
              <a:srgbClr val="FFFFFF"/>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1" name="Google Shape;121;p10"/>
            <p:cNvSpPr/>
            <p:nvPr/>
          </p:nvSpPr>
          <p:spPr>
            <a:xfrm>
              <a:off x="3517618" y="1555087"/>
              <a:ext cx="257764" cy="261104"/>
            </a:xfrm>
            <a:custGeom>
              <a:avLst/>
              <a:gdLst/>
              <a:ahLst/>
              <a:cxnLst/>
              <a:rect l="l" t="t" r="r" b="b"/>
              <a:pathLst>
                <a:path w="343685" h="348138" extrusionOk="0">
                  <a:moveTo>
                    <a:pt x="269200" y="0"/>
                  </a:moveTo>
                  <a:lnTo>
                    <a:pt x="172045" y="255842"/>
                  </a:lnTo>
                  <a:lnTo>
                    <a:pt x="74081" y="0"/>
                  </a:lnTo>
                  <a:lnTo>
                    <a:pt x="0" y="0"/>
                  </a:lnTo>
                  <a:lnTo>
                    <a:pt x="136422" y="348139"/>
                  </a:lnTo>
                  <a:lnTo>
                    <a:pt x="207264" y="348139"/>
                  </a:lnTo>
                  <a:lnTo>
                    <a:pt x="343686" y="0"/>
                  </a:lnTo>
                  <a:close/>
                </a:path>
              </a:pathLst>
            </a:custGeom>
            <a:solidFill>
              <a:srgbClr val="FFFFFF"/>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2" name="Google Shape;122;p10"/>
            <p:cNvSpPr/>
            <p:nvPr/>
          </p:nvSpPr>
          <p:spPr>
            <a:xfrm>
              <a:off x="4209848" y="1549621"/>
              <a:ext cx="188541" cy="272034"/>
            </a:xfrm>
            <a:custGeom>
              <a:avLst/>
              <a:gdLst/>
              <a:ahLst/>
              <a:cxnLst/>
              <a:rect l="l" t="t" r="r" b="b"/>
              <a:pathLst>
                <a:path w="251388" h="362712" extrusionOk="0">
                  <a:moveTo>
                    <a:pt x="150591" y="148971"/>
                  </a:moveTo>
                  <a:lnTo>
                    <a:pt x="109704" y="139660"/>
                  </a:lnTo>
                  <a:cubicBezTo>
                    <a:pt x="84606" y="133588"/>
                    <a:pt x="72057" y="120229"/>
                    <a:pt x="72057" y="102013"/>
                  </a:cubicBezTo>
                  <a:cubicBezTo>
                    <a:pt x="72057" y="76915"/>
                    <a:pt x="95131" y="61531"/>
                    <a:pt x="126302" y="62341"/>
                  </a:cubicBezTo>
                  <a:cubicBezTo>
                    <a:pt x="145328" y="62341"/>
                    <a:pt x="164759" y="68413"/>
                    <a:pt x="183380" y="77724"/>
                  </a:cubicBezTo>
                  <a:cubicBezTo>
                    <a:pt x="206454" y="88654"/>
                    <a:pt x="225886" y="104037"/>
                    <a:pt x="233577" y="111324"/>
                  </a:cubicBezTo>
                  <a:lnTo>
                    <a:pt x="233577" y="38457"/>
                  </a:lnTo>
                  <a:cubicBezTo>
                    <a:pt x="221837" y="29551"/>
                    <a:pt x="178522" y="0"/>
                    <a:pt x="123063" y="0"/>
                  </a:cubicBezTo>
                  <a:cubicBezTo>
                    <a:pt x="46149" y="0"/>
                    <a:pt x="0" y="51411"/>
                    <a:pt x="0" y="107680"/>
                  </a:cubicBezTo>
                  <a:cubicBezTo>
                    <a:pt x="0" y="161115"/>
                    <a:pt x="37648" y="187428"/>
                    <a:pt x="87439" y="199573"/>
                  </a:cubicBezTo>
                  <a:lnTo>
                    <a:pt x="127111" y="208883"/>
                  </a:lnTo>
                  <a:cubicBezTo>
                    <a:pt x="162330" y="216980"/>
                    <a:pt x="179332" y="229934"/>
                    <a:pt x="179332" y="254222"/>
                  </a:cubicBezTo>
                  <a:cubicBezTo>
                    <a:pt x="179332" y="278511"/>
                    <a:pt x="158687" y="301585"/>
                    <a:pt x="121039" y="301585"/>
                  </a:cubicBezTo>
                  <a:cubicBezTo>
                    <a:pt x="97155" y="301585"/>
                    <a:pt x="73271" y="293489"/>
                    <a:pt x="54245" y="282559"/>
                  </a:cubicBezTo>
                  <a:cubicBezTo>
                    <a:pt x="31171" y="270415"/>
                    <a:pt x="13764" y="255437"/>
                    <a:pt x="9311" y="250984"/>
                  </a:cubicBezTo>
                  <a:lnTo>
                    <a:pt x="8096" y="325065"/>
                  </a:lnTo>
                  <a:cubicBezTo>
                    <a:pt x="12549" y="329922"/>
                    <a:pt x="52626" y="362712"/>
                    <a:pt x="123468" y="362712"/>
                  </a:cubicBezTo>
                  <a:cubicBezTo>
                    <a:pt x="202406" y="362712"/>
                    <a:pt x="251388" y="307253"/>
                    <a:pt x="251388" y="250984"/>
                  </a:cubicBezTo>
                  <a:cubicBezTo>
                    <a:pt x="250579" y="201597"/>
                    <a:pt x="216979" y="163949"/>
                    <a:pt x="150591" y="148971"/>
                  </a:cubicBezTo>
                  <a:close/>
                </a:path>
              </a:pathLst>
            </a:custGeom>
            <a:solidFill>
              <a:srgbClr val="FFFFFF"/>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3" name="Google Shape;123;p10"/>
            <p:cNvSpPr/>
            <p:nvPr/>
          </p:nvSpPr>
          <p:spPr>
            <a:xfrm>
              <a:off x="3775382" y="1552051"/>
              <a:ext cx="242584" cy="267176"/>
            </a:xfrm>
            <a:custGeom>
              <a:avLst/>
              <a:gdLst/>
              <a:ahLst/>
              <a:cxnLst/>
              <a:rect l="l" t="t" r="r" b="b"/>
              <a:pathLst>
                <a:path w="323445" h="356235" extrusionOk="0">
                  <a:moveTo>
                    <a:pt x="70842" y="150995"/>
                  </a:moveTo>
                  <a:cubicBezTo>
                    <a:pt x="79343" y="101203"/>
                    <a:pt x="112538" y="64770"/>
                    <a:pt x="164758" y="64770"/>
                  </a:cubicBezTo>
                  <a:cubicBezTo>
                    <a:pt x="216575" y="64770"/>
                    <a:pt x="247340" y="101203"/>
                    <a:pt x="255437" y="150995"/>
                  </a:cubicBezTo>
                  <a:lnTo>
                    <a:pt x="70842" y="150995"/>
                  </a:lnTo>
                  <a:close/>
                  <a:moveTo>
                    <a:pt x="164758" y="0"/>
                  </a:moveTo>
                  <a:cubicBezTo>
                    <a:pt x="70842" y="0"/>
                    <a:pt x="0" y="79748"/>
                    <a:pt x="0" y="178118"/>
                  </a:cubicBezTo>
                  <a:cubicBezTo>
                    <a:pt x="0" y="276487"/>
                    <a:pt x="76914" y="356235"/>
                    <a:pt x="180546" y="356235"/>
                  </a:cubicBezTo>
                  <a:cubicBezTo>
                    <a:pt x="259889" y="356235"/>
                    <a:pt x="303609" y="317778"/>
                    <a:pt x="303609" y="317778"/>
                  </a:cubicBezTo>
                  <a:lnTo>
                    <a:pt x="303609" y="246936"/>
                  </a:lnTo>
                  <a:cubicBezTo>
                    <a:pt x="303609" y="246936"/>
                    <a:pt x="255437" y="290655"/>
                    <a:pt x="185809" y="290655"/>
                  </a:cubicBezTo>
                  <a:cubicBezTo>
                    <a:pt x="123063" y="290655"/>
                    <a:pt x="81772" y="255032"/>
                    <a:pt x="71247" y="204835"/>
                  </a:cubicBezTo>
                  <a:lnTo>
                    <a:pt x="322231" y="204835"/>
                  </a:lnTo>
                  <a:cubicBezTo>
                    <a:pt x="323041" y="195929"/>
                    <a:pt x="323445" y="186618"/>
                    <a:pt x="323445" y="177713"/>
                  </a:cubicBezTo>
                  <a:cubicBezTo>
                    <a:pt x="323445" y="79748"/>
                    <a:pt x="256247" y="0"/>
                    <a:pt x="164758" y="0"/>
                  </a:cubicBezTo>
                  <a:close/>
                </a:path>
              </a:pathLst>
            </a:custGeom>
            <a:solidFill>
              <a:srgbClr val="FFFFFF"/>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4" name="Google Shape;124;p10"/>
            <p:cNvSpPr/>
            <p:nvPr/>
          </p:nvSpPr>
          <p:spPr>
            <a:xfrm>
              <a:off x="3429268" y="1451556"/>
              <a:ext cx="74687" cy="65883"/>
            </a:xfrm>
            <a:custGeom>
              <a:avLst/>
              <a:gdLst/>
              <a:ahLst/>
              <a:cxnLst/>
              <a:rect l="l" t="t" r="r" b="b"/>
              <a:pathLst>
                <a:path w="99583" h="87844" extrusionOk="0">
                  <a:moveTo>
                    <a:pt x="24693" y="0"/>
                  </a:moveTo>
                  <a:lnTo>
                    <a:pt x="0" y="43720"/>
                  </a:lnTo>
                  <a:lnTo>
                    <a:pt x="24693" y="87844"/>
                  </a:lnTo>
                  <a:lnTo>
                    <a:pt x="74890" y="87844"/>
                  </a:lnTo>
                  <a:lnTo>
                    <a:pt x="99584" y="43720"/>
                  </a:lnTo>
                  <a:lnTo>
                    <a:pt x="74890" y="0"/>
                  </a:lnTo>
                  <a:close/>
                </a:path>
              </a:pathLst>
            </a:custGeom>
            <a:solidFill>
              <a:srgbClr val="FFFFFF"/>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5" name="Google Shape;125;p10"/>
            <p:cNvSpPr/>
            <p:nvPr/>
          </p:nvSpPr>
          <p:spPr>
            <a:xfrm>
              <a:off x="2455288" y="1554783"/>
              <a:ext cx="375868" cy="261103"/>
            </a:xfrm>
            <a:custGeom>
              <a:avLst/>
              <a:gdLst/>
              <a:ahLst/>
              <a:cxnLst/>
              <a:rect l="l" t="t" r="r" b="b"/>
              <a:pathLst>
                <a:path w="501157" h="348138" extrusionOk="0">
                  <a:moveTo>
                    <a:pt x="433149" y="405"/>
                  </a:moveTo>
                  <a:lnTo>
                    <a:pt x="422219" y="405"/>
                  </a:lnTo>
                  <a:lnTo>
                    <a:pt x="422219" y="405"/>
                  </a:lnTo>
                  <a:lnTo>
                    <a:pt x="422219" y="405"/>
                  </a:lnTo>
                  <a:lnTo>
                    <a:pt x="284988" y="230338"/>
                  </a:lnTo>
                  <a:cubicBezTo>
                    <a:pt x="284988" y="192286"/>
                    <a:pt x="284178" y="405"/>
                    <a:pt x="284178" y="405"/>
                  </a:cubicBezTo>
                  <a:lnTo>
                    <a:pt x="216575" y="405"/>
                  </a:lnTo>
                  <a:lnTo>
                    <a:pt x="205645" y="405"/>
                  </a:lnTo>
                  <a:lnTo>
                    <a:pt x="205645" y="405"/>
                  </a:lnTo>
                  <a:lnTo>
                    <a:pt x="205645" y="405"/>
                  </a:lnTo>
                  <a:lnTo>
                    <a:pt x="69223" y="229529"/>
                  </a:lnTo>
                  <a:lnTo>
                    <a:pt x="68818" y="216170"/>
                  </a:lnTo>
                  <a:lnTo>
                    <a:pt x="69628" y="405"/>
                  </a:lnTo>
                  <a:lnTo>
                    <a:pt x="0" y="405"/>
                  </a:lnTo>
                  <a:lnTo>
                    <a:pt x="0" y="348139"/>
                  </a:lnTo>
                  <a:lnTo>
                    <a:pt x="69628" y="348139"/>
                  </a:lnTo>
                  <a:cubicBezTo>
                    <a:pt x="74081" y="340852"/>
                    <a:pt x="84606" y="322636"/>
                    <a:pt x="98369" y="299157"/>
                  </a:cubicBezTo>
                  <a:lnTo>
                    <a:pt x="216575" y="100394"/>
                  </a:lnTo>
                  <a:lnTo>
                    <a:pt x="216575" y="347734"/>
                  </a:lnTo>
                  <a:lnTo>
                    <a:pt x="285393" y="347734"/>
                  </a:lnTo>
                  <a:cubicBezTo>
                    <a:pt x="285393" y="347734"/>
                    <a:pt x="285393" y="347734"/>
                    <a:pt x="285393" y="347734"/>
                  </a:cubicBezTo>
                  <a:lnTo>
                    <a:pt x="285393" y="347734"/>
                  </a:lnTo>
                  <a:lnTo>
                    <a:pt x="432340" y="101608"/>
                  </a:lnTo>
                  <a:lnTo>
                    <a:pt x="432340" y="347734"/>
                  </a:lnTo>
                  <a:lnTo>
                    <a:pt x="501158" y="347734"/>
                  </a:lnTo>
                  <a:lnTo>
                    <a:pt x="501158" y="0"/>
                  </a:lnTo>
                  <a:lnTo>
                    <a:pt x="433149" y="0"/>
                  </a:lnTo>
                  <a:close/>
                </a:path>
              </a:pathLst>
            </a:custGeom>
            <a:solidFill>
              <a:srgbClr val="FFFFFF"/>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6" name="Google Shape;126;p10"/>
            <p:cNvSpPr/>
            <p:nvPr/>
          </p:nvSpPr>
          <p:spPr>
            <a:xfrm>
              <a:off x="4428749" y="1553569"/>
              <a:ext cx="234690" cy="263229"/>
            </a:xfrm>
            <a:custGeom>
              <a:avLst/>
              <a:gdLst/>
              <a:ahLst/>
              <a:cxnLst/>
              <a:rect l="l" t="t" r="r" b="b"/>
              <a:pathLst>
                <a:path w="312920" h="350972" extrusionOk="0">
                  <a:moveTo>
                    <a:pt x="68009" y="136017"/>
                  </a:moveTo>
                  <a:cubicBezTo>
                    <a:pt x="72057" y="123468"/>
                    <a:pt x="78129" y="112538"/>
                    <a:pt x="85821" y="103227"/>
                  </a:cubicBezTo>
                  <a:cubicBezTo>
                    <a:pt x="97155" y="89059"/>
                    <a:pt x="110514" y="78533"/>
                    <a:pt x="125492" y="71247"/>
                  </a:cubicBezTo>
                  <a:cubicBezTo>
                    <a:pt x="140470" y="63960"/>
                    <a:pt x="155853" y="60317"/>
                    <a:pt x="171236" y="60317"/>
                  </a:cubicBezTo>
                  <a:cubicBezTo>
                    <a:pt x="194310" y="60317"/>
                    <a:pt x="212932" y="65580"/>
                    <a:pt x="226290" y="75700"/>
                  </a:cubicBezTo>
                  <a:cubicBezTo>
                    <a:pt x="238435" y="84606"/>
                    <a:pt x="244102" y="95941"/>
                    <a:pt x="244102" y="110918"/>
                  </a:cubicBezTo>
                  <a:cubicBezTo>
                    <a:pt x="244102" y="119420"/>
                    <a:pt x="242078" y="130350"/>
                    <a:pt x="225481" y="140065"/>
                  </a:cubicBezTo>
                  <a:cubicBezTo>
                    <a:pt x="209693" y="149376"/>
                    <a:pt x="190667" y="153829"/>
                    <a:pt x="169212" y="153829"/>
                  </a:cubicBezTo>
                  <a:cubicBezTo>
                    <a:pt x="139256" y="153424"/>
                    <a:pt x="104847" y="147757"/>
                    <a:pt x="68009" y="136017"/>
                  </a:cubicBezTo>
                  <a:close/>
                  <a:moveTo>
                    <a:pt x="277297" y="238030"/>
                  </a:moveTo>
                  <a:lnTo>
                    <a:pt x="261509" y="252603"/>
                  </a:lnTo>
                  <a:cubicBezTo>
                    <a:pt x="247746" y="265152"/>
                    <a:pt x="232767" y="274868"/>
                    <a:pt x="217789" y="281749"/>
                  </a:cubicBezTo>
                  <a:cubicBezTo>
                    <a:pt x="203216" y="288227"/>
                    <a:pt x="185809" y="291465"/>
                    <a:pt x="165164" y="291465"/>
                  </a:cubicBezTo>
                  <a:cubicBezTo>
                    <a:pt x="146542" y="291465"/>
                    <a:pt x="129540" y="287012"/>
                    <a:pt x="113348" y="278106"/>
                  </a:cubicBezTo>
                  <a:cubicBezTo>
                    <a:pt x="97155" y="269200"/>
                    <a:pt x="84606" y="257056"/>
                    <a:pt x="74890" y="240458"/>
                  </a:cubicBezTo>
                  <a:cubicBezTo>
                    <a:pt x="66389" y="226290"/>
                    <a:pt x="61937" y="211312"/>
                    <a:pt x="60722" y="193905"/>
                  </a:cubicBezTo>
                  <a:cubicBezTo>
                    <a:pt x="75700" y="198763"/>
                    <a:pt x="89869" y="202406"/>
                    <a:pt x="103227" y="205645"/>
                  </a:cubicBezTo>
                  <a:cubicBezTo>
                    <a:pt x="124682" y="210907"/>
                    <a:pt x="147352" y="213336"/>
                    <a:pt x="170021" y="213336"/>
                  </a:cubicBezTo>
                  <a:cubicBezTo>
                    <a:pt x="191881" y="213336"/>
                    <a:pt x="212932" y="209693"/>
                    <a:pt x="232767" y="202406"/>
                  </a:cubicBezTo>
                  <a:cubicBezTo>
                    <a:pt x="253413" y="194715"/>
                    <a:pt x="270415" y="183380"/>
                    <a:pt x="283774" y="168807"/>
                  </a:cubicBezTo>
                  <a:cubicBezTo>
                    <a:pt x="297942" y="152614"/>
                    <a:pt x="305229" y="133183"/>
                    <a:pt x="305229" y="110514"/>
                  </a:cubicBezTo>
                  <a:cubicBezTo>
                    <a:pt x="305229" y="89059"/>
                    <a:pt x="299157" y="69628"/>
                    <a:pt x="286607" y="52221"/>
                  </a:cubicBezTo>
                  <a:cubicBezTo>
                    <a:pt x="274868" y="35623"/>
                    <a:pt x="258271" y="22265"/>
                    <a:pt x="237625" y="13359"/>
                  </a:cubicBezTo>
                  <a:cubicBezTo>
                    <a:pt x="217789" y="4453"/>
                    <a:pt x="195525" y="0"/>
                    <a:pt x="172045" y="0"/>
                  </a:cubicBezTo>
                  <a:cubicBezTo>
                    <a:pt x="143708" y="0"/>
                    <a:pt x="116181" y="7287"/>
                    <a:pt x="90273" y="21455"/>
                  </a:cubicBezTo>
                  <a:cubicBezTo>
                    <a:pt x="63961" y="36028"/>
                    <a:pt x="42101" y="57078"/>
                    <a:pt x="25503" y="85011"/>
                  </a:cubicBezTo>
                  <a:cubicBezTo>
                    <a:pt x="8501" y="112943"/>
                    <a:pt x="0" y="146542"/>
                    <a:pt x="0" y="184999"/>
                  </a:cubicBezTo>
                  <a:cubicBezTo>
                    <a:pt x="0" y="219408"/>
                    <a:pt x="8096" y="249769"/>
                    <a:pt x="24289" y="274868"/>
                  </a:cubicBezTo>
                  <a:cubicBezTo>
                    <a:pt x="40481" y="299966"/>
                    <a:pt x="61532" y="319397"/>
                    <a:pt x="87845" y="331946"/>
                  </a:cubicBezTo>
                  <a:cubicBezTo>
                    <a:pt x="113348" y="344495"/>
                    <a:pt x="140470" y="350973"/>
                    <a:pt x="168807" y="350973"/>
                  </a:cubicBezTo>
                  <a:cubicBezTo>
                    <a:pt x="195525" y="350973"/>
                    <a:pt x="219409" y="346115"/>
                    <a:pt x="240459" y="336399"/>
                  </a:cubicBezTo>
                  <a:cubicBezTo>
                    <a:pt x="260699" y="327088"/>
                    <a:pt x="280131" y="313730"/>
                    <a:pt x="298752" y="297132"/>
                  </a:cubicBezTo>
                  <a:lnTo>
                    <a:pt x="312920" y="284583"/>
                  </a:lnTo>
                  <a:lnTo>
                    <a:pt x="277297" y="238030"/>
                  </a:lnTo>
                  <a:close/>
                </a:path>
              </a:pathLst>
            </a:custGeom>
            <a:solidFill>
              <a:srgbClr val="FFFFFF"/>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7" name="Google Shape;127;p10"/>
            <p:cNvSpPr/>
            <p:nvPr/>
          </p:nvSpPr>
          <p:spPr>
            <a:xfrm>
              <a:off x="3227064" y="1481006"/>
              <a:ext cx="183683" cy="334577"/>
            </a:xfrm>
            <a:custGeom>
              <a:avLst/>
              <a:gdLst/>
              <a:ahLst/>
              <a:cxnLst/>
              <a:rect l="l" t="t" r="r" b="b"/>
              <a:pathLst>
                <a:path w="244911" h="446103" extrusionOk="0">
                  <a:moveTo>
                    <a:pt x="156662" y="0"/>
                  </a:moveTo>
                  <a:lnTo>
                    <a:pt x="87844" y="0"/>
                  </a:lnTo>
                  <a:lnTo>
                    <a:pt x="87844" y="98369"/>
                  </a:lnTo>
                  <a:lnTo>
                    <a:pt x="0" y="98369"/>
                  </a:lnTo>
                  <a:lnTo>
                    <a:pt x="0" y="159496"/>
                  </a:lnTo>
                  <a:lnTo>
                    <a:pt x="87844" y="159496"/>
                  </a:lnTo>
                  <a:lnTo>
                    <a:pt x="87844" y="446103"/>
                  </a:lnTo>
                  <a:lnTo>
                    <a:pt x="156662" y="446103"/>
                  </a:lnTo>
                  <a:lnTo>
                    <a:pt x="156662" y="159496"/>
                  </a:lnTo>
                  <a:lnTo>
                    <a:pt x="244912" y="159496"/>
                  </a:lnTo>
                  <a:lnTo>
                    <a:pt x="244912" y="98369"/>
                  </a:lnTo>
                  <a:lnTo>
                    <a:pt x="156662" y="98369"/>
                  </a:lnTo>
                  <a:close/>
                </a:path>
              </a:pathLst>
            </a:custGeom>
            <a:solidFill>
              <a:srgbClr val="FFFFFF"/>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8" name="Google Shape;128;p10"/>
            <p:cNvSpPr/>
            <p:nvPr/>
          </p:nvSpPr>
          <p:spPr>
            <a:xfrm>
              <a:off x="4047416" y="1554480"/>
              <a:ext cx="140875" cy="261104"/>
            </a:xfrm>
            <a:custGeom>
              <a:avLst/>
              <a:gdLst/>
              <a:ahLst/>
              <a:cxnLst/>
              <a:rect l="l" t="t" r="r" b="b"/>
              <a:pathLst>
                <a:path w="187833" h="348138" extrusionOk="0">
                  <a:moveTo>
                    <a:pt x="4048" y="405"/>
                  </a:moveTo>
                  <a:lnTo>
                    <a:pt x="0" y="405"/>
                  </a:lnTo>
                  <a:lnTo>
                    <a:pt x="0" y="348139"/>
                  </a:lnTo>
                  <a:lnTo>
                    <a:pt x="69628" y="348139"/>
                  </a:lnTo>
                  <a:lnTo>
                    <a:pt x="69628" y="61127"/>
                  </a:lnTo>
                  <a:lnTo>
                    <a:pt x="187833" y="61127"/>
                  </a:lnTo>
                  <a:lnTo>
                    <a:pt x="187833" y="0"/>
                  </a:lnTo>
                  <a:lnTo>
                    <a:pt x="4048" y="0"/>
                  </a:lnTo>
                  <a:close/>
                </a:path>
              </a:pathLst>
            </a:custGeom>
            <a:solidFill>
              <a:srgbClr val="FFFFFF"/>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grpSp>
      <p:sp>
        <p:nvSpPr>
          <p:cNvPr id="129" name="Google Shape;129;p10"/>
          <p:cNvSpPr txBox="1">
            <a:spLocks noGrp="1"/>
          </p:cNvSpPr>
          <p:nvPr>
            <p:ph type="title"/>
          </p:nvPr>
        </p:nvSpPr>
        <p:spPr>
          <a:xfrm>
            <a:off x="6125633" y="1207369"/>
            <a:ext cx="5694400" cy="2564000"/>
          </a:xfrm>
          <a:prstGeom prst="rect">
            <a:avLst/>
          </a:prstGeom>
        </p:spPr>
        <p:txBody>
          <a:bodyPr spcFirstLastPara="1" wrap="square" lIns="0" tIns="91425" rIns="91425" bIns="91425" anchor="t" anchorCtr="0">
            <a:noAutofit/>
          </a:bodyPr>
          <a:lstStyle>
            <a:lvl1pPr lvl="0" rtl="0">
              <a:lnSpc>
                <a:spcPct val="85000"/>
              </a:lnSpc>
              <a:spcBef>
                <a:spcPts val="0"/>
              </a:spcBef>
              <a:spcAft>
                <a:spcPts val="0"/>
              </a:spcAft>
              <a:buClr>
                <a:schemeClr val="lt1"/>
              </a:buClr>
              <a:buSzPts val="4600"/>
              <a:buFont typeface="Inter Medium"/>
              <a:buNone/>
              <a:defRPr sz="6133">
                <a:solidFill>
                  <a:schemeClr val="lt1"/>
                </a:solidFill>
                <a:latin typeface="Inter Medium"/>
                <a:ea typeface="Inter Medium"/>
                <a:cs typeface="Inter Medium"/>
                <a:sym typeface="Inter Medium"/>
              </a:defRPr>
            </a:lvl1pPr>
            <a:lvl2pPr lvl="1" rtl="0">
              <a:lnSpc>
                <a:spcPct val="75000"/>
              </a:lnSpc>
              <a:spcBef>
                <a:spcPts val="0"/>
              </a:spcBef>
              <a:spcAft>
                <a:spcPts val="0"/>
              </a:spcAft>
              <a:buSzPts val="1100"/>
              <a:buNone/>
              <a:defRPr/>
            </a:lvl2pPr>
            <a:lvl3pPr lvl="2" rtl="0">
              <a:lnSpc>
                <a:spcPct val="75000"/>
              </a:lnSpc>
              <a:spcBef>
                <a:spcPts val="0"/>
              </a:spcBef>
              <a:spcAft>
                <a:spcPts val="0"/>
              </a:spcAft>
              <a:buSzPts val="1100"/>
              <a:buNone/>
              <a:defRPr/>
            </a:lvl3pPr>
            <a:lvl4pPr lvl="3" rtl="0">
              <a:lnSpc>
                <a:spcPct val="75000"/>
              </a:lnSpc>
              <a:spcBef>
                <a:spcPts val="0"/>
              </a:spcBef>
              <a:spcAft>
                <a:spcPts val="0"/>
              </a:spcAft>
              <a:buSzPts val="1100"/>
              <a:buNone/>
              <a:defRPr/>
            </a:lvl4pPr>
            <a:lvl5pPr lvl="4" rtl="0">
              <a:lnSpc>
                <a:spcPct val="75000"/>
              </a:lnSpc>
              <a:spcBef>
                <a:spcPts val="0"/>
              </a:spcBef>
              <a:spcAft>
                <a:spcPts val="0"/>
              </a:spcAft>
              <a:buSzPts val="1100"/>
              <a:buNone/>
              <a:defRPr/>
            </a:lvl5pPr>
            <a:lvl6pPr lvl="5" rtl="0">
              <a:lnSpc>
                <a:spcPct val="75000"/>
              </a:lnSpc>
              <a:spcBef>
                <a:spcPts val="0"/>
              </a:spcBef>
              <a:spcAft>
                <a:spcPts val="0"/>
              </a:spcAft>
              <a:buSzPts val="1100"/>
              <a:buNone/>
              <a:defRPr/>
            </a:lvl6pPr>
            <a:lvl7pPr lvl="6" rtl="0">
              <a:lnSpc>
                <a:spcPct val="75000"/>
              </a:lnSpc>
              <a:spcBef>
                <a:spcPts val="0"/>
              </a:spcBef>
              <a:spcAft>
                <a:spcPts val="0"/>
              </a:spcAft>
              <a:buSzPts val="1100"/>
              <a:buNone/>
              <a:defRPr/>
            </a:lvl7pPr>
            <a:lvl8pPr lvl="7" rtl="0">
              <a:lnSpc>
                <a:spcPct val="75000"/>
              </a:lnSpc>
              <a:spcBef>
                <a:spcPts val="0"/>
              </a:spcBef>
              <a:spcAft>
                <a:spcPts val="0"/>
              </a:spcAft>
              <a:buSzPts val="1100"/>
              <a:buNone/>
              <a:defRPr/>
            </a:lvl8pPr>
            <a:lvl9pPr lvl="8" rtl="0">
              <a:lnSpc>
                <a:spcPct val="75000"/>
              </a:lnSpc>
              <a:spcBef>
                <a:spcPts val="0"/>
              </a:spcBef>
              <a:spcAft>
                <a:spcPts val="0"/>
              </a:spcAft>
              <a:buSzPts val="1100"/>
              <a:buNone/>
              <a:defRPr/>
            </a:lvl9pPr>
          </a:lstStyle>
          <a:p>
            <a:endParaRPr/>
          </a:p>
        </p:txBody>
      </p:sp>
      <p:sp>
        <p:nvSpPr>
          <p:cNvPr id="130" name="Google Shape;130;p10"/>
          <p:cNvSpPr txBox="1">
            <a:spLocks noGrp="1"/>
          </p:cNvSpPr>
          <p:nvPr>
            <p:ph type="subTitle" idx="1"/>
          </p:nvPr>
        </p:nvSpPr>
        <p:spPr>
          <a:xfrm>
            <a:off x="6142300" y="4085600"/>
            <a:ext cx="3325600" cy="286800"/>
          </a:xfrm>
          <a:prstGeom prst="rect">
            <a:avLst/>
          </a:prstGeom>
          <a:solidFill>
            <a:schemeClr val="accent2"/>
          </a:solidFill>
          <a:ln w="28575" cap="flat" cmpd="sng">
            <a:solidFill>
              <a:schemeClr val="accent2"/>
            </a:solidFill>
            <a:prstDash val="solid"/>
            <a:round/>
            <a:headEnd type="none" w="sm" len="sm"/>
            <a:tailEnd type="none" w="sm" len="sm"/>
          </a:ln>
        </p:spPr>
        <p:txBody>
          <a:bodyPr spcFirstLastPara="1" wrap="square" lIns="36000" tIns="0" rIns="36000" bIns="0" anchor="ctr" anchorCtr="0">
            <a:noAutofit/>
          </a:bodyPr>
          <a:lstStyle>
            <a:lvl1pPr lvl="0" rtl="0">
              <a:spcBef>
                <a:spcPts val="1067"/>
              </a:spcBef>
              <a:spcAft>
                <a:spcPts val="0"/>
              </a:spcAft>
              <a:buSzPts val="1200"/>
              <a:buFont typeface="Inter Medium"/>
              <a:buNone/>
              <a:defRPr sz="1600">
                <a:latin typeface="Inter Medium"/>
                <a:ea typeface="Inter Medium"/>
                <a:cs typeface="Inter Medium"/>
                <a:sym typeface="Inter Medium"/>
              </a:defRPr>
            </a:lvl1pPr>
            <a:lvl2pPr lvl="1" rtl="0">
              <a:spcBef>
                <a:spcPts val="533"/>
              </a:spcBef>
              <a:spcAft>
                <a:spcPts val="0"/>
              </a:spcAft>
              <a:buSzPts val="1200"/>
              <a:buNone/>
              <a:defRPr/>
            </a:lvl2pPr>
            <a:lvl3pPr lvl="2" rtl="0">
              <a:spcBef>
                <a:spcPts val="533"/>
              </a:spcBef>
              <a:spcAft>
                <a:spcPts val="0"/>
              </a:spcAft>
              <a:buSzPts val="1200"/>
              <a:buNone/>
              <a:defRPr/>
            </a:lvl3pPr>
            <a:lvl4pPr lvl="3" rtl="0">
              <a:spcBef>
                <a:spcPts val="533"/>
              </a:spcBef>
              <a:spcAft>
                <a:spcPts val="0"/>
              </a:spcAft>
              <a:buSzPts val="1200"/>
              <a:buNone/>
              <a:defRPr/>
            </a:lvl4pPr>
            <a:lvl5pPr lvl="4" rtl="0">
              <a:spcBef>
                <a:spcPts val="533"/>
              </a:spcBef>
              <a:spcAft>
                <a:spcPts val="0"/>
              </a:spcAft>
              <a:buSzPts val="1200"/>
              <a:buNone/>
              <a:defRPr/>
            </a:lvl5pPr>
            <a:lvl6pPr lvl="5" rtl="0">
              <a:spcBef>
                <a:spcPts val="533"/>
              </a:spcBef>
              <a:spcAft>
                <a:spcPts val="0"/>
              </a:spcAft>
              <a:buSzPts val="1200"/>
              <a:buNone/>
              <a:defRPr/>
            </a:lvl6pPr>
            <a:lvl7pPr lvl="6" rtl="0">
              <a:spcBef>
                <a:spcPts val="533"/>
              </a:spcBef>
              <a:spcAft>
                <a:spcPts val="0"/>
              </a:spcAft>
              <a:buSzPts val="1200"/>
              <a:buNone/>
              <a:defRPr/>
            </a:lvl7pPr>
            <a:lvl8pPr lvl="7" rtl="0">
              <a:spcBef>
                <a:spcPts val="533"/>
              </a:spcBef>
              <a:spcAft>
                <a:spcPts val="0"/>
              </a:spcAft>
              <a:buSzPts val="1200"/>
              <a:buNone/>
              <a:defRPr/>
            </a:lvl8pPr>
            <a:lvl9pPr lvl="8" rtl="0">
              <a:spcBef>
                <a:spcPts val="533"/>
              </a:spcBef>
              <a:spcAft>
                <a:spcPts val="0"/>
              </a:spcAft>
              <a:buSzPts val="1200"/>
              <a:buNone/>
              <a:defRPr/>
            </a:lvl9pPr>
          </a:lstStyle>
          <a:p>
            <a:endParaRPr/>
          </a:p>
        </p:txBody>
      </p:sp>
      <p:sp>
        <p:nvSpPr>
          <p:cNvPr id="131" name="Google Shape;131;p10"/>
          <p:cNvSpPr txBox="1">
            <a:spLocks noGrp="1"/>
          </p:cNvSpPr>
          <p:nvPr>
            <p:ph type="sldNum" idx="12"/>
          </p:nvPr>
        </p:nvSpPr>
        <p:spPr>
          <a:xfrm>
            <a:off x="11409045" y="6333135"/>
            <a:ext cx="731600" cy="524800"/>
          </a:xfrm>
          <a:prstGeom prst="rect">
            <a:avLst/>
          </a:prstGeom>
        </p:spPr>
        <p:txBody>
          <a:bodyPr spcFirstLastPara="1" wrap="square" lIns="91425" tIns="91425" rIns="0" bIns="0" anchor="t" anchorCtr="0">
            <a:noAutofit/>
          </a:bodyPr>
          <a:lstStyle>
            <a:lvl1pPr lvl="0" rtl="0">
              <a:buNone/>
              <a:defRPr sz="1733">
                <a:solidFill>
                  <a:schemeClr val="dk1"/>
                </a:solidFill>
              </a:defRPr>
            </a:lvl1pPr>
            <a:lvl2pPr lvl="1" rtl="0">
              <a:buNone/>
              <a:defRPr sz="1733">
                <a:solidFill>
                  <a:schemeClr val="dk1"/>
                </a:solidFill>
              </a:defRPr>
            </a:lvl2pPr>
            <a:lvl3pPr lvl="2" rtl="0">
              <a:buNone/>
              <a:defRPr sz="1733">
                <a:solidFill>
                  <a:schemeClr val="dk1"/>
                </a:solidFill>
              </a:defRPr>
            </a:lvl3pPr>
            <a:lvl4pPr lvl="3" rtl="0">
              <a:buNone/>
              <a:defRPr sz="1733">
                <a:solidFill>
                  <a:schemeClr val="dk1"/>
                </a:solidFill>
              </a:defRPr>
            </a:lvl4pPr>
            <a:lvl5pPr lvl="4" rtl="0">
              <a:buNone/>
              <a:defRPr sz="1733">
                <a:solidFill>
                  <a:schemeClr val="dk1"/>
                </a:solidFill>
              </a:defRPr>
            </a:lvl5pPr>
            <a:lvl6pPr lvl="5" rtl="0">
              <a:buNone/>
              <a:defRPr sz="1733">
                <a:solidFill>
                  <a:schemeClr val="dk1"/>
                </a:solidFill>
              </a:defRPr>
            </a:lvl6pPr>
            <a:lvl7pPr lvl="6" rtl="0">
              <a:buNone/>
              <a:defRPr sz="1733">
                <a:solidFill>
                  <a:schemeClr val="dk1"/>
                </a:solidFill>
              </a:defRPr>
            </a:lvl7pPr>
            <a:lvl8pPr lvl="7" rtl="0">
              <a:buNone/>
              <a:defRPr sz="1733">
                <a:solidFill>
                  <a:schemeClr val="dk1"/>
                </a:solidFill>
              </a:defRPr>
            </a:lvl8pPr>
            <a:lvl9pPr lvl="8" rtl="0">
              <a:buNone/>
              <a:defRPr sz="1733">
                <a:solidFill>
                  <a:schemeClr val="dk1"/>
                </a:solidFill>
              </a:defRPr>
            </a:lvl9pPr>
          </a:lstStyle>
          <a:p>
            <a:fld id="{00000000-1234-1234-1234-123412341234}" type="slidenum">
              <a:rPr lang="en-GB" smtClean="0"/>
              <a:pPr/>
              <a:t>‹#›</a:t>
            </a:fld>
            <a:endParaRPr lang="en-GB"/>
          </a:p>
        </p:txBody>
      </p:sp>
    </p:spTree>
    <p:extLst>
      <p:ext uri="{BB962C8B-B14F-4D97-AF65-F5344CB8AC3E}">
        <p14:creationId xmlns:p14="http://schemas.microsoft.com/office/powerpoint/2010/main" val="429286354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Title Slide with Image 3">
  <p:cSld name="Title Slide with Image 3">
    <p:bg>
      <p:bgPr>
        <a:solidFill>
          <a:schemeClr val="dk2"/>
        </a:solidFill>
        <a:effectLst/>
      </p:bgPr>
    </p:bg>
    <p:spTree>
      <p:nvGrpSpPr>
        <p:cNvPr id="1" name="Shape 132"/>
        <p:cNvGrpSpPr/>
        <p:nvPr/>
      </p:nvGrpSpPr>
      <p:grpSpPr>
        <a:xfrm>
          <a:off x="0" y="0"/>
          <a:ext cx="0" cy="0"/>
          <a:chOff x="0" y="0"/>
          <a:chExt cx="0" cy="0"/>
        </a:xfrm>
      </p:grpSpPr>
      <p:sp>
        <p:nvSpPr>
          <p:cNvPr id="133" name="Google Shape;133;p11"/>
          <p:cNvSpPr>
            <a:spLocks noGrp="1"/>
          </p:cNvSpPr>
          <p:nvPr>
            <p:ph type="pic" idx="2"/>
          </p:nvPr>
        </p:nvSpPr>
        <p:spPr>
          <a:xfrm>
            <a:off x="6593433" y="360000"/>
            <a:ext cx="5117600" cy="6138400"/>
          </a:xfrm>
          <a:prstGeom prst="roundRect">
            <a:avLst>
              <a:gd name="adj" fmla="val 4322"/>
            </a:avLst>
          </a:prstGeom>
          <a:noFill/>
          <a:ln>
            <a:noFill/>
          </a:ln>
        </p:spPr>
      </p:sp>
      <p:grpSp>
        <p:nvGrpSpPr>
          <p:cNvPr id="134" name="Google Shape;134;p11"/>
          <p:cNvGrpSpPr/>
          <p:nvPr/>
        </p:nvGrpSpPr>
        <p:grpSpPr>
          <a:xfrm>
            <a:off x="482584" y="702658"/>
            <a:ext cx="1566904" cy="262623"/>
            <a:chOff x="2455289" y="1451556"/>
            <a:chExt cx="2208151" cy="370100"/>
          </a:xfrm>
        </p:grpSpPr>
        <p:sp>
          <p:nvSpPr>
            <p:cNvPr id="135" name="Google Shape;135;p11"/>
            <p:cNvSpPr/>
            <p:nvPr/>
          </p:nvSpPr>
          <p:spPr>
            <a:xfrm>
              <a:off x="2876395" y="1554783"/>
              <a:ext cx="221938" cy="264747"/>
            </a:xfrm>
            <a:custGeom>
              <a:avLst/>
              <a:gdLst/>
              <a:ahLst/>
              <a:cxnLst/>
              <a:rect l="l" t="t" r="r" b="b"/>
              <a:pathLst>
                <a:path w="295917" h="352996" extrusionOk="0">
                  <a:moveTo>
                    <a:pt x="225076" y="193096"/>
                  </a:moveTo>
                  <a:cubicBezTo>
                    <a:pt x="225076" y="250174"/>
                    <a:pt x="194310" y="284988"/>
                    <a:pt x="148566" y="284988"/>
                  </a:cubicBezTo>
                  <a:cubicBezTo>
                    <a:pt x="101608" y="284988"/>
                    <a:pt x="70842" y="250174"/>
                    <a:pt x="70842" y="193096"/>
                  </a:cubicBezTo>
                  <a:lnTo>
                    <a:pt x="70842" y="0"/>
                  </a:lnTo>
                  <a:lnTo>
                    <a:pt x="0" y="0"/>
                  </a:lnTo>
                  <a:lnTo>
                    <a:pt x="0" y="191477"/>
                  </a:lnTo>
                  <a:cubicBezTo>
                    <a:pt x="0" y="289441"/>
                    <a:pt x="54245" y="352997"/>
                    <a:pt x="146542" y="352997"/>
                  </a:cubicBezTo>
                  <a:cubicBezTo>
                    <a:pt x="238030" y="352997"/>
                    <a:pt x="295918" y="288227"/>
                    <a:pt x="295918" y="191477"/>
                  </a:cubicBezTo>
                  <a:lnTo>
                    <a:pt x="295918" y="0"/>
                  </a:lnTo>
                  <a:lnTo>
                    <a:pt x="225076" y="0"/>
                  </a:lnTo>
                  <a:lnTo>
                    <a:pt x="225076" y="193096"/>
                  </a:lnTo>
                  <a:close/>
                </a:path>
              </a:pathLst>
            </a:custGeom>
            <a:solidFill>
              <a:srgbClr val="FFFFFF"/>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36" name="Google Shape;136;p11"/>
            <p:cNvSpPr/>
            <p:nvPr/>
          </p:nvSpPr>
          <p:spPr>
            <a:xfrm>
              <a:off x="3150858" y="1452164"/>
              <a:ext cx="52220" cy="364027"/>
            </a:xfrm>
            <a:custGeom>
              <a:avLst/>
              <a:gdLst/>
              <a:ahLst/>
              <a:cxnLst/>
              <a:rect l="l" t="t" r="r" b="b"/>
              <a:pathLst>
                <a:path w="69627" h="485370" extrusionOk="0">
                  <a:moveTo>
                    <a:pt x="0" y="0"/>
                  </a:moveTo>
                  <a:lnTo>
                    <a:pt x="69628" y="0"/>
                  </a:lnTo>
                  <a:lnTo>
                    <a:pt x="69628" y="485370"/>
                  </a:lnTo>
                  <a:lnTo>
                    <a:pt x="0" y="485370"/>
                  </a:lnTo>
                  <a:close/>
                </a:path>
              </a:pathLst>
            </a:custGeom>
            <a:solidFill>
              <a:srgbClr val="FFFFFF"/>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37" name="Google Shape;137;p11"/>
            <p:cNvSpPr/>
            <p:nvPr/>
          </p:nvSpPr>
          <p:spPr>
            <a:xfrm>
              <a:off x="3440501" y="1555087"/>
              <a:ext cx="52220" cy="260800"/>
            </a:xfrm>
            <a:custGeom>
              <a:avLst/>
              <a:gdLst/>
              <a:ahLst/>
              <a:cxnLst/>
              <a:rect l="l" t="t" r="r" b="b"/>
              <a:pathLst>
                <a:path w="69627" h="347733" extrusionOk="0">
                  <a:moveTo>
                    <a:pt x="0" y="0"/>
                  </a:moveTo>
                  <a:lnTo>
                    <a:pt x="69627" y="0"/>
                  </a:lnTo>
                  <a:lnTo>
                    <a:pt x="69627" y="347734"/>
                  </a:lnTo>
                  <a:lnTo>
                    <a:pt x="0" y="347734"/>
                  </a:lnTo>
                  <a:close/>
                </a:path>
              </a:pathLst>
            </a:custGeom>
            <a:solidFill>
              <a:srgbClr val="FFFFFF"/>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38" name="Google Shape;138;p11"/>
            <p:cNvSpPr/>
            <p:nvPr/>
          </p:nvSpPr>
          <p:spPr>
            <a:xfrm>
              <a:off x="3517618" y="1555087"/>
              <a:ext cx="257764" cy="261104"/>
            </a:xfrm>
            <a:custGeom>
              <a:avLst/>
              <a:gdLst/>
              <a:ahLst/>
              <a:cxnLst/>
              <a:rect l="l" t="t" r="r" b="b"/>
              <a:pathLst>
                <a:path w="343685" h="348138" extrusionOk="0">
                  <a:moveTo>
                    <a:pt x="269200" y="0"/>
                  </a:moveTo>
                  <a:lnTo>
                    <a:pt x="172045" y="255842"/>
                  </a:lnTo>
                  <a:lnTo>
                    <a:pt x="74081" y="0"/>
                  </a:lnTo>
                  <a:lnTo>
                    <a:pt x="0" y="0"/>
                  </a:lnTo>
                  <a:lnTo>
                    <a:pt x="136422" y="348139"/>
                  </a:lnTo>
                  <a:lnTo>
                    <a:pt x="207264" y="348139"/>
                  </a:lnTo>
                  <a:lnTo>
                    <a:pt x="343686" y="0"/>
                  </a:lnTo>
                  <a:close/>
                </a:path>
              </a:pathLst>
            </a:custGeom>
            <a:solidFill>
              <a:srgbClr val="FFFFFF"/>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39" name="Google Shape;139;p11"/>
            <p:cNvSpPr/>
            <p:nvPr/>
          </p:nvSpPr>
          <p:spPr>
            <a:xfrm>
              <a:off x="4209848" y="1549621"/>
              <a:ext cx="188541" cy="272034"/>
            </a:xfrm>
            <a:custGeom>
              <a:avLst/>
              <a:gdLst/>
              <a:ahLst/>
              <a:cxnLst/>
              <a:rect l="l" t="t" r="r" b="b"/>
              <a:pathLst>
                <a:path w="251388" h="362712" extrusionOk="0">
                  <a:moveTo>
                    <a:pt x="150591" y="148971"/>
                  </a:moveTo>
                  <a:lnTo>
                    <a:pt x="109704" y="139660"/>
                  </a:lnTo>
                  <a:cubicBezTo>
                    <a:pt x="84606" y="133588"/>
                    <a:pt x="72057" y="120229"/>
                    <a:pt x="72057" y="102013"/>
                  </a:cubicBezTo>
                  <a:cubicBezTo>
                    <a:pt x="72057" y="76915"/>
                    <a:pt x="95131" y="61531"/>
                    <a:pt x="126302" y="62341"/>
                  </a:cubicBezTo>
                  <a:cubicBezTo>
                    <a:pt x="145328" y="62341"/>
                    <a:pt x="164759" y="68413"/>
                    <a:pt x="183380" y="77724"/>
                  </a:cubicBezTo>
                  <a:cubicBezTo>
                    <a:pt x="206454" y="88654"/>
                    <a:pt x="225886" y="104037"/>
                    <a:pt x="233577" y="111324"/>
                  </a:cubicBezTo>
                  <a:lnTo>
                    <a:pt x="233577" y="38457"/>
                  </a:lnTo>
                  <a:cubicBezTo>
                    <a:pt x="221837" y="29551"/>
                    <a:pt x="178522" y="0"/>
                    <a:pt x="123063" y="0"/>
                  </a:cubicBezTo>
                  <a:cubicBezTo>
                    <a:pt x="46149" y="0"/>
                    <a:pt x="0" y="51411"/>
                    <a:pt x="0" y="107680"/>
                  </a:cubicBezTo>
                  <a:cubicBezTo>
                    <a:pt x="0" y="161115"/>
                    <a:pt x="37648" y="187428"/>
                    <a:pt x="87439" y="199573"/>
                  </a:cubicBezTo>
                  <a:lnTo>
                    <a:pt x="127111" y="208883"/>
                  </a:lnTo>
                  <a:cubicBezTo>
                    <a:pt x="162330" y="216980"/>
                    <a:pt x="179332" y="229934"/>
                    <a:pt x="179332" y="254222"/>
                  </a:cubicBezTo>
                  <a:cubicBezTo>
                    <a:pt x="179332" y="278511"/>
                    <a:pt x="158687" y="301585"/>
                    <a:pt x="121039" y="301585"/>
                  </a:cubicBezTo>
                  <a:cubicBezTo>
                    <a:pt x="97155" y="301585"/>
                    <a:pt x="73271" y="293489"/>
                    <a:pt x="54245" y="282559"/>
                  </a:cubicBezTo>
                  <a:cubicBezTo>
                    <a:pt x="31171" y="270415"/>
                    <a:pt x="13764" y="255437"/>
                    <a:pt x="9311" y="250984"/>
                  </a:cubicBezTo>
                  <a:lnTo>
                    <a:pt x="8096" y="325065"/>
                  </a:lnTo>
                  <a:cubicBezTo>
                    <a:pt x="12549" y="329922"/>
                    <a:pt x="52626" y="362712"/>
                    <a:pt x="123468" y="362712"/>
                  </a:cubicBezTo>
                  <a:cubicBezTo>
                    <a:pt x="202406" y="362712"/>
                    <a:pt x="251388" y="307253"/>
                    <a:pt x="251388" y="250984"/>
                  </a:cubicBezTo>
                  <a:cubicBezTo>
                    <a:pt x="250579" y="201597"/>
                    <a:pt x="216979" y="163949"/>
                    <a:pt x="150591" y="148971"/>
                  </a:cubicBezTo>
                  <a:close/>
                </a:path>
              </a:pathLst>
            </a:custGeom>
            <a:solidFill>
              <a:srgbClr val="FFFFFF"/>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40" name="Google Shape;140;p11"/>
            <p:cNvSpPr/>
            <p:nvPr/>
          </p:nvSpPr>
          <p:spPr>
            <a:xfrm>
              <a:off x="3775382" y="1552051"/>
              <a:ext cx="242584" cy="267176"/>
            </a:xfrm>
            <a:custGeom>
              <a:avLst/>
              <a:gdLst/>
              <a:ahLst/>
              <a:cxnLst/>
              <a:rect l="l" t="t" r="r" b="b"/>
              <a:pathLst>
                <a:path w="323445" h="356235" extrusionOk="0">
                  <a:moveTo>
                    <a:pt x="70842" y="150995"/>
                  </a:moveTo>
                  <a:cubicBezTo>
                    <a:pt x="79343" y="101203"/>
                    <a:pt x="112538" y="64770"/>
                    <a:pt x="164758" y="64770"/>
                  </a:cubicBezTo>
                  <a:cubicBezTo>
                    <a:pt x="216575" y="64770"/>
                    <a:pt x="247340" y="101203"/>
                    <a:pt x="255437" y="150995"/>
                  </a:cubicBezTo>
                  <a:lnTo>
                    <a:pt x="70842" y="150995"/>
                  </a:lnTo>
                  <a:close/>
                  <a:moveTo>
                    <a:pt x="164758" y="0"/>
                  </a:moveTo>
                  <a:cubicBezTo>
                    <a:pt x="70842" y="0"/>
                    <a:pt x="0" y="79748"/>
                    <a:pt x="0" y="178118"/>
                  </a:cubicBezTo>
                  <a:cubicBezTo>
                    <a:pt x="0" y="276487"/>
                    <a:pt x="76914" y="356235"/>
                    <a:pt x="180546" y="356235"/>
                  </a:cubicBezTo>
                  <a:cubicBezTo>
                    <a:pt x="259889" y="356235"/>
                    <a:pt x="303609" y="317778"/>
                    <a:pt x="303609" y="317778"/>
                  </a:cubicBezTo>
                  <a:lnTo>
                    <a:pt x="303609" y="246936"/>
                  </a:lnTo>
                  <a:cubicBezTo>
                    <a:pt x="303609" y="246936"/>
                    <a:pt x="255437" y="290655"/>
                    <a:pt x="185809" y="290655"/>
                  </a:cubicBezTo>
                  <a:cubicBezTo>
                    <a:pt x="123063" y="290655"/>
                    <a:pt x="81772" y="255032"/>
                    <a:pt x="71247" y="204835"/>
                  </a:cubicBezTo>
                  <a:lnTo>
                    <a:pt x="322231" y="204835"/>
                  </a:lnTo>
                  <a:cubicBezTo>
                    <a:pt x="323041" y="195929"/>
                    <a:pt x="323445" y="186618"/>
                    <a:pt x="323445" y="177713"/>
                  </a:cubicBezTo>
                  <a:cubicBezTo>
                    <a:pt x="323445" y="79748"/>
                    <a:pt x="256247" y="0"/>
                    <a:pt x="164758" y="0"/>
                  </a:cubicBezTo>
                  <a:close/>
                </a:path>
              </a:pathLst>
            </a:custGeom>
            <a:solidFill>
              <a:srgbClr val="FFFFFF"/>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41" name="Google Shape;141;p11"/>
            <p:cNvSpPr/>
            <p:nvPr/>
          </p:nvSpPr>
          <p:spPr>
            <a:xfrm>
              <a:off x="3429268" y="1451556"/>
              <a:ext cx="74687" cy="65883"/>
            </a:xfrm>
            <a:custGeom>
              <a:avLst/>
              <a:gdLst/>
              <a:ahLst/>
              <a:cxnLst/>
              <a:rect l="l" t="t" r="r" b="b"/>
              <a:pathLst>
                <a:path w="99583" h="87844" extrusionOk="0">
                  <a:moveTo>
                    <a:pt x="24693" y="0"/>
                  </a:moveTo>
                  <a:lnTo>
                    <a:pt x="0" y="43720"/>
                  </a:lnTo>
                  <a:lnTo>
                    <a:pt x="24693" y="87844"/>
                  </a:lnTo>
                  <a:lnTo>
                    <a:pt x="74890" y="87844"/>
                  </a:lnTo>
                  <a:lnTo>
                    <a:pt x="99584" y="43720"/>
                  </a:lnTo>
                  <a:lnTo>
                    <a:pt x="74890" y="0"/>
                  </a:lnTo>
                  <a:close/>
                </a:path>
              </a:pathLst>
            </a:custGeom>
            <a:solidFill>
              <a:srgbClr val="FFFFFF"/>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42" name="Google Shape;142;p11"/>
            <p:cNvSpPr/>
            <p:nvPr/>
          </p:nvSpPr>
          <p:spPr>
            <a:xfrm>
              <a:off x="2455288" y="1554783"/>
              <a:ext cx="375868" cy="261103"/>
            </a:xfrm>
            <a:custGeom>
              <a:avLst/>
              <a:gdLst/>
              <a:ahLst/>
              <a:cxnLst/>
              <a:rect l="l" t="t" r="r" b="b"/>
              <a:pathLst>
                <a:path w="501157" h="348138" extrusionOk="0">
                  <a:moveTo>
                    <a:pt x="433149" y="405"/>
                  </a:moveTo>
                  <a:lnTo>
                    <a:pt x="422219" y="405"/>
                  </a:lnTo>
                  <a:lnTo>
                    <a:pt x="422219" y="405"/>
                  </a:lnTo>
                  <a:lnTo>
                    <a:pt x="422219" y="405"/>
                  </a:lnTo>
                  <a:lnTo>
                    <a:pt x="284988" y="230338"/>
                  </a:lnTo>
                  <a:cubicBezTo>
                    <a:pt x="284988" y="192286"/>
                    <a:pt x="284178" y="405"/>
                    <a:pt x="284178" y="405"/>
                  </a:cubicBezTo>
                  <a:lnTo>
                    <a:pt x="216575" y="405"/>
                  </a:lnTo>
                  <a:lnTo>
                    <a:pt x="205645" y="405"/>
                  </a:lnTo>
                  <a:lnTo>
                    <a:pt x="205645" y="405"/>
                  </a:lnTo>
                  <a:lnTo>
                    <a:pt x="205645" y="405"/>
                  </a:lnTo>
                  <a:lnTo>
                    <a:pt x="69223" y="229529"/>
                  </a:lnTo>
                  <a:lnTo>
                    <a:pt x="68818" y="216170"/>
                  </a:lnTo>
                  <a:lnTo>
                    <a:pt x="69628" y="405"/>
                  </a:lnTo>
                  <a:lnTo>
                    <a:pt x="0" y="405"/>
                  </a:lnTo>
                  <a:lnTo>
                    <a:pt x="0" y="348139"/>
                  </a:lnTo>
                  <a:lnTo>
                    <a:pt x="69628" y="348139"/>
                  </a:lnTo>
                  <a:cubicBezTo>
                    <a:pt x="74081" y="340852"/>
                    <a:pt x="84606" y="322636"/>
                    <a:pt x="98369" y="299157"/>
                  </a:cubicBezTo>
                  <a:lnTo>
                    <a:pt x="216575" y="100394"/>
                  </a:lnTo>
                  <a:lnTo>
                    <a:pt x="216575" y="347734"/>
                  </a:lnTo>
                  <a:lnTo>
                    <a:pt x="285393" y="347734"/>
                  </a:lnTo>
                  <a:cubicBezTo>
                    <a:pt x="285393" y="347734"/>
                    <a:pt x="285393" y="347734"/>
                    <a:pt x="285393" y="347734"/>
                  </a:cubicBezTo>
                  <a:lnTo>
                    <a:pt x="285393" y="347734"/>
                  </a:lnTo>
                  <a:lnTo>
                    <a:pt x="432340" y="101608"/>
                  </a:lnTo>
                  <a:lnTo>
                    <a:pt x="432340" y="347734"/>
                  </a:lnTo>
                  <a:lnTo>
                    <a:pt x="501158" y="347734"/>
                  </a:lnTo>
                  <a:lnTo>
                    <a:pt x="501158" y="0"/>
                  </a:lnTo>
                  <a:lnTo>
                    <a:pt x="433149" y="0"/>
                  </a:lnTo>
                  <a:close/>
                </a:path>
              </a:pathLst>
            </a:custGeom>
            <a:solidFill>
              <a:srgbClr val="FFFFFF"/>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43" name="Google Shape;143;p11"/>
            <p:cNvSpPr/>
            <p:nvPr/>
          </p:nvSpPr>
          <p:spPr>
            <a:xfrm>
              <a:off x="4428749" y="1553569"/>
              <a:ext cx="234690" cy="263229"/>
            </a:xfrm>
            <a:custGeom>
              <a:avLst/>
              <a:gdLst/>
              <a:ahLst/>
              <a:cxnLst/>
              <a:rect l="l" t="t" r="r" b="b"/>
              <a:pathLst>
                <a:path w="312920" h="350972" extrusionOk="0">
                  <a:moveTo>
                    <a:pt x="68009" y="136017"/>
                  </a:moveTo>
                  <a:cubicBezTo>
                    <a:pt x="72057" y="123468"/>
                    <a:pt x="78129" y="112538"/>
                    <a:pt x="85821" y="103227"/>
                  </a:cubicBezTo>
                  <a:cubicBezTo>
                    <a:pt x="97155" y="89059"/>
                    <a:pt x="110514" y="78533"/>
                    <a:pt x="125492" y="71247"/>
                  </a:cubicBezTo>
                  <a:cubicBezTo>
                    <a:pt x="140470" y="63960"/>
                    <a:pt x="155853" y="60317"/>
                    <a:pt x="171236" y="60317"/>
                  </a:cubicBezTo>
                  <a:cubicBezTo>
                    <a:pt x="194310" y="60317"/>
                    <a:pt x="212932" y="65580"/>
                    <a:pt x="226290" y="75700"/>
                  </a:cubicBezTo>
                  <a:cubicBezTo>
                    <a:pt x="238435" y="84606"/>
                    <a:pt x="244102" y="95941"/>
                    <a:pt x="244102" y="110918"/>
                  </a:cubicBezTo>
                  <a:cubicBezTo>
                    <a:pt x="244102" y="119420"/>
                    <a:pt x="242078" y="130350"/>
                    <a:pt x="225481" y="140065"/>
                  </a:cubicBezTo>
                  <a:cubicBezTo>
                    <a:pt x="209693" y="149376"/>
                    <a:pt x="190667" y="153829"/>
                    <a:pt x="169212" y="153829"/>
                  </a:cubicBezTo>
                  <a:cubicBezTo>
                    <a:pt x="139256" y="153424"/>
                    <a:pt x="104847" y="147757"/>
                    <a:pt x="68009" y="136017"/>
                  </a:cubicBezTo>
                  <a:close/>
                  <a:moveTo>
                    <a:pt x="277297" y="238030"/>
                  </a:moveTo>
                  <a:lnTo>
                    <a:pt x="261509" y="252603"/>
                  </a:lnTo>
                  <a:cubicBezTo>
                    <a:pt x="247746" y="265152"/>
                    <a:pt x="232767" y="274868"/>
                    <a:pt x="217789" y="281749"/>
                  </a:cubicBezTo>
                  <a:cubicBezTo>
                    <a:pt x="203216" y="288227"/>
                    <a:pt x="185809" y="291465"/>
                    <a:pt x="165164" y="291465"/>
                  </a:cubicBezTo>
                  <a:cubicBezTo>
                    <a:pt x="146542" y="291465"/>
                    <a:pt x="129540" y="287012"/>
                    <a:pt x="113348" y="278106"/>
                  </a:cubicBezTo>
                  <a:cubicBezTo>
                    <a:pt x="97155" y="269200"/>
                    <a:pt x="84606" y="257056"/>
                    <a:pt x="74890" y="240458"/>
                  </a:cubicBezTo>
                  <a:cubicBezTo>
                    <a:pt x="66389" y="226290"/>
                    <a:pt x="61937" y="211312"/>
                    <a:pt x="60722" y="193905"/>
                  </a:cubicBezTo>
                  <a:cubicBezTo>
                    <a:pt x="75700" y="198763"/>
                    <a:pt x="89869" y="202406"/>
                    <a:pt x="103227" y="205645"/>
                  </a:cubicBezTo>
                  <a:cubicBezTo>
                    <a:pt x="124682" y="210907"/>
                    <a:pt x="147352" y="213336"/>
                    <a:pt x="170021" y="213336"/>
                  </a:cubicBezTo>
                  <a:cubicBezTo>
                    <a:pt x="191881" y="213336"/>
                    <a:pt x="212932" y="209693"/>
                    <a:pt x="232767" y="202406"/>
                  </a:cubicBezTo>
                  <a:cubicBezTo>
                    <a:pt x="253413" y="194715"/>
                    <a:pt x="270415" y="183380"/>
                    <a:pt x="283774" y="168807"/>
                  </a:cubicBezTo>
                  <a:cubicBezTo>
                    <a:pt x="297942" y="152614"/>
                    <a:pt x="305229" y="133183"/>
                    <a:pt x="305229" y="110514"/>
                  </a:cubicBezTo>
                  <a:cubicBezTo>
                    <a:pt x="305229" y="89059"/>
                    <a:pt x="299157" y="69628"/>
                    <a:pt x="286607" y="52221"/>
                  </a:cubicBezTo>
                  <a:cubicBezTo>
                    <a:pt x="274868" y="35623"/>
                    <a:pt x="258271" y="22265"/>
                    <a:pt x="237625" y="13359"/>
                  </a:cubicBezTo>
                  <a:cubicBezTo>
                    <a:pt x="217789" y="4453"/>
                    <a:pt x="195525" y="0"/>
                    <a:pt x="172045" y="0"/>
                  </a:cubicBezTo>
                  <a:cubicBezTo>
                    <a:pt x="143708" y="0"/>
                    <a:pt x="116181" y="7287"/>
                    <a:pt x="90273" y="21455"/>
                  </a:cubicBezTo>
                  <a:cubicBezTo>
                    <a:pt x="63961" y="36028"/>
                    <a:pt x="42101" y="57078"/>
                    <a:pt x="25503" y="85011"/>
                  </a:cubicBezTo>
                  <a:cubicBezTo>
                    <a:pt x="8501" y="112943"/>
                    <a:pt x="0" y="146542"/>
                    <a:pt x="0" y="184999"/>
                  </a:cubicBezTo>
                  <a:cubicBezTo>
                    <a:pt x="0" y="219408"/>
                    <a:pt x="8096" y="249769"/>
                    <a:pt x="24289" y="274868"/>
                  </a:cubicBezTo>
                  <a:cubicBezTo>
                    <a:pt x="40481" y="299966"/>
                    <a:pt x="61532" y="319397"/>
                    <a:pt x="87845" y="331946"/>
                  </a:cubicBezTo>
                  <a:cubicBezTo>
                    <a:pt x="113348" y="344495"/>
                    <a:pt x="140470" y="350973"/>
                    <a:pt x="168807" y="350973"/>
                  </a:cubicBezTo>
                  <a:cubicBezTo>
                    <a:pt x="195525" y="350973"/>
                    <a:pt x="219409" y="346115"/>
                    <a:pt x="240459" y="336399"/>
                  </a:cubicBezTo>
                  <a:cubicBezTo>
                    <a:pt x="260699" y="327088"/>
                    <a:pt x="280131" y="313730"/>
                    <a:pt x="298752" y="297132"/>
                  </a:cubicBezTo>
                  <a:lnTo>
                    <a:pt x="312920" y="284583"/>
                  </a:lnTo>
                  <a:lnTo>
                    <a:pt x="277297" y="238030"/>
                  </a:lnTo>
                  <a:close/>
                </a:path>
              </a:pathLst>
            </a:custGeom>
            <a:solidFill>
              <a:srgbClr val="FFFFFF"/>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44" name="Google Shape;144;p11"/>
            <p:cNvSpPr/>
            <p:nvPr/>
          </p:nvSpPr>
          <p:spPr>
            <a:xfrm>
              <a:off x="3227064" y="1481006"/>
              <a:ext cx="183683" cy="334577"/>
            </a:xfrm>
            <a:custGeom>
              <a:avLst/>
              <a:gdLst/>
              <a:ahLst/>
              <a:cxnLst/>
              <a:rect l="l" t="t" r="r" b="b"/>
              <a:pathLst>
                <a:path w="244911" h="446103" extrusionOk="0">
                  <a:moveTo>
                    <a:pt x="156662" y="0"/>
                  </a:moveTo>
                  <a:lnTo>
                    <a:pt x="87844" y="0"/>
                  </a:lnTo>
                  <a:lnTo>
                    <a:pt x="87844" y="98369"/>
                  </a:lnTo>
                  <a:lnTo>
                    <a:pt x="0" y="98369"/>
                  </a:lnTo>
                  <a:lnTo>
                    <a:pt x="0" y="159496"/>
                  </a:lnTo>
                  <a:lnTo>
                    <a:pt x="87844" y="159496"/>
                  </a:lnTo>
                  <a:lnTo>
                    <a:pt x="87844" y="446103"/>
                  </a:lnTo>
                  <a:lnTo>
                    <a:pt x="156662" y="446103"/>
                  </a:lnTo>
                  <a:lnTo>
                    <a:pt x="156662" y="159496"/>
                  </a:lnTo>
                  <a:lnTo>
                    <a:pt x="244912" y="159496"/>
                  </a:lnTo>
                  <a:lnTo>
                    <a:pt x="244912" y="98369"/>
                  </a:lnTo>
                  <a:lnTo>
                    <a:pt x="156662" y="98369"/>
                  </a:lnTo>
                  <a:close/>
                </a:path>
              </a:pathLst>
            </a:custGeom>
            <a:solidFill>
              <a:srgbClr val="FFFFFF"/>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45" name="Google Shape;145;p11"/>
            <p:cNvSpPr/>
            <p:nvPr/>
          </p:nvSpPr>
          <p:spPr>
            <a:xfrm>
              <a:off x="4047416" y="1554480"/>
              <a:ext cx="140875" cy="261104"/>
            </a:xfrm>
            <a:custGeom>
              <a:avLst/>
              <a:gdLst/>
              <a:ahLst/>
              <a:cxnLst/>
              <a:rect l="l" t="t" r="r" b="b"/>
              <a:pathLst>
                <a:path w="187833" h="348138" extrusionOk="0">
                  <a:moveTo>
                    <a:pt x="4048" y="405"/>
                  </a:moveTo>
                  <a:lnTo>
                    <a:pt x="0" y="405"/>
                  </a:lnTo>
                  <a:lnTo>
                    <a:pt x="0" y="348139"/>
                  </a:lnTo>
                  <a:lnTo>
                    <a:pt x="69628" y="348139"/>
                  </a:lnTo>
                  <a:lnTo>
                    <a:pt x="69628" y="61127"/>
                  </a:lnTo>
                  <a:lnTo>
                    <a:pt x="187833" y="61127"/>
                  </a:lnTo>
                  <a:lnTo>
                    <a:pt x="187833" y="0"/>
                  </a:lnTo>
                  <a:lnTo>
                    <a:pt x="4048" y="0"/>
                  </a:lnTo>
                  <a:close/>
                </a:path>
              </a:pathLst>
            </a:custGeom>
            <a:solidFill>
              <a:srgbClr val="FFFFFF"/>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grpSp>
      <p:sp>
        <p:nvSpPr>
          <p:cNvPr id="146" name="Google Shape;146;p11"/>
          <p:cNvSpPr txBox="1">
            <a:spLocks noGrp="1"/>
          </p:cNvSpPr>
          <p:nvPr>
            <p:ph type="title"/>
          </p:nvPr>
        </p:nvSpPr>
        <p:spPr>
          <a:xfrm>
            <a:off x="482600" y="1207369"/>
            <a:ext cx="5694400" cy="2564000"/>
          </a:xfrm>
          <a:prstGeom prst="rect">
            <a:avLst/>
          </a:prstGeom>
        </p:spPr>
        <p:txBody>
          <a:bodyPr spcFirstLastPara="1" wrap="square" lIns="0" tIns="91425" rIns="91425" bIns="91425" anchor="t" anchorCtr="0">
            <a:noAutofit/>
          </a:bodyPr>
          <a:lstStyle>
            <a:lvl1pPr lvl="0" rtl="0">
              <a:lnSpc>
                <a:spcPct val="85000"/>
              </a:lnSpc>
              <a:spcBef>
                <a:spcPts val="0"/>
              </a:spcBef>
              <a:spcAft>
                <a:spcPts val="0"/>
              </a:spcAft>
              <a:buClr>
                <a:schemeClr val="lt1"/>
              </a:buClr>
              <a:buSzPts val="4600"/>
              <a:buFont typeface="Inter Medium"/>
              <a:buNone/>
              <a:defRPr sz="6133">
                <a:solidFill>
                  <a:schemeClr val="lt1"/>
                </a:solidFill>
                <a:latin typeface="Inter Medium"/>
                <a:ea typeface="Inter Medium"/>
                <a:cs typeface="Inter Medium"/>
                <a:sym typeface="Inter Medium"/>
              </a:defRPr>
            </a:lvl1pPr>
            <a:lvl2pPr lvl="1" rtl="0">
              <a:lnSpc>
                <a:spcPct val="75000"/>
              </a:lnSpc>
              <a:spcBef>
                <a:spcPts val="0"/>
              </a:spcBef>
              <a:spcAft>
                <a:spcPts val="0"/>
              </a:spcAft>
              <a:buSzPts val="1100"/>
              <a:buNone/>
              <a:defRPr/>
            </a:lvl2pPr>
            <a:lvl3pPr lvl="2" rtl="0">
              <a:lnSpc>
                <a:spcPct val="75000"/>
              </a:lnSpc>
              <a:spcBef>
                <a:spcPts val="0"/>
              </a:spcBef>
              <a:spcAft>
                <a:spcPts val="0"/>
              </a:spcAft>
              <a:buSzPts val="1100"/>
              <a:buNone/>
              <a:defRPr/>
            </a:lvl3pPr>
            <a:lvl4pPr lvl="3" rtl="0">
              <a:lnSpc>
                <a:spcPct val="75000"/>
              </a:lnSpc>
              <a:spcBef>
                <a:spcPts val="0"/>
              </a:spcBef>
              <a:spcAft>
                <a:spcPts val="0"/>
              </a:spcAft>
              <a:buSzPts val="1100"/>
              <a:buNone/>
              <a:defRPr/>
            </a:lvl4pPr>
            <a:lvl5pPr lvl="4" rtl="0">
              <a:lnSpc>
                <a:spcPct val="75000"/>
              </a:lnSpc>
              <a:spcBef>
                <a:spcPts val="0"/>
              </a:spcBef>
              <a:spcAft>
                <a:spcPts val="0"/>
              </a:spcAft>
              <a:buSzPts val="1100"/>
              <a:buNone/>
              <a:defRPr/>
            </a:lvl5pPr>
            <a:lvl6pPr lvl="5" rtl="0">
              <a:lnSpc>
                <a:spcPct val="75000"/>
              </a:lnSpc>
              <a:spcBef>
                <a:spcPts val="0"/>
              </a:spcBef>
              <a:spcAft>
                <a:spcPts val="0"/>
              </a:spcAft>
              <a:buSzPts val="1100"/>
              <a:buNone/>
              <a:defRPr/>
            </a:lvl6pPr>
            <a:lvl7pPr lvl="6" rtl="0">
              <a:lnSpc>
                <a:spcPct val="75000"/>
              </a:lnSpc>
              <a:spcBef>
                <a:spcPts val="0"/>
              </a:spcBef>
              <a:spcAft>
                <a:spcPts val="0"/>
              </a:spcAft>
              <a:buSzPts val="1100"/>
              <a:buNone/>
              <a:defRPr/>
            </a:lvl7pPr>
            <a:lvl8pPr lvl="7" rtl="0">
              <a:lnSpc>
                <a:spcPct val="75000"/>
              </a:lnSpc>
              <a:spcBef>
                <a:spcPts val="0"/>
              </a:spcBef>
              <a:spcAft>
                <a:spcPts val="0"/>
              </a:spcAft>
              <a:buSzPts val="1100"/>
              <a:buNone/>
              <a:defRPr/>
            </a:lvl8pPr>
            <a:lvl9pPr lvl="8" rtl="0">
              <a:lnSpc>
                <a:spcPct val="75000"/>
              </a:lnSpc>
              <a:spcBef>
                <a:spcPts val="0"/>
              </a:spcBef>
              <a:spcAft>
                <a:spcPts val="0"/>
              </a:spcAft>
              <a:buSzPts val="1100"/>
              <a:buNone/>
              <a:defRPr/>
            </a:lvl9pPr>
          </a:lstStyle>
          <a:p>
            <a:endParaRPr/>
          </a:p>
        </p:txBody>
      </p:sp>
      <p:sp>
        <p:nvSpPr>
          <p:cNvPr id="147" name="Google Shape;147;p11"/>
          <p:cNvSpPr txBox="1">
            <a:spLocks noGrp="1"/>
          </p:cNvSpPr>
          <p:nvPr>
            <p:ph type="subTitle" idx="1"/>
          </p:nvPr>
        </p:nvSpPr>
        <p:spPr>
          <a:xfrm>
            <a:off x="499267" y="4085600"/>
            <a:ext cx="3325600" cy="286800"/>
          </a:xfrm>
          <a:prstGeom prst="rect">
            <a:avLst/>
          </a:prstGeom>
          <a:solidFill>
            <a:schemeClr val="accent2"/>
          </a:solidFill>
          <a:ln w="28575" cap="flat" cmpd="sng">
            <a:solidFill>
              <a:schemeClr val="accent2"/>
            </a:solidFill>
            <a:prstDash val="solid"/>
            <a:round/>
            <a:headEnd type="none" w="sm" len="sm"/>
            <a:tailEnd type="none" w="sm" len="sm"/>
          </a:ln>
        </p:spPr>
        <p:txBody>
          <a:bodyPr spcFirstLastPara="1" wrap="square" lIns="36000" tIns="0" rIns="36000" bIns="0" anchor="ctr" anchorCtr="0">
            <a:noAutofit/>
          </a:bodyPr>
          <a:lstStyle>
            <a:lvl1pPr lvl="0" rtl="0">
              <a:spcBef>
                <a:spcPts val="1067"/>
              </a:spcBef>
              <a:spcAft>
                <a:spcPts val="0"/>
              </a:spcAft>
              <a:buSzPts val="1200"/>
              <a:buFont typeface="Inter Medium"/>
              <a:buNone/>
              <a:defRPr sz="1600">
                <a:latin typeface="Inter Medium"/>
                <a:ea typeface="Inter Medium"/>
                <a:cs typeface="Inter Medium"/>
                <a:sym typeface="Inter Medium"/>
              </a:defRPr>
            </a:lvl1pPr>
            <a:lvl2pPr lvl="1" rtl="0">
              <a:spcBef>
                <a:spcPts val="533"/>
              </a:spcBef>
              <a:spcAft>
                <a:spcPts val="0"/>
              </a:spcAft>
              <a:buSzPts val="1200"/>
              <a:buNone/>
              <a:defRPr/>
            </a:lvl2pPr>
            <a:lvl3pPr lvl="2" rtl="0">
              <a:spcBef>
                <a:spcPts val="533"/>
              </a:spcBef>
              <a:spcAft>
                <a:spcPts val="0"/>
              </a:spcAft>
              <a:buSzPts val="1200"/>
              <a:buNone/>
              <a:defRPr/>
            </a:lvl3pPr>
            <a:lvl4pPr lvl="3" rtl="0">
              <a:spcBef>
                <a:spcPts val="533"/>
              </a:spcBef>
              <a:spcAft>
                <a:spcPts val="0"/>
              </a:spcAft>
              <a:buSzPts val="1200"/>
              <a:buNone/>
              <a:defRPr/>
            </a:lvl4pPr>
            <a:lvl5pPr lvl="4" rtl="0">
              <a:spcBef>
                <a:spcPts val="533"/>
              </a:spcBef>
              <a:spcAft>
                <a:spcPts val="0"/>
              </a:spcAft>
              <a:buSzPts val="1200"/>
              <a:buNone/>
              <a:defRPr/>
            </a:lvl5pPr>
            <a:lvl6pPr lvl="5" rtl="0">
              <a:spcBef>
                <a:spcPts val="533"/>
              </a:spcBef>
              <a:spcAft>
                <a:spcPts val="0"/>
              </a:spcAft>
              <a:buSzPts val="1200"/>
              <a:buNone/>
              <a:defRPr/>
            </a:lvl6pPr>
            <a:lvl7pPr lvl="6" rtl="0">
              <a:spcBef>
                <a:spcPts val="533"/>
              </a:spcBef>
              <a:spcAft>
                <a:spcPts val="0"/>
              </a:spcAft>
              <a:buSzPts val="1200"/>
              <a:buNone/>
              <a:defRPr/>
            </a:lvl7pPr>
            <a:lvl8pPr lvl="7" rtl="0">
              <a:spcBef>
                <a:spcPts val="533"/>
              </a:spcBef>
              <a:spcAft>
                <a:spcPts val="0"/>
              </a:spcAft>
              <a:buSzPts val="1200"/>
              <a:buNone/>
              <a:defRPr/>
            </a:lvl8pPr>
            <a:lvl9pPr lvl="8" rtl="0">
              <a:spcBef>
                <a:spcPts val="533"/>
              </a:spcBef>
              <a:spcAft>
                <a:spcPts val="0"/>
              </a:spcAft>
              <a:buSzPts val="1200"/>
              <a:buNone/>
              <a:defRPr/>
            </a:lvl9pPr>
          </a:lstStyle>
          <a:p>
            <a:endParaRPr/>
          </a:p>
        </p:txBody>
      </p:sp>
    </p:spTree>
    <p:extLst>
      <p:ext uri="{BB962C8B-B14F-4D97-AF65-F5344CB8AC3E}">
        <p14:creationId xmlns:p14="http://schemas.microsoft.com/office/powerpoint/2010/main" val="244572144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Title and Content - Lunar">
  <p:cSld name="Title and Content - Lunar">
    <p:bg>
      <p:bgPr>
        <a:solidFill>
          <a:schemeClr val="lt2"/>
        </a:solidFill>
        <a:effectLst/>
      </p:bgPr>
    </p:bg>
    <p:spTree>
      <p:nvGrpSpPr>
        <p:cNvPr id="1" name="Shape 148"/>
        <p:cNvGrpSpPr/>
        <p:nvPr/>
      </p:nvGrpSpPr>
      <p:grpSpPr>
        <a:xfrm>
          <a:off x="0" y="0"/>
          <a:ext cx="0" cy="0"/>
          <a:chOff x="0" y="0"/>
          <a:chExt cx="0" cy="0"/>
        </a:xfrm>
      </p:grpSpPr>
      <p:sp>
        <p:nvSpPr>
          <p:cNvPr id="149" name="Google Shape;149;p12"/>
          <p:cNvSpPr txBox="1">
            <a:spLocks noGrp="1"/>
          </p:cNvSpPr>
          <p:nvPr>
            <p:ph type="title"/>
          </p:nvPr>
        </p:nvSpPr>
        <p:spPr>
          <a:xfrm>
            <a:off x="951700" y="359997"/>
            <a:ext cx="10515600" cy="975200"/>
          </a:xfrm>
          <a:prstGeom prst="rect">
            <a:avLst/>
          </a:prstGeom>
          <a:noFill/>
          <a:ln>
            <a:noFill/>
          </a:ln>
        </p:spPr>
        <p:txBody>
          <a:bodyPr spcFirstLastPara="1" wrap="square" lIns="0" tIns="0" rIns="68575" bIns="34275" anchor="t" anchorCtr="0">
            <a:noAutofit/>
          </a:bodyPr>
          <a:lstStyle>
            <a:lvl1pPr lvl="0" algn="l" rtl="0">
              <a:lnSpc>
                <a:spcPct val="90000"/>
              </a:lnSpc>
              <a:spcBef>
                <a:spcPts val="0"/>
              </a:spcBef>
              <a:spcAft>
                <a:spcPts val="0"/>
              </a:spcAft>
              <a:buClr>
                <a:schemeClr val="dk1"/>
              </a:buClr>
              <a:buSzPts val="2400"/>
              <a:buFont typeface="Inter Medium"/>
              <a:buNone/>
              <a:defRPr sz="3200">
                <a:latin typeface="Inter Medium"/>
                <a:ea typeface="Inter Medium"/>
                <a:cs typeface="Inter Medium"/>
                <a:sym typeface="Inter Medium"/>
              </a:defRPr>
            </a:lvl1pPr>
            <a:lvl2pPr lvl="1" rtl="0">
              <a:spcBef>
                <a:spcPts val="0"/>
              </a:spcBef>
              <a:spcAft>
                <a:spcPts val="0"/>
              </a:spcAft>
              <a:buSzPts val="1100"/>
              <a:buNone/>
              <a:defRPr b="1"/>
            </a:lvl2pPr>
            <a:lvl3pPr lvl="2" rtl="0">
              <a:spcBef>
                <a:spcPts val="0"/>
              </a:spcBef>
              <a:spcAft>
                <a:spcPts val="0"/>
              </a:spcAft>
              <a:buSzPts val="1100"/>
              <a:buNone/>
              <a:defRPr b="1"/>
            </a:lvl3pPr>
            <a:lvl4pPr lvl="3" rtl="0">
              <a:spcBef>
                <a:spcPts val="0"/>
              </a:spcBef>
              <a:spcAft>
                <a:spcPts val="0"/>
              </a:spcAft>
              <a:buSzPts val="1100"/>
              <a:buNone/>
              <a:defRPr b="1"/>
            </a:lvl4pPr>
            <a:lvl5pPr lvl="4" rtl="0">
              <a:spcBef>
                <a:spcPts val="0"/>
              </a:spcBef>
              <a:spcAft>
                <a:spcPts val="0"/>
              </a:spcAft>
              <a:buSzPts val="1100"/>
              <a:buNone/>
              <a:defRPr b="1"/>
            </a:lvl5pPr>
            <a:lvl6pPr lvl="5" rtl="0">
              <a:spcBef>
                <a:spcPts val="0"/>
              </a:spcBef>
              <a:spcAft>
                <a:spcPts val="0"/>
              </a:spcAft>
              <a:buSzPts val="1100"/>
              <a:buNone/>
              <a:defRPr b="1"/>
            </a:lvl6pPr>
            <a:lvl7pPr lvl="6" rtl="0">
              <a:spcBef>
                <a:spcPts val="0"/>
              </a:spcBef>
              <a:spcAft>
                <a:spcPts val="0"/>
              </a:spcAft>
              <a:buSzPts val="1100"/>
              <a:buNone/>
              <a:defRPr b="1"/>
            </a:lvl7pPr>
            <a:lvl8pPr lvl="7" rtl="0">
              <a:spcBef>
                <a:spcPts val="0"/>
              </a:spcBef>
              <a:spcAft>
                <a:spcPts val="0"/>
              </a:spcAft>
              <a:buSzPts val="1100"/>
              <a:buNone/>
              <a:defRPr b="1"/>
            </a:lvl8pPr>
            <a:lvl9pPr lvl="8" rtl="0">
              <a:spcBef>
                <a:spcPts val="0"/>
              </a:spcBef>
              <a:spcAft>
                <a:spcPts val="0"/>
              </a:spcAft>
              <a:buSzPts val="1100"/>
              <a:buNone/>
              <a:defRPr b="1"/>
            </a:lvl9pPr>
          </a:lstStyle>
          <a:p>
            <a:endParaRPr/>
          </a:p>
        </p:txBody>
      </p:sp>
      <p:sp>
        <p:nvSpPr>
          <p:cNvPr id="150" name="Google Shape;150;p12"/>
          <p:cNvSpPr txBox="1">
            <a:spLocks noGrp="1"/>
          </p:cNvSpPr>
          <p:nvPr>
            <p:ph type="body" idx="1"/>
          </p:nvPr>
        </p:nvSpPr>
        <p:spPr>
          <a:xfrm>
            <a:off x="481600" y="1825633"/>
            <a:ext cx="10718000" cy="4351200"/>
          </a:xfrm>
          <a:prstGeom prst="rect">
            <a:avLst/>
          </a:prstGeom>
          <a:noFill/>
          <a:ln>
            <a:noFill/>
          </a:ln>
        </p:spPr>
        <p:txBody>
          <a:bodyPr spcFirstLastPara="1" wrap="square" lIns="0" tIns="34275" rIns="68575" bIns="34275" anchor="t" anchorCtr="0">
            <a:noAutofit/>
          </a:bodyPr>
          <a:lstStyle>
            <a:lvl1pPr marL="609585" lvl="0" indent="-406390" algn="l" rtl="0">
              <a:lnSpc>
                <a:spcPct val="125000"/>
              </a:lnSpc>
              <a:spcBef>
                <a:spcPts val="0"/>
              </a:spcBef>
              <a:spcAft>
                <a:spcPts val="0"/>
              </a:spcAft>
              <a:buClr>
                <a:schemeClr val="dk2"/>
              </a:buClr>
              <a:buSzPts val="1200"/>
              <a:buFont typeface="Inter"/>
              <a:buChar char="●"/>
              <a:defRPr/>
            </a:lvl1pPr>
            <a:lvl2pPr marL="1219170" lvl="1" indent="-406390" algn="l" rtl="0">
              <a:lnSpc>
                <a:spcPct val="125000"/>
              </a:lnSpc>
              <a:spcBef>
                <a:spcPts val="1200"/>
              </a:spcBef>
              <a:spcAft>
                <a:spcPts val="0"/>
              </a:spcAft>
              <a:buClr>
                <a:schemeClr val="dk2"/>
              </a:buClr>
              <a:buSzPts val="1200"/>
              <a:buFont typeface="Inter"/>
              <a:buChar char="●"/>
              <a:defRPr/>
            </a:lvl2pPr>
            <a:lvl3pPr marL="1828754" lvl="2" indent="-406390" algn="l" rtl="0">
              <a:lnSpc>
                <a:spcPct val="125000"/>
              </a:lnSpc>
              <a:spcBef>
                <a:spcPts val="1200"/>
              </a:spcBef>
              <a:spcAft>
                <a:spcPts val="0"/>
              </a:spcAft>
              <a:buClr>
                <a:schemeClr val="dk2"/>
              </a:buClr>
              <a:buSzPts val="1200"/>
              <a:buFont typeface="Inter"/>
              <a:buChar char="●"/>
              <a:defRPr/>
            </a:lvl3pPr>
            <a:lvl4pPr marL="2438339" lvl="3" indent="-406390" algn="l" rtl="0">
              <a:lnSpc>
                <a:spcPct val="125000"/>
              </a:lnSpc>
              <a:spcBef>
                <a:spcPts val="1200"/>
              </a:spcBef>
              <a:spcAft>
                <a:spcPts val="0"/>
              </a:spcAft>
              <a:buClr>
                <a:schemeClr val="dk2"/>
              </a:buClr>
              <a:buSzPts val="1200"/>
              <a:buFont typeface="Inter"/>
              <a:buChar char="●"/>
              <a:defRPr/>
            </a:lvl4pPr>
            <a:lvl5pPr marL="3047924" lvl="4" indent="-406390" algn="l" rtl="0">
              <a:lnSpc>
                <a:spcPct val="125000"/>
              </a:lnSpc>
              <a:spcBef>
                <a:spcPts val="1200"/>
              </a:spcBef>
              <a:spcAft>
                <a:spcPts val="0"/>
              </a:spcAft>
              <a:buClr>
                <a:schemeClr val="dk2"/>
              </a:buClr>
              <a:buSzPts val="1200"/>
              <a:buFont typeface="Inter"/>
              <a:buChar char="●"/>
              <a:defRPr/>
            </a:lvl5pPr>
            <a:lvl6pPr marL="3657509" lvl="5" indent="-406390" algn="l" rtl="0">
              <a:lnSpc>
                <a:spcPct val="125000"/>
              </a:lnSpc>
              <a:spcBef>
                <a:spcPts val="1200"/>
              </a:spcBef>
              <a:spcAft>
                <a:spcPts val="0"/>
              </a:spcAft>
              <a:buClr>
                <a:schemeClr val="dk2"/>
              </a:buClr>
              <a:buSzPts val="1200"/>
              <a:buFont typeface="Inter"/>
              <a:buChar char="●"/>
              <a:defRPr/>
            </a:lvl6pPr>
            <a:lvl7pPr marL="4267093" lvl="6" indent="-406390" algn="l" rtl="0">
              <a:lnSpc>
                <a:spcPct val="125000"/>
              </a:lnSpc>
              <a:spcBef>
                <a:spcPts val="1200"/>
              </a:spcBef>
              <a:spcAft>
                <a:spcPts val="0"/>
              </a:spcAft>
              <a:buClr>
                <a:schemeClr val="dk2"/>
              </a:buClr>
              <a:buSzPts val="1200"/>
              <a:buFont typeface="Inter"/>
              <a:buChar char="●"/>
              <a:defRPr/>
            </a:lvl7pPr>
            <a:lvl8pPr marL="4876678" lvl="7" indent="-406390" algn="l" rtl="0">
              <a:lnSpc>
                <a:spcPct val="125000"/>
              </a:lnSpc>
              <a:spcBef>
                <a:spcPts val="1200"/>
              </a:spcBef>
              <a:spcAft>
                <a:spcPts val="0"/>
              </a:spcAft>
              <a:buClr>
                <a:schemeClr val="dk2"/>
              </a:buClr>
              <a:buSzPts val="1200"/>
              <a:buFont typeface="Inter"/>
              <a:buChar char="●"/>
              <a:defRPr/>
            </a:lvl8pPr>
            <a:lvl9pPr marL="5486263" lvl="8" indent="-406390" algn="l" rtl="0">
              <a:lnSpc>
                <a:spcPct val="125000"/>
              </a:lnSpc>
              <a:spcBef>
                <a:spcPts val="1200"/>
              </a:spcBef>
              <a:spcAft>
                <a:spcPts val="1200"/>
              </a:spcAft>
              <a:buClr>
                <a:schemeClr val="dk2"/>
              </a:buClr>
              <a:buSzPts val="1200"/>
              <a:buFont typeface="Inter"/>
              <a:buChar char="●"/>
              <a:defRPr/>
            </a:lvl9pPr>
          </a:lstStyle>
          <a:p>
            <a:endParaRPr/>
          </a:p>
        </p:txBody>
      </p:sp>
      <p:sp>
        <p:nvSpPr>
          <p:cNvPr id="151" name="Google Shape;151;p12"/>
          <p:cNvSpPr txBox="1">
            <a:spLocks noGrp="1"/>
          </p:cNvSpPr>
          <p:nvPr>
            <p:ph type="sldNum" idx="12"/>
          </p:nvPr>
        </p:nvSpPr>
        <p:spPr>
          <a:xfrm>
            <a:off x="10978812" y="5993647"/>
            <a:ext cx="731600" cy="524800"/>
          </a:xfrm>
          <a:prstGeom prst="rect">
            <a:avLst/>
          </a:prstGeom>
        </p:spPr>
        <p:txBody>
          <a:bodyPr spcFirstLastPara="1" wrap="square" lIns="91425" tIns="91425" rIns="0" bIns="0" anchor="b" anchorCtr="0">
            <a:noAutofit/>
          </a:bodyPr>
          <a:lstStyle>
            <a:lvl1pPr lvl="0" algn="r" rtl="0">
              <a:buNone/>
              <a:defRPr sz="667">
                <a:solidFill>
                  <a:schemeClr val="dk2"/>
                </a:solidFill>
                <a:latin typeface="Inter"/>
                <a:ea typeface="Inter"/>
                <a:cs typeface="Inter"/>
                <a:sym typeface="Inter"/>
              </a:defRPr>
            </a:lvl1pPr>
            <a:lvl2pPr lvl="1" algn="r" rtl="0">
              <a:buNone/>
              <a:defRPr sz="667">
                <a:solidFill>
                  <a:schemeClr val="dk2"/>
                </a:solidFill>
                <a:latin typeface="Inter"/>
                <a:ea typeface="Inter"/>
                <a:cs typeface="Inter"/>
                <a:sym typeface="Inter"/>
              </a:defRPr>
            </a:lvl2pPr>
            <a:lvl3pPr lvl="2" algn="r" rtl="0">
              <a:buNone/>
              <a:defRPr sz="667">
                <a:solidFill>
                  <a:schemeClr val="dk2"/>
                </a:solidFill>
                <a:latin typeface="Inter"/>
                <a:ea typeface="Inter"/>
                <a:cs typeface="Inter"/>
                <a:sym typeface="Inter"/>
              </a:defRPr>
            </a:lvl3pPr>
            <a:lvl4pPr lvl="3" algn="r" rtl="0">
              <a:buNone/>
              <a:defRPr sz="667">
                <a:solidFill>
                  <a:schemeClr val="dk2"/>
                </a:solidFill>
                <a:latin typeface="Inter"/>
                <a:ea typeface="Inter"/>
                <a:cs typeface="Inter"/>
                <a:sym typeface="Inter"/>
              </a:defRPr>
            </a:lvl4pPr>
            <a:lvl5pPr lvl="4" algn="r" rtl="0">
              <a:buNone/>
              <a:defRPr sz="667">
                <a:solidFill>
                  <a:schemeClr val="dk2"/>
                </a:solidFill>
                <a:latin typeface="Inter"/>
                <a:ea typeface="Inter"/>
                <a:cs typeface="Inter"/>
                <a:sym typeface="Inter"/>
              </a:defRPr>
            </a:lvl5pPr>
            <a:lvl6pPr lvl="5" algn="r" rtl="0">
              <a:buNone/>
              <a:defRPr sz="667">
                <a:solidFill>
                  <a:schemeClr val="dk2"/>
                </a:solidFill>
                <a:latin typeface="Inter"/>
                <a:ea typeface="Inter"/>
                <a:cs typeface="Inter"/>
                <a:sym typeface="Inter"/>
              </a:defRPr>
            </a:lvl6pPr>
            <a:lvl7pPr lvl="6" algn="r" rtl="0">
              <a:buNone/>
              <a:defRPr sz="667">
                <a:solidFill>
                  <a:schemeClr val="dk2"/>
                </a:solidFill>
                <a:latin typeface="Inter"/>
                <a:ea typeface="Inter"/>
                <a:cs typeface="Inter"/>
                <a:sym typeface="Inter"/>
              </a:defRPr>
            </a:lvl7pPr>
            <a:lvl8pPr lvl="7" algn="r" rtl="0">
              <a:buNone/>
              <a:defRPr sz="667">
                <a:solidFill>
                  <a:schemeClr val="dk2"/>
                </a:solidFill>
                <a:latin typeface="Inter"/>
                <a:ea typeface="Inter"/>
                <a:cs typeface="Inter"/>
                <a:sym typeface="Inter"/>
              </a:defRPr>
            </a:lvl8pPr>
            <a:lvl9pPr lvl="8" algn="r" rtl="0">
              <a:buNone/>
              <a:defRPr sz="667">
                <a:solidFill>
                  <a:schemeClr val="dk2"/>
                </a:solidFill>
                <a:latin typeface="Inter"/>
                <a:ea typeface="Inter"/>
                <a:cs typeface="Inter"/>
                <a:sym typeface="Inter"/>
              </a:defRPr>
            </a:lvl9pPr>
          </a:lstStyle>
          <a:p>
            <a:fld id="{00000000-1234-1234-1234-123412341234}" type="slidenum">
              <a:rPr lang="en-GB" smtClean="0"/>
              <a:pPr/>
              <a:t>‹#›</a:t>
            </a:fld>
            <a:endParaRPr lang="en-GB"/>
          </a:p>
        </p:txBody>
      </p:sp>
      <p:sp>
        <p:nvSpPr>
          <p:cNvPr id="152" name="Google Shape;152;p12"/>
          <p:cNvSpPr txBox="1"/>
          <p:nvPr/>
        </p:nvSpPr>
        <p:spPr>
          <a:xfrm>
            <a:off x="481600" y="6245247"/>
            <a:ext cx="1288400" cy="273200"/>
          </a:xfrm>
          <a:prstGeom prst="rect">
            <a:avLst/>
          </a:prstGeom>
          <a:noFill/>
          <a:ln>
            <a:noFill/>
          </a:ln>
        </p:spPr>
        <p:txBody>
          <a:bodyPr spcFirstLastPara="1" wrap="square" lIns="0" tIns="0" rIns="0" bIns="0" anchor="b" anchorCtr="0">
            <a:noAutofit/>
          </a:bodyPr>
          <a:lstStyle/>
          <a:p>
            <a:pPr marL="0" lvl="0" indent="0" algn="l" rtl="0">
              <a:spcBef>
                <a:spcPts val="0"/>
              </a:spcBef>
              <a:spcAft>
                <a:spcPts val="0"/>
              </a:spcAft>
              <a:buNone/>
            </a:pPr>
            <a:r>
              <a:rPr lang="en-GB" sz="667">
                <a:solidFill>
                  <a:schemeClr val="dk2"/>
                </a:solidFill>
                <a:latin typeface="Inter"/>
                <a:ea typeface="Inter"/>
                <a:cs typeface="Inter"/>
                <a:sym typeface="Inter"/>
              </a:rPr>
              <a:t>Multiverse</a:t>
            </a:r>
            <a:endParaRPr sz="667">
              <a:solidFill>
                <a:schemeClr val="dk2"/>
              </a:solidFill>
              <a:latin typeface="Inter"/>
              <a:ea typeface="Inter"/>
              <a:cs typeface="Inter"/>
              <a:sym typeface="Inter"/>
            </a:endParaRPr>
          </a:p>
        </p:txBody>
      </p:sp>
      <p:sp>
        <p:nvSpPr>
          <p:cNvPr id="153" name="Google Shape;153;p12"/>
          <p:cNvSpPr/>
          <p:nvPr/>
        </p:nvSpPr>
        <p:spPr>
          <a:xfrm>
            <a:off x="481601" y="414630"/>
            <a:ext cx="349111" cy="305471"/>
          </a:xfrm>
          <a:custGeom>
            <a:avLst/>
            <a:gdLst/>
            <a:ahLst/>
            <a:cxnLst/>
            <a:rect l="l" t="t" r="r" b="b"/>
            <a:pathLst>
              <a:path w="1586865" h="1388506" extrusionOk="0">
                <a:moveTo>
                  <a:pt x="1083683" y="969931"/>
                </a:moveTo>
                <a:lnTo>
                  <a:pt x="1083683" y="579692"/>
                </a:lnTo>
                <a:lnTo>
                  <a:pt x="849297" y="969931"/>
                </a:lnTo>
                <a:lnTo>
                  <a:pt x="848892" y="969931"/>
                </a:lnTo>
                <a:cubicBezTo>
                  <a:pt x="848892" y="969931"/>
                  <a:pt x="848892" y="969931"/>
                  <a:pt x="848892" y="969931"/>
                </a:cubicBezTo>
                <a:lnTo>
                  <a:pt x="738783" y="969931"/>
                </a:lnTo>
                <a:lnTo>
                  <a:pt x="738783" y="577668"/>
                </a:lnTo>
                <a:lnTo>
                  <a:pt x="549735" y="892612"/>
                </a:lnTo>
                <a:cubicBezTo>
                  <a:pt x="527876" y="929449"/>
                  <a:pt x="510873" y="958191"/>
                  <a:pt x="503992" y="969931"/>
                </a:cubicBezTo>
                <a:lnTo>
                  <a:pt x="393073" y="969931"/>
                </a:lnTo>
                <a:lnTo>
                  <a:pt x="393073" y="418576"/>
                </a:lnTo>
                <a:lnTo>
                  <a:pt x="503992" y="418576"/>
                </a:lnTo>
                <a:lnTo>
                  <a:pt x="502777" y="760643"/>
                </a:lnTo>
                <a:lnTo>
                  <a:pt x="503587" y="782098"/>
                </a:lnTo>
                <a:lnTo>
                  <a:pt x="721781" y="418981"/>
                </a:lnTo>
                <a:lnTo>
                  <a:pt x="721781" y="418981"/>
                </a:lnTo>
                <a:lnTo>
                  <a:pt x="721781" y="418981"/>
                </a:lnTo>
                <a:lnTo>
                  <a:pt x="739188" y="418981"/>
                </a:lnTo>
                <a:lnTo>
                  <a:pt x="847678" y="418981"/>
                </a:lnTo>
                <a:cubicBezTo>
                  <a:pt x="847678" y="418981"/>
                  <a:pt x="848487" y="722995"/>
                  <a:pt x="848892" y="783717"/>
                </a:cubicBezTo>
                <a:lnTo>
                  <a:pt x="1067895" y="418981"/>
                </a:lnTo>
                <a:lnTo>
                  <a:pt x="1067895" y="418981"/>
                </a:lnTo>
                <a:lnTo>
                  <a:pt x="1067895" y="418981"/>
                </a:lnTo>
                <a:lnTo>
                  <a:pt x="1085302" y="418981"/>
                </a:lnTo>
                <a:lnTo>
                  <a:pt x="1193387" y="418981"/>
                </a:lnTo>
                <a:lnTo>
                  <a:pt x="1193387" y="970336"/>
                </a:lnTo>
                <a:lnTo>
                  <a:pt x="1083683" y="970336"/>
                </a:lnTo>
                <a:close/>
                <a:moveTo>
                  <a:pt x="1190149" y="0"/>
                </a:moveTo>
                <a:lnTo>
                  <a:pt x="396716" y="0"/>
                </a:lnTo>
                <a:lnTo>
                  <a:pt x="0" y="694253"/>
                </a:lnTo>
                <a:lnTo>
                  <a:pt x="396716" y="1388507"/>
                </a:lnTo>
                <a:lnTo>
                  <a:pt x="1190149" y="1388507"/>
                </a:lnTo>
                <a:lnTo>
                  <a:pt x="1586865" y="694253"/>
                </a:lnTo>
                <a:lnTo>
                  <a:pt x="1190149" y="0"/>
                </a:lnTo>
                <a:close/>
              </a:path>
            </a:pathLst>
          </a:custGeom>
          <a:solidFill>
            <a:schemeClr val="dk2"/>
          </a:solidFill>
          <a:ln>
            <a:noFill/>
          </a:ln>
        </p:spPr>
        <p:txBody>
          <a:bodyPr spcFirstLastPara="1" wrap="square" lIns="91433" tIns="45700" rIns="91433" bIns="45700"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9000942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DF1310-19EC-0E40-0462-5C1103BA96AD}"/>
              </a:ext>
            </a:extLst>
          </p:cNvPr>
          <p:cNvSpPr>
            <a:spLocks noGrp="1"/>
          </p:cNvSpPr>
          <p:nvPr>
            <p:ph type="title"/>
          </p:nvPr>
        </p:nvSpPr>
        <p:spPr/>
        <p:txBody>
          <a:bodyPr/>
          <a:lstStyle/>
          <a:p>
            <a:r>
              <a:rPr lang="en-GB"/>
              <a:t>Click to edit Master title style</a:t>
            </a:r>
          </a:p>
        </p:txBody>
      </p:sp>
      <p:sp>
        <p:nvSpPr>
          <p:cNvPr id="3" name="Content Placeholder 2">
            <a:extLst>
              <a:ext uri="{FF2B5EF4-FFF2-40B4-BE49-F238E27FC236}">
                <a16:creationId xmlns:a16="http://schemas.microsoft.com/office/drawing/2014/main" id="{9F1EFAEA-C02C-25A3-7DA7-54804DDA1155}"/>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a:extLst>
              <a:ext uri="{FF2B5EF4-FFF2-40B4-BE49-F238E27FC236}">
                <a16:creationId xmlns:a16="http://schemas.microsoft.com/office/drawing/2014/main" id="{19F754A4-E6DE-1A1E-A323-8DD6B0D7F14A}"/>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Date Placeholder 4">
            <a:extLst>
              <a:ext uri="{FF2B5EF4-FFF2-40B4-BE49-F238E27FC236}">
                <a16:creationId xmlns:a16="http://schemas.microsoft.com/office/drawing/2014/main" id="{021AC82A-8AEA-87A1-64ED-7C38EC65739D}"/>
              </a:ext>
            </a:extLst>
          </p:cNvPr>
          <p:cNvSpPr>
            <a:spLocks noGrp="1"/>
          </p:cNvSpPr>
          <p:nvPr>
            <p:ph type="dt" sz="half" idx="10"/>
          </p:nvPr>
        </p:nvSpPr>
        <p:spPr/>
        <p:txBody>
          <a:bodyPr/>
          <a:lstStyle/>
          <a:p>
            <a:fld id="{923CFB00-16CD-4A5D-8353-B2F2FFED28E8}" type="datetimeFigureOut">
              <a:rPr lang="en-GB" smtClean="0"/>
              <a:t>23/06/2024</a:t>
            </a:fld>
            <a:endParaRPr lang="en-GB"/>
          </a:p>
        </p:txBody>
      </p:sp>
      <p:sp>
        <p:nvSpPr>
          <p:cNvPr id="6" name="Footer Placeholder 5">
            <a:extLst>
              <a:ext uri="{FF2B5EF4-FFF2-40B4-BE49-F238E27FC236}">
                <a16:creationId xmlns:a16="http://schemas.microsoft.com/office/drawing/2014/main" id="{4E520787-2F7B-8D81-4904-ADC9E917CDA9}"/>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82D76944-758B-81C5-F924-8F5BE82B257C}"/>
              </a:ext>
            </a:extLst>
          </p:cNvPr>
          <p:cNvSpPr>
            <a:spLocks noGrp="1"/>
          </p:cNvSpPr>
          <p:nvPr>
            <p:ph type="sldNum" sz="quarter" idx="12"/>
          </p:nvPr>
        </p:nvSpPr>
        <p:spPr/>
        <p:txBody>
          <a:bodyPr/>
          <a:lstStyle/>
          <a:p>
            <a:fld id="{140D1FED-518D-4FB4-BCAB-05C56058F68A}" type="slidenum">
              <a:rPr lang="en-GB" smtClean="0"/>
              <a:t>‹#›</a:t>
            </a:fld>
            <a:endParaRPr lang="en-GB"/>
          </a:p>
        </p:txBody>
      </p:sp>
    </p:spTree>
    <p:extLst>
      <p:ext uri="{BB962C8B-B14F-4D97-AF65-F5344CB8AC3E}">
        <p14:creationId xmlns:p14="http://schemas.microsoft.com/office/powerpoint/2010/main" val="277050452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Title and Content - Ultraviolet">
  <p:cSld name="Title and Content - Ultraviolet">
    <p:bg>
      <p:bgPr>
        <a:solidFill>
          <a:schemeClr val="dk2"/>
        </a:solidFill>
        <a:effectLst/>
      </p:bgPr>
    </p:bg>
    <p:spTree>
      <p:nvGrpSpPr>
        <p:cNvPr id="1" name="Shape 154"/>
        <p:cNvGrpSpPr/>
        <p:nvPr/>
      </p:nvGrpSpPr>
      <p:grpSpPr>
        <a:xfrm>
          <a:off x="0" y="0"/>
          <a:ext cx="0" cy="0"/>
          <a:chOff x="0" y="0"/>
          <a:chExt cx="0" cy="0"/>
        </a:xfrm>
      </p:grpSpPr>
      <p:sp>
        <p:nvSpPr>
          <p:cNvPr id="155" name="Google Shape;155;p13"/>
          <p:cNvSpPr txBox="1">
            <a:spLocks noGrp="1"/>
          </p:cNvSpPr>
          <p:nvPr>
            <p:ph type="title"/>
          </p:nvPr>
        </p:nvSpPr>
        <p:spPr>
          <a:xfrm>
            <a:off x="951700" y="359997"/>
            <a:ext cx="10515600" cy="975200"/>
          </a:xfrm>
          <a:prstGeom prst="rect">
            <a:avLst/>
          </a:prstGeom>
          <a:noFill/>
          <a:ln>
            <a:noFill/>
          </a:ln>
        </p:spPr>
        <p:txBody>
          <a:bodyPr spcFirstLastPara="1" wrap="square" lIns="0" tIns="0" rIns="68575" bIns="34275" anchor="t" anchorCtr="0">
            <a:noAutofit/>
          </a:bodyPr>
          <a:lstStyle>
            <a:lvl1pPr lvl="0" algn="l" rtl="0">
              <a:lnSpc>
                <a:spcPct val="90000"/>
              </a:lnSpc>
              <a:spcBef>
                <a:spcPts val="0"/>
              </a:spcBef>
              <a:spcAft>
                <a:spcPts val="0"/>
              </a:spcAft>
              <a:buClr>
                <a:schemeClr val="lt1"/>
              </a:buClr>
              <a:buSzPts val="2400"/>
              <a:buFont typeface="Inter Medium"/>
              <a:buNone/>
              <a:defRPr sz="3200">
                <a:solidFill>
                  <a:schemeClr val="lt1"/>
                </a:solidFill>
                <a:latin typeface="Inter Medium"/>
                <a:ea typeface="Inter Medium"/>
                <a:cs typeface="Inter Medium"/>
                <a:sym typeface="Inter Medium"/>
              </a:defRPr>
            </a:lvl1pPr>
            <a:lvl2pPr lvl="1" rtl="0">
              <a:spcBef>
                <a:spcPts val="0"/>
              </a:spcBef>
              <a:spcAft>
                <a:spcPts val="0"/>
              </a:spcAft>
              <a:buClr>
                <a:schemeClr val="lt1"/>
              </a:buClr>
              <a:buSzPts val="1100"/>
              <a:buNone/>
              <a:defRPr b="1">
                <a:solidFill>
                  <a:schemeClr val="lt1"/>
                </a:solidFill>
              </a:defRPr>
            </a:lvl2pPr>
            <a:lvl3pPr lvl="2" rtl="0">
              <a:spcBef>
                <a:spcPts val="0"/>
              </a:spcBef>
              <a:spcAft>
                <a:spcPts val="0"/>
              </a:spcAft>
              <a:buClr>
                <a:schemeClr val="lt1"/>
              </a:buClr>
              <a:buSzPts val="1100"/>
              <a:buNone/>
              <a:defRPr b="1">
                <a:solidFill>
                  <a:schemeClr val="lt1"/>
                </a:solidFill>
              </a:defRPr>
            </a:lvl3pPr>
            <a:lvl4pPr lvl="3" rtl="0">
              <a:spcBef>
                <a:spcPts val="0"/>
              </a:spcBef>
              <a:spcAft>
                <a:spcPts val="0"/>
              </a:spcAft>
              <a:buClr>
                <a:schemeClr val="lt1"/>
              </a:buClr>
              <a:buSzPts val="1100"/>
              <a:buNone/>
              <a:defRPr b="1">
                <a:solidFill>
                  <a:schemeClr val="lt1"/>
                </a:solidFill>
              </a:defRPr>
            </a:lvl4pPr>
            <a:lvl5pPr lvl="4" rtl="0">
              <a:spcBef>
                <a:spcPts val="0"/>
              </a:spcBef>
              <a:spcAft>
                <a:spcPts val="0"/>
              </a:spcAft>
              <a:buClr>
                <a:schemeClr val="lt1"/>
              </a:buClr>
              <a:buSzPts val="1100"/>
              <a:buNone/>
              <a:defRPr b="1">
                <a:solidFill>
                  <a:schemeClr val="lt1"/>
                </a:solidFill>
              </a:defRPr>
            </a:lvl5pPr>
            <a:lvl6pPr lvl="5" rtl="0">
              <a:spcBef>
                <a:spcPts val="0"/>
              </a:spcBef>
              <a:spcAft>
                <a:spcPts val="0"/>
              </a:spcAft>
              <a:buClr>
                <a:schemeClr val="lt1"/>
              </a:buClr>
              <a:buSzPts val="1100"/>
              <a:buNone/>
              <a:defRPr b="1">
                <a:solidFill>
                  <a:schemeClr val="lt1"/>
                </a:solidFill>
              </a:defRPr>
            </a:lvl6pPr>
            <a:lvl7pPr lvl="6" rtl="0">
              <a:spcBef>
                <a:spcPts val="0"/>
              </a:spcBef>
              <a:spcAft>
                <a:spcPts val="0"/>
              </a:spcAft>
              <a:buClr>
                <a:schemeClr val="lt1"/>
              </a:buClr>
              <a:buSzPts val="1100"/>
              <a:buNone/>
              <a:defRPr b="1">
                <a:solidFill>
                  <a:schemeClr val="lt1"/>
                </a:solidFill>
              </a:defRPr>
            </a:lvl7pPr>
            <a:lvl8pPr lvl="7" rtl="0">
              <a:spcBef>
                <a:spcPts val="0"/>
              </a:spcBef>
              <a:spcAft>
                <a:spcPts val="0"/>
              </a:spcAft>
              <a:buClr>
                <a:schemeClr val="lt1"/>
              </a:buClr>
              <a:buSzPts val="1100"/>
              <a:buNone/>
              <a:defRPr b="1">
                <a:solidFill>
                  <a:schemeClr val="lt1"/>
                </a:solidFill>
              </a:defRPr>
            </a:lvl8pPr>
            <a:lvl9pPr lvl="8" rtl="0">
              <a:spcBef>
                <a:spcPts val="0"/>
              </a:spcBef>
              <a:spcAft>
                <a:spcPts val="0"/>
              </a:spcAft>
              <a:buClr>
                <a:schemeClr val="lt1"/>
              </a:buClr>
              <a:buSzPts val="1100"/>
              <a:buNone/>
              <a:defRPr b="1">
                <a:solidFill>
                  <a:schemeClr val="lt1"/>
                </a:solidFill>
              </a:defRPr>
            </a:lvl9pPr>
          </a:lstStyle>
          <a:p>
            <a:endParaRPr/>
          </a:p>
        </p:txBody>
      </p:sp>
      <p:sp>
        <p:nvSpPr>
          <p:cNvPr id="156" name="Google Shape;156;p13"/>
          <p:cNvSpPr txBox="1">
            <a:spLocks noGrp="1"/>
          </p:cNvSpPr>
          <p:nvPr>
            <p:ph type="body" idx="1"/>
          </p:nvPr>
        </p:nvSpPr>
        <p:spPr>
          <a:xfrm>
            <a:off x="481600" y="1825633"/>
            <a:ext cx="10718000" cy="4351200"/>
          </a:xfrm>
          <a:prstGeom prst="rect">
            <a:avLst/>
          </a:prstGeom>
          <a:noFill/>
          <a:ln>
            <a:noFill/>
          </a:ln>
        </p:spPr>
        <p:txBody>
          <a:bodyPr spcFirstLastPara="1" wrap="square" lIns="0" tIns="34275" rIns="68575" bIns="34275" anchor="t" anchorCtr="0">
            <a:noAutofit/>
          </a:bodyPr>
          <a:lstStyle>
            <a:lvl1pPr marL="609585" lvl="0" indent="-406390" algn="l" rtl="0">
              <a:lnSpc>
                <a:spcPct val="125000"/>
              </a:lnSpc>
              <a:spcBef>
                <a:spcPts val="0"/>
              </a:spcBef>
              <a:spcAft>
                <a:spcPts val="0"/>
              </a:spcAft>
              <a:buClr>
                <a:schemeClr val="lt1"/>
              </a:buClr>
              <a:buSzPts val="1200"/>
              <a:buFont typeface="Inter"/>
              <a:buChar char="●"/>
              <a:defRPr>
                <a:solidFill>
                  <a:schemeClr val="lt1"/>
                </a:solidFill>
              </a:defRPr>
            </a:lvl1pPr>
            <a:lvl2pPr marL="1219170" lvl="1" indent="-406390" algn="l" rtl="0">
              <a:lnSpc>
                <a:spcPct val="125000"/>
              </a:lnSpc>
              <a:spcBef>
                <a:spcPts val="1200"/>
              </a:spcBef>
              <a:spcAft>
                <a:spcPts val="0"/>
              </a:spcAft>
              <a:buClr>
                <a:schemeClr val="lt1"/>
              </a:buClr>
              <a:buSzPts val="1200"/>
              <a:buFont typeface="Inter"/>
              <a:buChar char="●"/>
              <a:defRPr>
                <a:solidFill>
                  <a:schemeClr val="lt1"/>
                </a:solidFill>
              </a:defRPr>
            </a:lvl2pPr>
            <a:lvl3pPr marL="1828754" lvl="2" indent="-406390" algn="l" rtl="0">
              <a:lnSpc>
                <a:spcPct val="125000"/>
              </a:lnSpc>
              <a:spcBef>
                <a:spcPts val="1200"/>
              </a:spcBef>
              <a:spcAft>
                <a:spcPts val="0"/>
              </a:spcAft>
              <a:buClr>
                <a:schemeClr val="lt1"/>
              </a:buClr>
              <a:buSzPts val="1200"/>
              <a:buFont typeface="Inter"/>
              <a:buChar char="●"/>
              <a:defRPr>
                <a:solidFill>
                  <a:schemeClr val="lt1"/>
                </a:solidFill>
              </a:defRPr>
            </a:lvl3pPr>
            <a:lvl4pPr marL="2438339" lvl="3" indent="-406390" algn="l" rtl="0">
              <a:lnSpc>
                <a:spcPct val="125000"/>
              </a:lnSpc>
              <a:spcBef>
                <a:spcPts val="1200"/>
              </a:spcBef>
              <a:spcAft>
                <a:spcPts val="0"/>
              </a:spcAft>
              <a:buClr>
                <a:schemeClr val="lt1"/>
              </a:buClr>
              <a:buSzPts val="1200"/>
              <a:buFont typeface="Inter"/>
              <a:buChar char="●"/>
              <a:defRPr>
                <a:solidFill>
                  <a:schemeClr val="lt1"/>
                </a:solidFill>
              </a:defRPr>
            </a:lvl4pPr>
            <a:lvl5pPr marL="3047924" lvl="4" indent="-406390" algn="l" rtl="0">
              <a:lnSpc>
                <a:spcPct val="125000"/>
              </a:lnSpc>
              <a:spcBef>
                <a:spcPts val="1200"/>
              </a:spcBef>
              <a:spcAft>
                <a:spcPts val="0"/>
              </a:spcAft>
              <a:buClr>
                <a:schemeClr val="lt1"/>
              </a:buClr>
              <a:buSzPts val="1200"/>
              <a:buFont typeface="Inter"/>
              <a:buChar char="●"/>
              <a:defRPr>
                <a:solidFill>
                  <a:schemeClr val="lt1"/>
                </a:solidFill>
              </a:defRPr>
            </a:lvl5pPr>
            <a:lvl6pPr marL="3657509" lvl="5" indent="-406390" algn="l" rtl="0">
              <a:lnSpc>
                <a:spcPct val="125000"/>
              </a:lnSpc>
              <a:spcBef>
                <a:spcPts val="1200"/>
              </a:spcBef>
              <a:spcAft>
                <a:spcPts val="0"/>
              </a:spcAft>
              <a:buClr>
                <a:schemeClr val="lt1"/>
              </a:buClr>
              <a:buSzPts val="1200"/>
              <a:buFont typeface="Inter"/>
              <a:buChar char="●"/>
              <a:defRPr>
                <a:solidFill>
                  <a:schemeClr val="lt1"/>
                </a:solidFill>
              </a:defRPr>
            </a:lvl6pPr>
            <a:lvl7pPr marL="4267093" lvl="6" indent="-406390" algn="l" rtl="0">
              <a:lnSpc>
                <a:spcPct val="125000"/>
              </a:lnSpc>
              <a:spcBef>
                <a:spcPts val="1200"/>
              </a:spcBef>
              <a:spcAft>
                <a:spcPts val="0"/>
              </a:spcAft>
              <a:buClr>
                <a:schemeClr val="lt1"/>
              </a:buClr>
              <a:buSzPts val="1200"/>
              <a:buFont typeface="Inter"/>
              <a:buChar char="●"/>
              <a:defRPr>
                <a:solidFill>
                  <a:schemeClr val="lt1"/>
                </a:solidFill>
              </a:defRPr>
            </a:lvl7pPr>
            <a:lvl8pPr marL="4876678" lvl="7" indent="-406390" algn="l" rtl="0">
              <a:lnSpc>
                <a:spcPct val="125000"/>
              </a:lnSpc>
              <a:spcBef>
                <a:spcPts val="1200"/>
              </a:spcBef>
              <a:spcAft>
                <a:spcPts val="0"/>
              </a:spcAft>
              <a:buClr>
                <a:schemeClr val="lt1"/>
              </a:buClr>
              <a:buSzPts val="1200"/>
              <a:buFont typeface="Inter"/>
              <a:buChar char="●"/>
              <a:defRPr>
                <a:solidFill>
                  <a:schemeClr val="lt1"/>
                </a:solidFill>
              </a:defRPr>
            </a:lvl8pPr>
            <a:lvl9pPr marL="5486263" lvl="8" indent="-406390" algn="l" rtl="0">
              <a:lnSpc>
                <a:spcPct val="125000"/>
              </a:lnSpc>
              <a:spcBef>
                <a:spcPts val="1200"/>
              </a:spcBef>
              <a:spcAft>
                <a:spcPts val="1200"/>
              </a:spcAft>
              <a:buClr>
                <a:schemeClr val="lt1"/>
              </a:buClr>
              <a:buSzPts val="1200"/>
              <a:buFont typeface="Inter"/>
              <a:buChar char="●"/>
              <a:defRPr>
                <a:solidFill>
                  <a:schemeClr val="lt1"/>
                </a:solidFill>
              </a:defRPr>
            </a:lvl9pPr>
          </a:lstStyle>
          <a:p>
            <a:endParaRPr/>
          </a:p>
        </p:txBody>
      </p:sp>
      <p:sp>
        <p:nvSpPr>
          <p:cNvPr id="157" name="Google Shape;157;p13"/>
          <p:cNvSpPr txBox="1">
            <a:spLocks noGrp="1"/>
          </p:cNvSpPr>
          <p:nvPr>
            <p:ph type="sldNum" idx="12"/>
          </p:nvPr>
        </p:nvSpPr>
        <p:spPr>
          <a:xfrm>
            <a:off x="10978812" y="5993647"/>
            <a:ext cx="731600" cy="524800"/>
          </a:xfrm>
          <a:prstGeom prst="rect">
            <a:avLst/>
          </a:prstGeom>
        </p:spPr>
        <p:txBody>
          <a:bodyPr spcFirstLastPara="1" wrap="square" lIns="91425" tIns="91425" rIns="0" bIns="0" anchor="b" anchorCtr="0">
            <a:noAutofit/>
          </a:bodyPr>
          <a:lstStyle>
            <a:lvl1pPr lvl="0" algn="r" rtl="0">
              <a:buNone/>
              <a:defRPr sz="667">
                <a:solidFill>
                  <a:schemeClr val="lt1"/>
                </a:solidFill>
                <a:latin typeface="Inter"/>
                <a:ea typeface="Inter"/>
                <a:cs typeface="Inter"/>
                <a:sym typeface="Inter"/>
              </a:defRPr>
            </a:lvl1pPr>
            <a:lvl2pPr lvl="1" algn="r" rtl="0">
              <a:buNone/>
              <a:defRPr sz="667">
                <a:solidFill>
                  <a:schemeClr val="lt1"/>
                </a:solidFill>
                <a:latin typeface="Inter"/>
                <a:ea typeface="Inter"/>
                <a:cs typeface="Inter"/>
                <a:sym typeface="Inter"/>
              </a:defRPr>
            </a:lvl2pPr>
            <a:lvl3pPr lvl="2" algn="r" rtl="0">
              <a:buNone/>
              <a:defRPr sz="667">
                <a:solidFill>
                  <a:schemeClr val="lt1"/>
                </a:solidFill>
                <a:latin typeface="Inter"/>
                <a:ea typeface="Inter"/>
                <a:cs typeface="Inter"/>
                <a:sym typeface="Inter"/>
              </a:defRPr>
            </a:lvl3pPr>
            <a:lvl4pPr lvl="3" algn="r" rtl="0">
              <a:buNone/>
              <a:defRPr sz="667">
                <a:solidFill>
                  <a:schemeClr val="lt1"/>
                </a:solidFill>
                <a:latin typeface="Inter"/>
                <a:ea typeface="Inter"/>
                <a:cs typeface="Inter"/>
                <a:sym typeface="Inter"/>
              </a:defRPr>
            </a:lvl4pPr>
            <a:lvl5pPr lvl="4" algn="r" rtl="0">
              <a:buNone/>
              <a:defRPr sz="667">
                <a:solidFill>
                  <a:schemeClr val="lt1"/>
                </a:solidFill>
                <a:latin typeface="Inter"/>
                <a:ea typeface="Inter"/>
                <a:cs typeface="Inter"/>
                <a:sym typeface="Inter"/>
              </a:defRPr>
            </a:lvl5pPr>
            <a:lvl6pPr lvl="5" algn="r" rtl="0">
              <a:buNone/>
              <a:defRPr sz="667">
                <a:solidFill>
                  <a:schemeClr val="lt1"/>
                </a:solidFill>
                <a:latin typeface="Inter"/>
                <a:ea typeface="Inter"/>
                <a:cs typeface="Inter"/>
                <a:sym typeface="Inter"/>
              </a:defRPr>
            </a:lvl6pPr>
            <a:lvl7pPr lvl="6" algn="r" rtl="0">
              <a:buNone/>
              <a:defRPr sz="667">
                <a:solidFill>
                  <a:schemeClr val="lt1"/>
                </a:solidFill>
                <a:latin typeface="Inter"/>
                <a:ea typeface="Inter"/>
                <a:cs typeface="Inter"/>
                <a:sym typeface="Inter"/>
              </a:defRPr>
            </a:lvl7pPr>
            <a:lvl8pPr lvl="7" algn="r" rtl="0">
              <a:buNone/>
              <a:defRPr sz="667">
                <a:solidFill>
                  <a:schemeClr val="lt1"/>
                </a:solidFill>
                <a:latin typeface="Inter"/>
                <a:ea typeface="Inter"/>
                <a:cs typeface="Inter"/>
                <a:sym typeface="Inter"/>
              </a:defRPr>
            </a:lvl8pPr>
            <a:lvl9pPr lvl="8" algn="r" rtl="0">
              <a:buNone/>
              <a:defRPr sz="667">
                <a:solidFill>
                  <a:schemeClr val="lt1"/>
                </a:solidFill>
                <a:latin typeface="Inter"/>
                <a:ea typeface="Inter"/>
                <a:cs typeface="Inter"/>
                <a:sym typeface="Inter"/>
              </a:defRPr>
            </a:lvl9pPr>
          </a:lstStyle>
          <a:p>
            <a:fld id="{00000000-1234-1234-1234-123412341234}" type="slidenum">
              <a:rPr lang="en-GB" smtClean="0"/>
              <a:pPr/>
              <a:t>‹#›</a:t>
            </a:fld>
            <a:endParaRPr lang="en-GB"/>
          </a:p>
        </p:txBody>
      </p:sp>
      <p:sp>
        <p:nvSpPr>
          <p:cNvPr id="158" name="Google Shape;158;p13"/>
          <p:cNvSpPr txBox="1"/>
          <p:nvPr/>
        </p:nvSpPr>
        <p:spPr>
          <a:xfrm>
            <a:off x="481600" y="6245247"/>
            <a:ext cx="1288400" cy="273200"/>
          </a:xfrm>
          <a:prstGeom prst="rect">
            <a:avLst/>
          </a:prstGeom>
          <a:noFill/>
          <a:ln>
            <a:noFill/>
          </a:ln>
        </p:spPr>
        <p:txBody>
          <a:bodyPr spcFirstLastPara="1" wrap="square" lIns="0" tIns="0" rIns="0" bIns="0" anchor="b" anchorCtr="0">
            <a:noAutofit/>
          </a:bodyPr>
          <a:lstStyle/>
          <a:p>
            <a:pPr marL="0" lvl="0" indent="0" algn="l" rtl="0">
              <a:spcBef>
                <a:spcPts val="0"/>
              </a:spcBef>
              <a:spcAft>
                <a:spcPts val="0"/>
              </a:spcAft>
              <a:buNone/>
            </a:pPr>
            <a:r>
              <a:rPr lang="en-GB" sz="667">
                <a:solidFill>
                  <a:schemeClr val="lt1"/>
                </a:solidFill>
                <a:latin typeface="Inter"/>
                <a:ea typeface="Inter"/>
                <a:cs typeface="Inter"/>
                <a:sym typeface="Inter"/>
              </a:rPr>
              <a:t>Multiverse</a:t>
            </a:r>
            <a:endParaRPr sz="667">
              <a:solidFill>
                <a:schemeClr val="lt1"/>
              </a:solidFill>
              <a:latin typeface="Inter"/>
              <a:ea typeface="Inter"/>
              <a:cs typeface="Inter"/>
              <a:sym typeface="Inter"/>
            </a:endParaRPr>
          </a:p>
        </p:txBody>
      </p:sp>
      <p:sp>
        <p:nvSpPr>
          <p:cNvPr id="159" name="Google Shape;159;p13"/>
          <p:cNvSpPr/>
          <p:nvPr/>
        </p:nvSpPr>
        <p:spPr>
          <a:xfrm>
            <a:off x="481601" y="414630"/>
            <a:ext cx="349111" cy="305471"/>
          </a:xfrm>
          <a:custGeom>
            <a:avLst/>
            <a:gdLst/>
            <a:ahLst/>
            <a:cxnLst/>
            <a:rect l="l" t="t" r="r" b="b"/>
            <a:pathLst>
              <a:path w="1586865" h="1388506" extrusionOk="0">
                <a:moveTo>
                  <a:pt x="1083683" y="969931"/>
                </a:moveTo>
                <a:lnTo>
                  <a:pt x="1083683" y="579692"/>
                </a:lnTo>
                <a:lnTo>
                  <a:pt x="849297" y="969931"/>
                </a:lnTo>
                <a:lnTo>
                  <a:pt x="848892" y="969931"/>
                </a:lnTo>
                <a:cubicBezTo>
                  <a:pt x="848892" y="969931"/>
                  <a:pt x="848892" y="969931"/>
                  <a:pt x="848892" y="969931"/>
                </a:cubicBezTo>
                <a:lnTo>
                  <a:pt x="738783" y="969931"/>
                </a:lnTo>
                <a:lnTo>
                  <a:pt x="738783" y="577668"/>
                </a:lnTo>
                <a:lnTo>
                  <a:pt x="549735" y="892612"/>
                </a:lnTo>
                <a:cubicBezTo>
                  <a:pt x="527876" y="929449"/>
                  <a:pt x="510873" y="958191"/>
                  <a:pt x="503992" y="969931"/>
                </a:cubicBezTo>
                <a:lnTo>
                  <a:pt x="393073" y="969931"/>
                </a:lnTo>
                <a:lnTo>
                  <a:pt x="393073" y="418576"/>
                </a:lnTo>
                <a:lnTo>
                  <a:pt x="503992" y="418576"/>
                </a:lnTo>
                <a:lnTo>
                  <a:pt x="502777" y="760643"/>
                </a:lnTo>
                <a:lnTo>
                  <a:pt x="503587" y="782098"/>
                </a:lnTo>
                <a:lnTo>
                  <a:pt x="721781" y="418981"/>
                </a:lnTo>
                <a:lnTo>
                  <a:pt x="721781" y="418981"/>
                </a:lnTo>
                <a:lnTo>
                  <a:pt x="721781" y="418981"/>
                </a:lnTo>
                <a:lnTo>
                  <a:pt x="739188" y="418981"/>
                </a:lnTo>
                <a:lnTo>
                  <a:pt x="847678" y="418981"/>
                </a:lnTo>
                <a:cubicBezTo>
                  <a:pt x="847678" y="418981"/>
                  <a:pt x="848487" y="722995"/>
                  <a:pt x="848892" y="783717"/>
                </a:cubicBezTo>
                <a:lnTo>
                  <a:pt x="1067895" y="418981"/>
                </a:lnTo>
                <a:lnTo>
                  <a:pt x="1067895" y="418981"/>
                </a:lnTo>
                <a:lnTo>
                  <a:pt x="1067895" y="418981"/>
                </a:lnTo>
                <a:lnTo>
                  <a:pt x="1085302" y="418981"/>
                </a:lnTo>
                <a:lnTo>
                  <a:pt x="1193387" y="418981"/>
                </a:lnTo>
                <a:lnTo>
                  <a:pt x="1193387" y="970336"/>
                </a:lnTo>
                <a:lnTo>
                  <a:pt x="1083683" y="970336"/>
                </a:lnTo>
                <a:close/>
                <a:moveTo>
                  <a:pt x="1190149" y="0"/>
                </a:moveTo>
                <a:lnTo>
                  <a:pt x="396716" y="0"/>
                </a:lnTo>
                <a:lnTo>
                  <a:pt x="0" y="694253"/>
                </a:lnTo>
                <a:lnTo>
                  <a:pt x="396716" y="1388507"/>
                </a:lnTo>
                <a:lnTo>
                  <a:pt x="1190149" y="1388507"/>
                </a:lnTo>
                <a:lnTo>
                  <a:pt x="1586865" y="694253"/>
                </a:lnTo>
                <a:lnTo>
                  <a:pt x="1190149" y="0"/>
                </a:lnTo>
                <a:close/>
              </a:path>
            </a:pathLst>
          </a:custGeom>
          <a:solidFill>
            <a:schemeClr val="lt1"/>
          </a:solidFill>
          <a:ln>
            <a:noFill/>
          </a:ln>
        </p:spPr>
        <p:txBody>
          <a:bodyPr spcFirstLastPara="1" wrap="square" lIns="91433" tIns="45700" rIns="91433" bIns="45700"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60" name="Google Shape;160;p13"/>
          <p:cNvSpPr txBox="1"/>
          <p:nvPr/>
        </p:nvSpPr>
        <p:spPr>
          <a:xfrm>
            <a:off x="5451800" y="6245247"/>
            <a:ext cx="1288400" cy="273200"/>
          </a:xfrm>
          <a:prstGeom prst="rect">
            <a:avLst/>
          </a:prstGeom>
          <a:noFill/>
          <a:ln>
            <a:noFill/>
          </a:ln>
        </p:spPr>
        <p:txBody>
          <a:bodyPr spcFirstLastPara="1" wrap="square" lIns="0" tIns="0" rIns="0" bIns="0" anchor="b" anchorCtr="0">
            <a:noAutofit/>
          </a:bodyPr>
          <a:lstStyle/>
          <a:p>
            <a:pPr marL="0" lvl="0" indent="0" algn="ctr" rtl="0">
              <a:spcBef>
                <a:spcPts val="0"/>
              </a:spcBef>
              <a:spcAft>
                <a:spcPts val="0"/>
              </a:spcAft>
              <a:buNone/>
            </a:pPr>
            <a:r>
              <a:rPr lang="en-GB" sz="667">
                <a:solidFill>
                  <a:schemeClr val="lt1"/>
                </a:solidFill>
                <a:latin typeface="Inter"/>
                <a:ea typeface="Inter"/>
                <a:cs typeface="Inter"/>
                <a:sym typeface="Inter"/>
              </a:rPr>
              <a:t>Private and Confidential</a:t>
            </a:r>
            <a:endParaRPr sz="667">
              <a:solidFill>
                <a:schemeClr val="lt1"/>
              </a:solidFill>
              <a:latin typeface="Inter"/>
              <a:ea typeface="Inter"/>
              <a:cs typeface="Inter"/>
              <a:sym typeface="Inter"/>
            </a:endParaRPr>
          </a:p>
        </p:txBody>
      </p:sp>
    </p:spTree>
    <p:extLst>
      <p:ext uri="{BB962C8B-B14F-4D97-AF65-F5344CB8AC3E}">
        <p14:creationId xmlns:p14="http://schemas.microsoft.com/office/powerpoint/2010/main" val="251077355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Title and Content with Pattern">
  <p:cSld name="Title and Content with Pattern">
    <p:bg>
      <p:bgPr>
        <a:solidFill>
          <a:schemeClr val="dk2"/>
        </a:solidFill>
        <a:effectLst/>
      </p:bgPr>
    </p:bg>
    <p:spTree>
      <p:nvGrpSpPr>
        <p:cNvPr id="1" name="Shape 161"/>
        <p:cNvGrpSpPr/>
        <p:nvPr/>
      </p:nvGrpSpPr>
      <p:grpSpPr>
        <a:xfrm>
          <a:off x="0" y="0"/>
          <a:ext cx="0" cy="0"/>
          <a:chOff x="0" y="0"/>
          <a:chExt cx="0" cy="0"/>
        </a:xfrm>
      </p:grpSpPr>
      <p:grpSp>
        <p:nvGrpSpPr>
          <p:cNvPr id="162" name="Google Shape;162;p14"/>
          <p:cNvGrpSpPr/>
          <p:nvPr/>
        </p:nvGrpSpPr>
        <p:grpSpPr>
          <a:xfrm>
            <a:off x="0" y="0"/>
            <a:ext cx="12192000" cy="6858000"/>
            <a:chOff x="0" y="0"/>
            <a:chExt cx="12192000" cy="6858000"/>
          </a:xfrm>
        </p:grpSpPr>
        <p:sp>
          <p:nvSpPr>
            <p:cNvPr id="163" name="Google Shape;163;p14"/>
            <p:cNvSpPr/>
            <p:nvPr/>
          </p:nvSpPr>
          <p:spPr>
            <a:xfrm>
              <a:off x="417830" y="6829425"/>
              <a:ext cx="57784" cy="28575"/>
            </a:xfrm>
            <a:custGeom>
              <a:avLst/>
              <a:gdLst/>
              <a:ahLst/>
              <a:cxnLst/>
              <a:rect l="l" t="t" r="r" b="b"/>
              <a:pathLst>
                <a:path w="57784" h="28575" extrusionOk="0">
                  <a:moveTo>
                    <a:pt x="15240" y="16510"/>
                  </a:moveTo>
                  <a:lnTo>
                    <a:pt x="0" y="28575"/>
                  </a:lnTo>
                  <a:lnTo>
                    <a:pt x="57785" y="28575"/>
                  </a:lnTo>
                  <a:lnTo>
                    <a:pt x="3556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64" name="Google Shape;164;p14"/>
            <p:cNvSpPr/>
            <p:nvPr/>
          </p:nvSpPr>
          <p:spPr>
            <a:xfrm>
              <a:off x="450850" y="6458584"/>
              <a:ext cx="224155" cy="212090"/>
            </a:xfrm>
            <a:custGeom>
              <a:avLst/>
              <a:gdLst/>
              <a:ahLst/>
              <a:cxnLst/>
              <a:rect l="l" t="t" r="r" b="b"/>
              <a:pathLst>
                <a:path w="224155" h="212090" extrusionOk="0">
                  <a:moveTo>
                    <a:pt x="170815" y="17145"/>
                  </a:moveTo>
                  <a:lnTo>
                    <a:pt x="18415" y="157480"/>
                  </a:lnTo>
                  <a:lnTo>
                    <a:pt x="0" y="174625"/>
                  </a:lnTo>
                  <a:lnTo>
                    <a:pt x="34290" y="212090"/>
                  </a:lnTo>
                  <a:lnTo>
                    <a:pt x="52705" y="194945"/>
                  </a:lnTo>
                  <a:lnTo>
                    <a:pt x="205105" y="54610"/>
                  </a:lnTo>
                  <a:lnTo>
                    <a:pt x="224155" y="37465"/>
                  </a:lnTo>
                  <a:lnTo>
                    <a:pt x="18986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65" name="Google Shape;165;p14"/>
            <p:cNvSpPr/>
            <p:nvPr/>
          </p:nvSpPr>
          <p:spPr>
            <a:xfrm>
              <a:off x="1235075" y="6820534"/>
              <a:ext cx="74930" cy="37465"/>
            </a:xfrm>
            <a:custGeom>
              <a:avLst/>
              <a:gdLst/>
              <a:ahLst/>
              <a:cxnLst/>
              <a:rect l="l" t="t" r="r" b="b"/>
              <a:pathLst>
                <a:path w="74930" h="37465" extrusionOk="0">
                  <a:moveTo>
                    <a:pt x="21590" y="17145"/>
                  </a:moveTo>
                  <a:lnTo>
                    <a:pt x="0" y="37465"/>
                  </a:lnTo>
                  <a:lnTo>
                    <a:pt x="74930" y="37465"/>
                  </a:lnTo>
                  <a:lnTo>
                    <a:pt x="4064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66" name="Google Shape;166;p14"/>
            <p:cNvSpPr/>
            <p:nvPr/>
          </p:nvSpPr>
          <p:spPr>
            <a:xfrm>
              <a:off x="26669" y="5728970"/>
              <a:ext cx="224155" cy="223520"/>
            </a:xfrm>
            <a:custGeom>
              <a:avLst/>
              <a:gdLst/>
              <a:ahLst/>
              <a:cxnLst/>
              <a:rect l="l" t="t" r="r" b="b"/>
              <a:pathLst>
                <a:path w="224155" h="223520" extrusionOk="0">
                  <a:moveTo>
                    <a:pt x="170180" y="17780"/>
                  </a:moveTo>
                  <a:lnTo>
                    <a:pt x="17780" y="170180"/>
                  </a:lnTo>
                  <a:lnTo>
                    <a:pt x="0" y="187960"/>
                  </a:lnTo>
                  <a:lnTo>
                    <a:pt x="36195" y="223520"/>
                  </a:lnTo>
                  <a:lnTo>
                    <a:pt x="53975" y="205740"/>
                  </a:lnTo>
                  <a:lnTo>
                    <a:pt x="206375" y="53975"/>
                  </a:lnTo>
                  <a:lnTo>
                    <a:pt x="224155" y="35560"/>
                  </a:lnTo>
                  <a:lnTo>
                    <a:pt x="18859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67" name="Google Shape;167;p14"/>
            <p:cNvSpPr/>
            <p:nvPr/>
          </p:nvSpPr>
          <p:spPr>
            <a:xfrm>
              <a:off x="661669" y="6090920"/>
              <a:ext cx="224155" cy="223520"/>
            </a:xfrm>
            <a:custGeom>
              <a:avLst/>
              <a:gdLst/>
              <a:ahLst/>
              <a:cxnLst/>
              <a:rect l="l" t="t" r="r" b="b"/>
              <a:pathLst>
                <a:path w="224155" h="223520" extrusionOk="0">
                  <a:moveTo>
                    <a:pt x="170180" y="17780"/>
                  </a:moveTo>
                  <a:lnTo>
                    <a:pt x="17780" y="170180"/>
                  </a:lnTo>
                  <a:lnTo>
                    <a:pt x="0" y="187960"/>
                  </a:lnTo>
                  <a:lnTo>
                    <a:pt x="36195" y="223520"/>
                  </a:lnTo>
                  <a:lnTo>
                    <a:pt x="53975" y="205740"/>
                  </a:lnTo>
                  <a:lnTo>
                    <a:pt x="206375" y="53975"/>
                  </a:lnTo>
                  <a:lnTo>
                    <a:pt x="224155" y="35560"/>
                  </a:lnTo>
                  <a:lnTo>
                    <a:pt x="18859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68" name="Google Shape;168;p14"/>
            <p:cNvSpPr/>
            <p:nvPr/>
          </p:nvSpPr>
          <p:spPr>
            <a:xfrm>
              <a:off x="1296669" y="6452870"/>
              <a:ext cx="224155" cy="223520"/>
            </a:xfrm>
            <a:custGeom>
              <a:avLst/>
              <a:gdLst/>
              <a:ahLst/>
              <a:cxnLst/>
              <a:rect l="l" t="t" r="r" b="b"/>
              <a:pathLst>
                <a:path w="224155" h="223520" extrusionOk="0">
                  <a:moveTo>
                    <a:pt x="170180" y="17780"/>
                  </a:moveTo>
                  <a:lnTo>
                    <a:pt x="17780" y="170180"/>
                  </a:lnTo>
                  <a:lnTo>
                    <a:pt x="0" y="187960"/>
                  </a:lnTo>
                  <a:lnTo>
                    <a:pt x="36195" y="223520"/>
                  </a:lnTo>
                  <a:lnTo>
                    <a:pt x="53975" y="205740"/>
                  </a:lnTo>
                  <a:lnTo>
                    <a:pt x="206375" y="53975"/>
                  </a:lnTo>
                  <a:lnTo>
                    <a:pt x="224155" y="35560"/>
                  </a:lnTo>
                  <a:lnTo>
                    <a:pt x="18859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69" name="Google Shape;169;p14"/>
            <p:cNvSpPr/>
            <p:nvPr/>
          </p:nvSpPr>
          <p:spPr>
            <a:xfrm>
              <a:off x="2076450" y="6814819"/>
              <a:ext cx="79375" cy="43180"/>
            </a:xfrm>
            <a:custGeom>
              <a:avLst/>
              <a:gdLst/>
              <a:ahLst/>
              <a:cxnLst/>
              <a:rect l="l" t="t" r="r" b="b"/>
              <a:pathLst>
                <a:path w="79375" h="43180" extrusionOk="0">
                  <a:moveTo>
                    <a:pt x="25400" y="17780"/>
                  </a:moveTo>
                  <a:lnTo>
                    <a:pt x="0" y="43180"/>
                  </a:lnTo>
                  <a:lnTo>
                    <a:pt x="72390" y="43180"/>
                  </a:lnTo>
                  <a:lnTo>
                    <a:pt x="79375" y="35561"/>
                  </a:lnTo>
                  <a:lnTo>
                    <a:pt x="4381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70" name="Google Shape;170;p14"/>
            <p:cNvSpPr/>
            <p:nvPr/>
          </p:nvSpPr>
          <p:spPr>
            <a:xfrm>
              <a:off x="250825" y="5363845"/>
              <a:ext cx="224155" cy="229870"/>
            </a:xfrm>
            <a:custGeom>
              <a:avLst/>
              <a:gdLst/>
              <a:ahLst/>
              <a:cxnLst/>
              <a:rect l="l" t="t" r="r" b="b"/>
              <a:pathLst>
                <a:path w="224155" h="229870" extrusionOk="0">
                  <a:moveTo>
                    <a:pt x="224155" y="35560"/>
                  </a:moveTo>
                  <a:lnTo>
                    <a:pt x="187960" y="0"/>
                  </a:lnTo>
                  <a:lnTo>
                    <a:pt x="170180" y="18415"/>
                  </a:lnTo>
                  <a:lnTo>
                    <a:pt x="17780" y="176530"/>
                  </a:lnTo>
                  <a:lnTo>
                    <a:pt x="0" y="194945"/>
                  </a:lnTo>
                  <a:lnTo>
                    <a:pt x="36830" y="229870"/>
                  </a:lnTo>
                  <a:lnTo>
                    <a:pt x="53975" y="211455"/>
                  </a:lnTo>
                  <a:lnTo>
                    <a:pt x="206375" y="533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71" name="Google Shape;171;p14"/>
            <p:cNvSpPr/>
            <p:nvPr/>
          </p:nvSpPr>
          <p:spPr>
            <a:xfrm>
              <a:off x="885825" y="5725795"/>
              <a:ext cx="224155" cy="229870"/>
            </a:xfrm>
            <a:custGeom>
              <a:avLst/>
              <a:gdLst/>
              <a:ahLst/>
              <a:cxnLst/>
              <a:rect l="l" t="t" r="r" b="b"/>
              <a:pathLst>
                <a:path w="224155" h="229870" extrusionOk="0">
                  <a:moveTo>
                    <a:pt x="170180" y="18415"/>
                  </a:moveTo>
                  <a:lnTo>
                    <a:pt x="17780" y="176530"/>
                  </a:lnTo>
                  <a:lnTo>
                    <a:pt x="0" y="194945"/>
                  </a:lnTo>
                  <a:lnTo>
                    <a:pt x="36830" y="229870"/>
                  </a:lnTo>
                  <a:lnTo>
                    <a:pt x="53975" y="211455"/>
                  </a:lnTo>
                  <a:lnTo>
                    <a:pt x="206375" y="53340"/>
                  </a:lnTo>
                  <a:lnTo>
                    <a:pt x="224155" y="35560"/>
                  </a:lnTo>
                  <a:lnTo>
                    <a:pt x="18796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72" name="Google Shape;172;p14"/>
            <p:cNvSpPr/>
            <p:nvPr/>
          </p:nvSpPr>
          <p:spPr>
            <a:xfrm>
              <a:off x="1520825" y="6087745"/>
              <a:ext cx="224154" cy="229870"/>
            </a:xfrm>
            <a:custGeom>
              <a:avLst/>
              <a:gdLst/>
              <a:ahLst/>
              <a:cxnLst/>
              <a:rect l="l" t="t" r="r" b="b"/>
              <a:pathLst>
                <a:path w="224154" h="229870" extrusionOk="0">
                  <a:moveTo>
                    <a:pt x="170180" y="18415"/>
                  </a:moveTo>
                  <a:lnTo>
                    <a:pt x="17780" y="176530"/>
                  </a:lnTo>
                  <a:lnTo>
                    <a:pt x="0" y="194945"/>
                  </a:lnTo>
                  <a:lnTo>
                    <a:pt x="36830" y="229870"/>
                  </a:lnTo>
                  <a:lnTo>
                    <a:pt x="53975" y="211455"/>
                  </a:lnTo>
                  <a:lnTo>
                    <a:pt x="206375" y="53340"/>
                  </a:lnTo>
                  <a:lnTo>
                    <a:pt x="224155" y="35560"/>
                  </a:lnTo>
                  <a:lnTo>
                    <a:pt x="18796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73" name="Google Shape;173;p14"/>
            <p:cNvSpPr/>
            <p:nvPr/>
          </p:nvSpPr>
          <p:spPr>
            <a:xfrm>
              <a:off x="2155825" y="6449695"/>
              <a:ext cx="224154" cy="229870"/>
            </a:xfrm>
            <a:custGeom>
              <a:avLst/>
              <a:gdLst/>
              <a:ahLst/>
              <a:cxnLst/>
              <a:rect l="l" t="t" r="r" b="b"/>
              <a:pathLst>
                <a:path w="224154" h="229870" extrusionOk="0">
                  <a:moveTo>
                    <a:pt x="170180" y="18415"/>
                  </a:moveTo>
                  <a:lnTo>
                    <a:pt x="17780" y="176530"/>
                  </a:lnTo>
                  <a:lnTo>
                    <a:pt x="0" y="194945"/>
                  </a:lnTo>
                  <a:lnTo>
                    <a:pt x="36830" y="229870"/>
                  </a:lnTo>
                  <a:lnTo>
                    <a:pt x="53975" y="211455"/>
                  </a:lnTo>
                  <a:lnTo>
                    <a:pt x="206375" y="53340"/>
                  </a:lnTo>
                  <a:lnTo>
                    <a:pt x="224155" y="35560"/>
                  </a:lnTo>
                  <a:lnTo>
                    <a:pt x="18796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74" name="Google Shape;174;p14"/>
            <p:cNvSpPr/>
            <p:nvPr/>
          </p:nvSpPr>
          <p:spPr>
            <a:xfrm>
              <a:off x="2933700" y="6811644"/>
              <a:ext cx="81279" cy="46355"/>
            </a:xfrm>
            <a:custGeom>
              <a:avLst/>
              <a:gdLst/>
              <a:ahLst/>
              <a:cxnLst/>
              <a:rect l="l" t="t" r="r" b="b"/>
              <a:pathLst>
                <a:path w="81279" h="46355" extrusionOk="0">
                  <a:moveTo>
                    <a:pt x="27305" y="18415"/>
                  </a:moveTo>
                  <a:lnTo>
                    <a:pt x="0" y="46355"/>
                  </a:lnTo>
                  <a:lnTo>
                    <a:pt x="70485" y="46355"/>
                  </a:lnTo>
                  <a:lnTo>
                    <a:pt x="81280" y="35561"/>
                  </a:lnTo>
                  <a:lnTo>
                    <a:pt x="4508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75" name="Google Shape;175;p14"/>
            <p:cNvSpPr/>
            <p:nvPr/>
          </p:nvSpPr>
          <p:spPr>
            <a:xfrm>
              <a:off x="478790" y="5001895"/>
              <a:ext cx="224790" cy="229870"/>
            </a:xfrm>
            <a:custGeom>
              <a:avLst/>
              <a:gdLst/>
              <a:ahLst/>
              <a:cxnLst/>
              <a:rect l="l" t="t" r="r" b="b"/>
              <a:pathLst>
                <a:path w="224790" h="229870" extrusionOk="0">
                  <a:moveTo>
                    <a:pt x="54610" y="211455"/>
                  </a:moveTo>
                  <a:lnTo>
                    <a:pt x="207010" y="53975"/>
                  </a:lnTo>
                  <a:lnTo>
                    <a:pt x="224790" y="35560"/>
                  </a:lnTo>
                  <a:lnTo>
                    <a:pt x="187960" y="0"/>
                  </a:lnTo>
                  <a:lnTo>
                    <a:pt x="170180" y="18415"/>
                  </a:lnTo>
                  <a:lnTo>
                    <a:pt x="17780" y="176530"/>
                  </a:lnTo>
                  <a:lnTo>
                    <a:pt x="0" y="194310"/>
                  </a:lnTo>
                  <a:lnTo>
                    <a:pt x="36830" y="22987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76" name="Google Shape;176;p14"/>
            <p:cNvSpPr/>
            <p:nvPr/>
          </p:nvSpPr>
          <p:spPr>
            <a:xfrm>
              <a:off x="1113789" y="5363845"/>
              <a:ext cx="224790" cy="229870"/>
            </a:xfrm>
            <a:custGeom>
              <a:avLst/>
              <a:gdLst/>
              <a:ahLst/>
              <a:cxnLst/>
              <a:rect l="l" t="t" r="r" b="b"/>
              <a:pathLst>
                <a:path w="224790" h="229870" extrusionOk="0">
                  <a:moveTo>
                    <a:pt x="224790" y="35560"/>
                  </a:moveTo>
                  <a:lnTo>
                    <a:pt x="187960" y="0"/>
                  </a:lnTo>
                  <a:lnTo>
                    <a:pt x="170180" y="18415"/>
                  </a:lnTo>
                  <a:lnTo>
                    <a:pt x="17780" y="176530"/>
                  </a:lnTo>
                  <a:lnTo>
                    <a:pt x="0" y="194310"/>
                  </a:lnTo>
                  <a:lnTo>
                    <a:pt x="36830" y="229870"/>
                  </a:lnTo>
                  <a:lnTo>
                    <a:pt x="54610" y="211455"/>
                  </a:lnTo>
                  <a:lnTo>
                    <a:pt x="207010" y="5397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77" name="Google Shape;177;p14"/>
            <p:cNvSpPr/>
            <p:nvPr/>
          </p:nvSpPr>
          <p:spPr>
            <a:xfrm>
              <a:off x="1748789" y="5725795"/>
              <a:ext cx="224789" cy="229870"/>
            </a:xfrm>
            <a:custGeom>
              <a:avLst/>
              <a:gdLst/>
              <a:ahLst/>
              <a:cxnLst/>
              <a:rect l="l" t="t" r="r" b="b"/>
              <a:pathLst>
                <a:path w="224789" h="229870" extrusionOk="0">
                  <a:moveTo>
                    <a:pt x="170180" y="18415"/>
                  </a:moveTo>
                  <a:lnTo>
                    <a:pt x="17780" y="176530"/>
                  </a:lnTo>
                  <a:lnTo>
                    <a:pt x="0" y="194310"/>
                  </a:lnTo>
                  <a:lnTo>
                    <a:pt x="36830" y="229870"/>
                  </a:lnTo>
                  <a:lnTo>
                    <a:pt x="54610" y="211455"/>
                  </a:lnTo>
                  <a:lnTo>
                    <a:pt x="207010" y="53975"/>
                  </a:lnTo>
                  <a:lnTo>
                    <a:pt x="224790" y="35560"/>
                  </a:lnTo>
                  <a:lnTo>
                    <a:pt x="18796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78" name="Google Shape;178;p14"/>
            <p:cNvSpPr/>
            <p:nvPr/>
          </p:nvSpPr>
          <p:spPr>
            <a:xfrm>
              <a:off x="2383789" y="6087745"/>
              <a:ext cx="224789" cy="229870"/>
            </a:xfrm>
            <a:custGeom>
              <a:avLst/>
              <a:gdLst/>
              <a:ahLst/>
              <a:cxnLst/>
              <a:rect l="l" t="t" r="r" b="b"/>
              <a:pathLst>
                <a:path w="224789" h="229870" extrusionOk="0">
                  <a:moveTo>
                    <a:pt x="170180" y="18415"/>
                  </a:moveTo>
                  <a:lnTo>
                    <a:pt x="17780" y="176530"/>
                  </a:lnTo>
                  <a:lnTo>
                    <a:pt x="0" y="194310"/>
                  </a:lnTo>
                  <a:lnTo>
                    <a:pt x="36830" y="229870"/>
                  </a:lnTo>
                  <a:lnTo>
                    <a:pt x="54610" y="211455"/>
                  </a:lnTo>
                  <a:lnTo>
                    <a:pt x="207010" y="53975"/>
                  </a:lnTo>
                  <a:lnTo>
                    <a:pt x="224790" y="35560"/>
                  </a:lnTo>
                  <a:lnTo>
                    <a:pt x="18796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79" name="Google Shape;179;p14"/>
            <p:cNvSpPr/>
            <p:nvPr/>
          </p:nvSpPr>
          <p:spPr>
            <a:xfrm>
              <a:off x="3018789" y="6449695"/>
              <a:ext cx="224789" cy="229870"/>
            </a:xfrm>
            <a:custGeom>
              <a:avLst/>
              <a:gdLst/>
              <a:ahLst/>
              <a:cxnLst/>
              <a:rect l="l" t="t" r="r" b="b"/>
              <a:pathLst>
                <a:path w="224789" h="229870" extrusionOk="0">
                  <a:moveTo>
                    <a:pt x="170180" y="18415"/>
                  </a:moveTo>
                  <a:lnTo>
                    <a:pt x="17780" y="176530"/>
                  </a:lnTo>
                  <a:lnTo>
                    <a:pt x="0" y="194310"/>
                  </a:lnTo>
                  <a:lnTo>
                    <a:pt x="36830" y="229870"/>
                  </a:lnTo>
                  <a:lnTo>
                    <a:pt x="54610" y="211455"/>
                  </a:lnTo>
                  <a:lnTo>
                    <a:pt x="207010" y="53975"/>
                  </a:lnTo>
                  <a:lnTo>
                    <a:pt x="224790" y="35560"/>
                  </a:lnTo>
                  <a:lnTo>
                    <a:pt x="18796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80" name="Google Shape;180;p14"/>
            <p:cNvSpPr/>
            <p:nvPr/>
          </p:nvSpPr>
          <p:spPr>
            <a:xfrm>
              <a:off x="3797300" y="6811644"/>
              <a:ext cx="81279" cy="46355"/>
            </a:xfrm>
            <a:custGeom>
              <a:avLst/>
              <a:gdLst/>
              <a:ahLst/>
              <a:cxnLst/>
              <a:rect l="l" t="t" r="r" b="b"/>
              <a:pathLst>
                <a:path w="81279" h="46355" extrusionOk="0">
                  <a:moveTo>
                    <a:pt x="26670" y="18415"/>
                  </a:moveTo>
                  <a:lnTo>
                    <a:pt x="0" y="46355"/>
                  </a:lnTo>
                  <a:lnTo>
                    <a:pt x="70485" y="46355"/>
                  </a:lnTo>
                  <a:lnTo>
                    <a:pt x="81280" y="35561"/>
                  </a:lnTo>
                  <a:lnTo>
                    <a:pt x="4445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81" name="Google Shape;181;p14"/>
            <p:cNvSpPr/>
            <p:nvPr/>
          </p:nvSpPr>
          <p:spPr>
            <a:xfrm>
              <a:off x="67310" y="4281804"/>
              <a:ext cx="224155" cy="222885"/>
            </a:xfrm>
            <a:custGeom>
              <a:avLst/>
              <a:gdLst/>
              <a:ahLst/>
              <a:cxnLst/>
              <a:rect l="l" t="t" r="r" b="b"/>
              <a:pathLst>
                <a:path w="224155" h="222885" extrusionOk="0">
                  <a:moveTo>
                    <a:pt x="0" y="186690"/>
                  </a:moveTo>
                  <a:lnTo>
                    <a:pt x="35560" y="222885"/>
                  </a:lnTo>
                  <a:lnTo>
                    <a:pt x="53975" y="205105"/>
                  </a:lnTo>
                  <a:lnTo>
                    <a:pt x="206375" y="53975"/>
                  </a:lnTo>
                  <a:lnTo>
                    <a:pt x="224155" y="35560"/>
                  </a:lnTo>
                  <a:lnTo>
                    <a:pt x="188595" y="0"/>
                  </a:lnTo>
                  <a:lnTo>
                    <a:pt x="170180" y="17780"/>
                  </a:lnTo>
                  <a:lnTo>
                    <a:pt x="17780" y="16891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82" name="Google Shape;182;p14"/>
            <p:cNvSpPr/>
            <p:nvPr/>
          </p:nvSpPr>
          <p:spPr>
            <a:xfrm>
              <a:off x="702309" y="4643754"/>
              <a:ext cx="224154" cy="222885"/>
            </a:xfrm>
            <a:custGeom>
              <a:avLst/>
              <a:gdLst/>
              <a:ahLst/>
              <a:cxnLst/>
              <a:rect l="l" t="t" r="r" b="b"/>
              <a:pathLst>
                <a:path w="224154" h="222885" extrusionOk="0">
                  <a:moveTo>
                    <a:pt x="53975" y="205105"/>
                  </a:moveTo>
                  <a:lnTo>
                    <a:pt x="206375" y="53975"/>
                  </a:lnTo>
                  <a:lnTo>
                    <a:pt x="224155" y="35560"/>
                  </a:lnTo>
                  <a:lnTo>
                    <a:pt x="188595" y="0"/>
                  </a:lnTo>
                  <a:lnTo>
                    <a:pt x="170180" y="17780"/>
                  </a:lnTo>
                  <a:lnTo>
                    <a:pt x="17780" y="168910"/>
                  </a:lnTo>
                  <a:lnTo>
                    <a:pt x="0" y="186690"/>
                  </a:lnTo>
                  <a:lnTo>
                    <a:pt x="35560" y="22288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83" name="Google Shape;183;p14"/>
            <p:cNvSpPr/>
            <p:nvPr/>
          </p:nvSpPr>
          <p:spPr>
            <a:xfrm>
              <a:off x="1337310" y="5005704"/>
              <a:ext cx="224154" cy="222885"/>
            </a:xfrm>
            <a:custGeom>
              <a:avLst/>
              <a:gdLst/>
              <a:ahLst/>
              <a:cxnLst/>
              <a:rect l="l" t="t" r="r" b="b"/>
              <a:pathLst>
                <a:path w="224154" h="222885" extrusionOk="0">
                  <a:moveTo>
                    <a:pt x="53975" y="205105"/>
                  </a:moveTo>
                  <a:lnTo>
                    <a:pt x="206375" y="53975"/>
                  </a:lnTo>
                  <a:lnTo>
                    <a:pt x="224155" y="35560"/>
                  </a:lnTo>
                  <a:lnTo>
                    <a:pt x="188595" y="0"/>
                  </a:lnTo>
                  <a:lnTo>
                    <a:pt x="170180" y="17780"/>
                  </a:lnTo>
                  <a:lnTo>
                    <a:pt x="17780" y="168910"/>
                  </a:lnTo>
                  <a:lnTo>
                    <a:pt x="0" y="186690"/>
                  </a:lnTo>
                  <a:lnTo>
                    <a:pt x="35560" y="22288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84" name="Google Shape;184;p14"/>
            <p:cNvSpPr/>
            <p:nvPr/>
          </p:nvSpPr>
          <p:spPr>
            <a:xfrm>
              <a:off x="1972310" y="5367654"/>
              <a:ext cx="224154" cy="222885"/>
            </a:xfrm>
            <a:custGeom>
              <a:avLst/>
              <a:gdLst/>
              <a:ahLst/>
              <a:cxnLst/>
              <a:rect l="l" t="t" r="r" b="b"/>
              <a:pathLst>
                <a:path w="224154" h="222885" extrusionOk="0">
                  <a:moveTo>
                    <a:pt x="224155" y="35560"/>
                  </a:moveTo>
                  <a:lnTo>
                    <a:pt x="188595" y="0"/>
                  </a:lnTo>
                  <a:lnTo>
                    <a:pt x="170180" y="17780"/>
                  </a:lnTo>
                  <a:lnTo>
                    <a:pt x="17780" y="168910"/>
                  </a:lnTo>
                  <a:lnTo>
                    <a:pt x="0" y="186690"/>
                  </a:lnTo>
                  <a:lnTo>
                    <a:pt x="35560" y="222885"/>
                  </a:lnTo>
                  <a:lnTo>
                    <a:pt x="53975" y="205105"/>
                  </a:lnTo>
                  <a:lnTo>
                    <a:pt x="206375" y="5397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85" name="Google Shape;185;p14"/>
            <p:cNvSpPr/>
            <p:nvPr/>
          </p:nvSpPr>
          <p:spPr>
            <a:xfrm>
              <a:off x="2607310" y="5729604"/>
              <a:ext cx="224154" cy="222885"/>
            </a:xfrm>
            <a:custGeom>
              <a:avLst/>
              <a:gdLst/>
              <a:ahLst/>
              <a:cxnLst/>
              <a:rect l="l" t="t" r="r" b="b"/>
              <a:pathLst>
                <a:path w="224154" h="222885" extrusionOk="0">
                  <a:moveTo>
                    <a:pt x="170180" y="17780"/>
                  </a:moveTo>
                  <a:lnTo>
                    <a:pt x="17780" y="168910"/>
                  </a:lnTo>
                  <a:lnTo>
                    <a:pt x="0" y="186690"/>
                  </a:lnTo>
                  <a:lnTo>
                    <a:pt x="35560" y="222885"/>
                  </a:lnTo>
                  <a:lnTo>
                    <a:pt x="53975" y="205105"/>
                  </a:lnTo>
                  <a:lnTo>
                    <a:pt x="206375" y="53975"/>
                  </a:lnTo>
                  <a:lnTo>
                    <a:pt x="224155" y="35560"/>
                  </a:lnTo>
                  <a:lnTo>
                    <a:pt x="18859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86" name="Google Shape;186;p14"/>
            <p:cNvSpPr/>
            <p:nvPr/>
          </p:nvSpPr>
          <p:spPr>
            <a:xfrm>
              <a:off x="3242310" y="6091554"/>
              <a:ext cx="224155" cy="222885"/>
            </a:xfrm>
            <a:custGeom>
              <a:avLst/>
              <a:gdLst/>
              <a:ahLst/>
              <a:cxnLst/>
              <a:rect l="l" t="t" r="r" b="b"/>
              <a:pathLst>
                <a:path w="224155" h="222885" extrusionOk="0">
                  <a:moveTo>
                    <a:pt x="170180" y="17780"/>
                  </a:moveTo>
                  <a:lnTo>
                    <a:pt x="17780" y="168910"/>
                  </a:lnTo>
                  <a:lnTo>
                    <a:pt x="0" y="186690"/>
                  </a:lnTo>
                  <a:lnTo>
                    <a:pt x="35560" y="222885"/>
                  </a:lnTo>
                  <a:lnTo>
                    <a:pt x="53975" y="205105"/>
                  </a:lnTo>
                  <a:lnTo>
                    <a:pt x="206375" y="53975"/>
                  </a:lnTo>
                  <a:lnTo>
                    <a:pt x="224155" y="35560"/>
                  </a:lnTo>
                  <a:lnTo>
                    <a:pt x="18859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87" name="Google Shape;187;p14"/>
            <p:cNvSpPr/>
            <p:nvPr/>
          </p:nvSpPr>
          <p:spPr>
            <a:xfrm>
              <a:off x="3877309" y="6453504"/>
              <a:ext cx="224155" cy="222885"/>
            </a:xfrm>
            <a:custGeom>
              <a:avLst/>
              <a:gdLst/>
              <a:ahLst/>
              <a:cxnLst/>
              <a:rect l="l" t="t" r="r" b="b"/>
              <a:pathLst>
                <a:path w="224155" h="222885" extrusionOk="0">
                  <a:moveTo>
                    <a:pt x="170180" y="17780"/>
                  </a:moveTo>
                  <a:lnTo>
                    <a:pt x="17780" y="168910"/>
                  </a:lnTo>
                  <a:lnTo>
                    <a:pt x="0" y="186690"/>
                  </a:lnTo>
                  <a:lnTo>
                    <a:pt x="35560" y="222885"/>
                  </a:lnTo>
                  <a:lnTo>
                    <a:pt x="53975" y="205105"/>
                  </a:lnTo>
                  <a:lnTo>
                    <a:pt x="206375" y="53975"/>
                  </a:lnTo>
                  <a:lnTo>
                    <a:pt x="224155" y="35560"/>
                  </a:lnTo>
                  <a:lnTo>
                    <a:pt x="18859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88" name="Google Shape;188;p14"/>
            <p:cNvSpPr/>
            <p:nvPr/>
          </p:nvSpPr>
          <p:spPr>
            <a:xfrm>
              <a:off x="4657725" y="6815455"/>
              <a:ext cx="78740" cy="42544"/>
            </a:xfrm>
            <a:custGeom>
              <a:avLst/>
              <a:gdLst/>
              <a:ahLst/>
              <a:cxnLst/>
              <a:rect l="l" t="t" r="r" b="b"/>
              <a:pathLst>
                <a:path w="78740" h="42544" extrusionOk="0">
                  <a:moveTo>
                    <a:pt x="24765" y="17780"/>
                  </a:moveTo>
                  <a:lnTo>
                    <a:pt x="0" y="42545"/>
                  </a:lnTo>
                  <a:lnTo>
                    <a:pt x="71755" y="42545"/>
                  </a:lnTo>
                  <a:lnTo>
                    <a:pt x="78740" y="35560"/>
                  </a:lnTo>
                  <a:lnTo>
                    <a:pt x="4318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89" name="Google Shape;189;p14"/>
            <p:cNvSpPr/>
            <p:nvPr/>
          </p:nvSpPr>
          <p:spPr>
            <a:xfrm>
              <a:off x="276859" y="3926204"/>
              <a:ext cx="224155" cy="210185"/>
            </a:xfrm>
            <a:custGeom>
              <a:avLst/>
              <a:gdLst/>
              <a:ahLst/>
              <a:cxnLst/>
              <a:rect l="l" t="t" r="r" b="b"/>
              <a:pathLst>
                <a:path w="224155" h="210185" extrusionOk="0">
                  <a:moveTo>
                    <a:pt x="52705" y="193040"/>
                  </a:moveTo>
                  <a:lnTo>
                    <a:pt x="205105" y="54610"/>
                  </a:lnTo>
                  <a:lnTo>
                    <a:pt x="224155" y="37465"/>
                  </a:lnTo>
                  <a:lnTo>
                    <a:pt x="189865" y="0"/>
                  </a:lnTo>
                  <a:lnTo>
                    <a:pt x="170815" y="16510"/>
                  </a:lnTo>
                  <a:lnTo>
                    <a:pt x="18415" y="155575"/>
                  </a:lnTo>
                  <a:lnTo>
                    <a:pt x="0" y="172720"/>
                  </a:lnTo>
                  <a:lnTo>
                    <a:pt x="33655" y="21018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90" name="Google Shape;190;p14"/>
            <p:cNvSpPr/>
            <p:nvPr/>
          </p:nvSpPr>
          <p:spPr>
            <a:xfrm>
              <a:off x="911860" y="4288154"/>
              <a:ext cx="224154" cy="210185"/>
            </a:xfrm>
            <a:custGeom>
              <a:avLst/>
              <a:gdLst/>
              <a:ahLst/>
              <a:cxnLst/>
              <a:rect l="l" t="t" r="r" b="b"/>
              <a:pathLst>
                <a:path w="224154" h="210185" extrusionOk="0">
                  <a:moveTo>
                    <a:pt x="52705" y="193040"/>
                  </a:moveTo>
                  <a:lnTo>
                    <a:pt x="205105" y="54610"/>
                  </a:lnTo>
                  <a:lnTo>
                    <a:pt x="224155" y="37465"/>
                  </a:lnTo>
                  <a:lnTo>
                    <a:pt x="189865" y="0"/>
                  </a:lnTo>
                  <a:lnTo>
                    <a:pt x="170815" y="16510"/>
                  </a:lnTo>
                  <a:lnTo>
                    <a:pt x="18415" y="155575"/>
                  </a:lnTo>
                  <a:lnTo>
                    <a:pt x="0" y="172720"/>
                  </a:lnTo>
                  <a:lnTo>
                    <a:pt x="33655" y="21018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91" name="Google Shape;191;p14"/>
            <p:cNvSpPr/>
            <p:nvPr/>
          </p:nvSpPr>
          <p:spPr>
            <a:xfrm>
              <a:off x="1546860" y="4650104"/>
              <a:ext cx="224154" cy="210185"/>
            </a:xfrm>
            <a:custGeom>
              <a:avLst/>
              <a:gdLst/>
              <a:ahLst/>
              <a:cxnLst/>
              <a:rect l="l" t="t" r="r" b="b"/>
              <a:pathLst>
                <a:path w="224154" h="210185" extrusionOk="0">
                  <a:moveTo>
                    <a:pt x="52705" y="193040"/>
                  </a:moveTo>
                  <a:lnTo>
                    <a:pt x="205105" y="54610"/>
                  </a:lnTo>
                  <a:lnTo>
                    <a:pt x="224155" y="37465"/>
                  </a:lnTo>
                  <a:lnTo>
                    <a:pt x="189865" y="0"/>
                  </a:lnTo>
                  <a:lnTo>
                    <a:pt x="170815" y="16510"/>
                  </a:lnTo>
                  <a:lnTo>
                    <a:pt x="18415" y="155575"/>
                  </a:lnTo>
                  <a:lnTo>
                    <a:pt x="0" y="172720"/>
                  </a:lnTo>
                  <a:lnTo>
                    <a:pt x="33655" y="21018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92" name="Google Shape;192;p14"/>
            <p:cNvSpPr/>
            <p:nvPr/>
          </p:nvSpPr>
          <p:spPr>
            <a:xfrm>
              <a:off x="2181860" y="5012054"/>
              <a:ext cx="224154" cy="210185"/>
            </a:xfrm>
            <a:custGeom>
              <a:avLst/>
              <a:gdLst/>
              <a:ahLst/>
              <a:cxnLst/>
              <a:rect l="l" t="t" r="r" b="b"/>
              <a:pathLst>
                <a:path w="224154" h="210185" extrusionOk="0">
                  <a:moveTo>
                    <a:pt x="52705" y="193040"/>
                  </a:moveTo>
                  <a:lnTo>
                    <a:pt x="205105" y="54610"/>
                  </a:lnTo>
                  <a:lnTo>
                    <a:pt x="224155" y="37465"/>
                  </a:lnTo>
                  <a:lnTo>
                    <a:pt x="189865" y="0"/>
                  </a:lnTo>
                  <a:lnTo>
                    <a:pt x="170815" y="16510"/>
                  </a:lnTo>
                  <a:lnTo>
                    <a:pt x="18415" y="155575"/>
                  </a:lnTo>
                  <a:lnTo>
                    <a:pt x="0" y="172720"/>
                  </a:lnTo>
                  <a:lnTo>
                    <a:pt x="33655" y="21018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93" name="Google Shape;193;p14"/>
            <p:cNvSpPr/>
            <p:nvPr/>
          </p:nvSpPr>
          <p:spPr>
            <a:xfrm>
              <a:off x="2816860" y="5374004"/>
              <a:ext cx="224154" cy="210185"/>
            </a:xfrm>
            <a:custGeom>
              <a:avLst/>
              <a:gdLst/>
              <a:ahLst/>
              <a:cxnLst/>
              <a:rect l="l" t="t" r="r" b="b"/>
              <a:pathLst>
                <a:path w="224154" h="210185" extrusionOk="0">
                  <a:moveTo>
                    <a:pt x="224155" y="37465"/>
                  </a:moveTo>
                  <a:lnTo>
                    <a:pt x="189865" y="0"/>
                  </a:lnTo>
                  <a:lnTo>
                    <a:pt x="170815" y="16510"/>
                  </a:lnTo>
                  <a:lnTo>
                    <a:pt x="18415" y="155575"/>
                  </a:lnTo>
                  <a:lnTo>
                    <a:pt x="0" y="172720"/>
                  </a:lnTo>
                  <a:lnTo>
                    <a:pt x="33655" y="210185"/>
                  </a:lnTo>
                  <a:lnTo>
                    <a:pt x="52705" y="193040"/>
                  </a:lnTo>
                  <a:lnTo>
                    <a:pt x="205105" y="5461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94" name="Google Shape;194;p14"/>
            <p:cNvSpPr/>
            <p:nvPr/>
          </p:nvSpPr>
          <p:spPr>
            <a:xfrm>
              <a:off x="3451859" y="5735954"/>
              <a:ext cx="224155" cy="210185"/>
            </a:xfrm>
            <a:custGeom>
              <a:avLst/>
              <a:gdLst/>
              <a:ahLst/>
              <a:cxnLst/>
              <a:rect l="l" t="t" r="r" b="b"/>
              <a:pathLst>
                <a:path w="224155" h="210185" extrusionOk="0">
                  <a:moveTo>
                    <a:pt x="170815" y="16510"/>
                  </a:moveTo>
                  <a:lnTo>
                    <a:pt x="18415" y="155575"/>
                  </a:lnTo>
                  <a:lnTo>
                    <a:pt x="0" y="172720"/>
                  </a:lnTo>
                  <a:lnTo>
                    <a:pt x="33655" y="210185"/>
                  </a:lnTo>
                  <a:lnTo>
                    <a:pt x="52705" y="193040"/>
                  </a:lnTo>
                  <a:lnTo>
                    <a:pt x="205105" y="54610"/>
                  </a:lnTo>
                  <a:lnTo>
                    <a:pt x="224155" y="37465"/>
                  </a:lnTo>
                  <a:lnTo>
                    <a:pt x="18986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95" name="Google Shape;195;p14"/>
            <p:cNvSpPr/>
            <p:nvPr/>
          </p:nvSpPr>
          <p:spPr>
            <a:xfrm>
              <a:off x="4086859" y="6097904"/>
              <a:ext cx="224155" cy="210185"/>
            </a:xfrm>
            <a:custGeom>
              <a:avLst/>
              <a:gdLst/>
              <a:ahLst/>
              <a:cxnLst/>
              <a:rect l="l" t="t" r="r" b="b"/>
              <a:pathLst>
                <a:path w="224155" h="210185" extrusionOk="0">
                  <a:moveTo>
                    <a:pt x="170815" y="16510"/>
                  </a:moveTo>
                  <a:lnTo>
                    <a:pt x="18415" y="155575"/>
                  </a:lnTo>
                  <a:lnTo>
                    <a:pt x="0" y="172720"/>
                  </a:lnTo>
                  <a:lnTo>
                    <a:pt x="33655" y="210185"/>
                  </a:lnTo>
                  <a:lnTo>
                    <a:pt x="52705" y="193040"/>
                  </a:lnTo>
                  <a:lnTo>
                    <a:pt x="205105" y="54610"/>
                  </a:lnTo>
                  <a:lnTo>
                    <a:pt x="224155" y="37465"/>
                  </a:lnTo>
                  <a:lnTo>
                    <a:pt x="18986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96" name="Google Shape;196;p14"/>
            <p:cNvSpPr/>
            <p:nvPr/>
          </p:nvSpPr>
          <p:spPr>
            <a:xfrm>
              <a:off x="4721859" y="6459854"/>
              <a:ext cx="224155" cy="210185"/>
            </a:xfrm>
            <a:custGeom>
              <a:avLst/>
              <a:gdLst/>
              <a:ahLst/>
              <a:cxnLst/>
              <a:rect l="l" t="t" r="r" b="b"/>
              <a:pathLst>
                <a:path w="224155" h="210185" extrusionOk="0">
                  <a:moveTo>
                    <a:pt x="170815" y="16510"/>
                  </a:moveTo>
                  <a:lnTo>
                    <a:pt x="18415" y="155575"/>
                  </a:lnTo>
                  <a:lnTo>
                    <a:pt x="0" y="172720"/>
                  </a:lnTo>
                  <a:lnTo>
                    <a:pt x="33655" y="210185"/>
                  </a:lnTo>
                  <a:lnTo>
                    <a:pt x="52705" y="193040"/>
                  </a:lnTo>
                  <a:lnTo>
                    <a:pt x="205105" y="54610"/>
                  </a:lnTo>
                  <a:lnTo>
                    <a:pt x="224155" y="37465"/>
                  </a:lnTo>
                  <a:lnTo>
                    <a:pt x="18986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97" name="Google Shape;197;p14"/>
            <p:cNvSpPr/>
            <p:nvPr/>
          </p:nvSpPr>
          <p:spPr>
            <a:xfrm>
              <a:off x="5506720" y="6821805"/>
              <a:ext cx="73025" cy="36194"/>
            </a:xfrm>
            <a:custGeom>
              <a:avLst/>
              <a:gdLst/>
              <a:ahLst/>
              <a:cxnLst/>
              <a:rect l="l" t="t" r="r" b="b"/>
              <a:pathLst>
                <a:path w="73025" h="36194" extrusionOk="0">
                  <a:moveTo>
                    <a:pt x="20955" y="16510"/>
                  </a:moveTo>
                  <a:lnTo>
                    <a:pt x="0" y="36195"/>
                  </a:lnTo>
                  <a:lnTo>
                    <a:pt x="73025" y="36195"/>
                  </a:lnTo>
                  <a:lnTo>
                    <a:pt x="4000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98" name="Google Shape;198;p14"/>
            <p:cNvSpPr/>
            <p:nvPr/>
          </p:nvSpPr>
          <p:spPr>
            <a:xfrm>
              <a:off x="463550" y="3573145"/>
              <a:ext cx="224155" cy="191770"/>
            </a:xfrm>
            <a:custGeom>
              <a:avLst/>
              <a:gdLst/>
              <a:ahLst/>
              <a:cxnLst/>
              <a:rect l="l" t="t" r="r" b="b"/>
              <a:pathLst>
                <a:path w="224155" h="191770" extrusionOk="0">
                  <a:moveTo>
                    <a:pt x="0" y="151765"/>
                  </a:moveTo>
                  <a:lnTo>
                    <a:pt x="31750" y="191770"/>
                  </a:lnTo>
                  <a:lnTo>
                    <a:pt x="51435" y="175895"/>
                  </a:lnTo>
                  <a:lnTo>
                    <a:pt x="203835" y="55880"/>
                  </a:lnTo>
                  <a:lnTo>
                    <a:pt x="224155" y="40005"/>
                  </a:lnTo>
                  <a:lnTo>
                    <a:pt x="192405" y="0"/>
                  </a:lnTo>
                  <a:lnTo>
                    <a:pt x="172720" y="15875"/>
                  </a:lnTo>
                  <a:lnTo>
                    <a:pt x="20320" y="13652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99" name="Google Shape;199;p14"/>
            <p:cNvSpPr/>
            <p:nvPr/>
          </p:nvSpPr>
          <p:spPr>
            <a:xfrm>
              <a:off x="1098550" y="3935095"/>
              <a:ext cx="224155" cy="191770"/>
            </a:xfrm>
            <a:custGeom>
              <a:avLst/>
              <a:gdLst/>
              <a:ahLst/>
              <a:cxnLst/>
              <a:rect l="l" t="t" r="r" b="b"/>
              <a:pathLst>
                <a:path w="224155" h="191770" extrusionOk="0">
                  <a:moveTo>
                    <a:pt x="203835" y="55880"/>
                  </a:moveTo>
                  <a:lnTo>
                    <a:pt x="224155" y="40005"/>
                  </a:lnTo>
                  <a:lnTo>
                    <a:pt x="192405" y="0"/>
                  </a:lnTo>
                  <a:lnTo>
                    <a:pt x="172720" y="15875"/>
                  </a:lnTo>
                  <a:lnTo>
                    <a:pt x="20320" y="136525"/>
                  </a:lnTo>
                  <a:lnTo>
                    <a:pt x="0" y="151765"/>
                  </a:lnTo>
                  <a:lnTo>
                    <a:pt x="31750" y="191770"/>
                  </a:lnTo>
                  <a:lnTo>
                    <a:pt x="51435" y="17589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00" name="Google Shape;200;p14"/>
            <p:cNvSpPr/>
            <p:nvPr/>
          </p:nvSpPr>
          <p:spPr>
            <a:xfrm>
              <a:off x="1733550" y="4297045"/>
              <a:ext cx="224154" cy="191770"/>
            </a:xfrm>
            <a:custGeom>
              <a:avLst/>
              <a:gdLst/>
              <a:ahLst/>
              <a:cxnLst/>
              <a:rect l="l" t="t" r="r" b="b"/>
              <a:pathLst>
                <a:path w="224154" h="191770" extrusionOk="0">
                  <a:moveTo>
                    <a:pt x="203835" y="55880"/>
                  </a:moveTo>
                  <a:lnTo>
                    <a:pt x="224155" y="40005"/>
                  </a:lnTo>
                  <a:lnTo>
                    <a:pt x="192405" y="0"/>
                  </a:lnTo>
                  <a:lnTo>
                    <a:pt x="172720" y="15875"/>
                  </a:lnTo>
                  <a:lnTo>
                    <a:pt x="20320" y="136525"/>
                  </a:lnTo>
                  <a:lnTo>
                    <a:pt x="0" y="151765"/>
                  </a:lnTo>
                  <a:lnTo>
                    <a:pt x="31750" y="191770"/>
                  </a:lnTo>
                  <a:lnTo>
                    <a:pt x="51435" y="17589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01" name="Google Shape;201;p14"/>
            <p:cNvSpPr/>
            <p:nvPr/>
          </p:nvSpPr>
          <p:spPr>
            <a:xfrm>
              <a:off x="2368550" y="4658995"/>
              <a:ext cx="224154" cy="191770"/>
            </a:xfrm>
            <a:custGeom>
              <a:avLst/>
              <a:gdLst/>
              <a:ahLst/>
              <a:cxnLst/>
              <a:rect l="l" t="t" r="r" b="b"/>
              <a:pathLst>
                <a:path w="224154" h="191770" extrusionOk="0">
                  <a:moveTo>
                    <a:pt x="203835" y="55880"/>
                  </a:moveTo>
                  <a:lnTo>
                    <a:pt x="224155" y="40005"/>
                  </a:lnTo>
                  <a:lnTo>
                    <a:pt x="192405" y="0"/>
                  </a:lnTo>
                  <a:lnTo>
                    <a:pt x="172720" y="15875"/>
                  </a:lnTo>
                  <a:lnTo>
                    <a:pt x="20320" y="136525"/>
                  </a:lnTo>
                  <a:lnTo>
                    <a:pt x="0" y="151765"/>
                  </a:lnTo>
                  <a:lnTo>
                    <a:pt x="31750" y="191770"/>
                  </a:lnTo>
                  <a:lnTo>
                    <a:pt x="51435" y="17589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02" name="Google Shape;202;p14"/>
            <p:cNvSpPr/>
            <p:nvPr/>
          </p:nvSpPr>
          <p:spPr>
            <a:xfrm>
              <a:off x="3003550" y="5020945"/>
              <a:ext cx="224154" cy="191770"/>
            </a:xfrm>
            <a:custGeom>
              <a:avLst/>
              <a:gdLst/>
              <a:ahLst/>
              <a:cxnLst/>
              <a:rect l="l" t="t" r="r" b="b"/>
              <a:pathLst>
                <a:path w="224154" h="191770" extrusionOk="0">
                  <a:moveTo>
                    <a:pt x="51435" y="175895"/>
                  </a:moveTo>
                  <a:lnTo>
                    <a:pt x="203835" y="55880"/>
                  </a:lnTo>
                  <a:lnTo>
                    <a:pt x="224155" y="40005"/>
                  </a:lnTo>
                  <a:lnTo>
                    <a:pt x="192405" y="0"/>
                  </a:lnTo>
                  <a:lnTo>
                    <a:pt x="172720" y="15875"/>
                  </a:lnTo>
                  <a:lnTo>
                    <a:pt x="20320" y="136525"/>
                  </a:lnTo>
                  <a:lnTo>
                    <a:pt x="0" y="151765"/>
                  </a:lnTo>
                  <a:lnTo>
                    <a:pt x="31750" y="19177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03" name="Google Shape;203;p14"/>
            <p:cNvSpPr/>
            <p:nvPr/>
          </p:nvSpPr>
          <p:spPr>
            <a:xfrm>
              <a:off x="3638550" y="5382895"/>
              <a:ext cx="224154" cy="191770"/>
            </a:xfrm>
            <a:custGeom>
              <a:avLst/>
              <a:gdLst/>
              <a:ahLst/>
              <a:cxnLst/>
              <a:rect l="l" t="t" r="r" b="b"/>
              <a:pathLst>
                <a:path w="224154" h="191770" extrusionOk="0">
                  <a:moveTo>
                    <a:pt x="224155" y="40005"/>
                  </a:moveTo>
                  <a:lnTo>
                    <a:pt x="192405" y="0"/>
                  </a:lnTo>
                  <a:lnTo>
                    <a:pt x="172720" y="15875"/>
                  </a:lnTo>
                  <a:lnTo>
                    <a:pt x="20320" y="136525"/>
                  </a:lnTo>
                  <a:lnTo>
                    <a:pt x="0" y="151765"/>
                  </a:lnTo>
                  <a:lnTo>
                    <a:pt x="31750" y="191770"/>
                  </a:lnTo>
                  <a:lnTo>
                    <a:pt x="51435" y="175895"/>
                  </a:lnTo>
                  <a:lnTo>
                    <a:pt x="203835" y="558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04" name="Google Shape;204;p14"/>
            <p:cNvSpPr/>
            <p:nvPr/>
          </p:nvSpPr>
          <p:spPr>
            <a:xfrm>
              <a:off x="4273550" y="5744845"/>
              <a:ext cx="224154" cy="191770"/>
            </a:xfrm>
            <a:custGeom>
              <a:avLst/>
              <a:gdLst/>
              <a:ahLst/>
              <a:cxnLst/>
              <a:rect l="l" t="t" r="r" b="b"/>
              <a:pathLst>
                <a:path w="224154" h="191770" extrusionOk="0">
                  <a:moveTo>
                    <a:pt x="172720" y="15875"/>
                  </a:moveTo>
                  <a:lnTo>
                    <a:pt x="20320" y="136525"/>
                  </a:lnTo>
                  <a:lnTo>
                    <a:pt x="0" y="151765"/>
                  </a:lnTo>
                  <a:lnTo>
                    <a:pt x="31750" y="191770"/>
                  </a:lnTo>
                  <a:lnTo>
                    <a:pt x="51435" y="175895"/>
                  </a:lnTo>
                  <a:lnTo>
                    <a:pt x="203835" y="55880"/>
                  </a:lnTo>
                  <a:lnTo>
                    <a:pt x="224155" y="40005"/>
                  </a:lnTo>
                  <a:lnTo>
                    <a:pt x="19240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05" name="Google Shape;205;p14"/>
            <p:cNvSpPr/>
            <p:nvPr/>
          </p:nvSpPr>
          <p:spPr>
            <a:xfrm>
              <a:off x="4908550" y="6106795"/>
              <a:ext cx="224154" cy="191770"/>
            </a:xfrm>
            <a:custGeom>
              <a:avLst/>
              <a:gdLst/>
              <a:ahLst/>
              <a:cxnLst/>
              <a:rect l="l" t="t" r="r" b="b"/>
              <a:pathLst>
                <a:path w="224154" h="191770" extrusionOk="0">
                  <a:moveTo>
                    <a:pt x="172720" y="15875"/>
                  </a:moveTo>
                  <a:lnTo>
                    <a:pt x="20320" y="136525"/>
                  </a:lnTo>
                  <a:lnTo>
                    <a:pt x="0" y="151765"/>
                  </a:lnTo>
                  <a:lnTo>
                    <a:pt x="31750" y="191770"/>
                  </a:lnTo>
                  <a:lnTo>
                    <a:pt x="51435" y="175895"/>
                  </a:lnTo>
                  <a:lnTo>
                    <a:pt x="203835" y="55880"/>
                  </a:lnTo>
                  <a:lnTo>
                    <a:pt x="224155" y="40005"/>
                  </a:lnTo>
                  <a:lnTo>
                    <a:pt x="19240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06" name="Google Shape;206;p14"/>
            <p:cNvSpPr/>
            <p:nvPr/>
          </p:nvSpPr>
          <p:spPr>
            <a:xfrm>
              <a:off x="5543550" y="6468745"/>
              <a:ext cx="224154" cy="191770"/>
            </a:xfrm>
            <a:custGeom>
              <a:avLst/>
              <a:gdLst/>
              <a:ahLst/>
              <a:cxnLst/>
              <a:rect l="l" t="t" r="r" b="b"/>
              <a:pathLst>
                <a:path w="224154" h="191770" extrusionOk="0">
                  <a:moveTo>
                    <a:pt x="172720" y="15875"/>
                  </a:moveTo>
                  <a:lnTo>
                    <a:pt x="20320" y="136525"/>
                  </a:lnTo>
                  <a:lnTo>
                    <a:pt x="0" y="151765"/>
                  </a:lnTo>
                  <a:lnTo>
                    <a:pt x="31750" y="191770"/>
                  </a:lnTo>
                  <a:lnTo>
                    <a:pt x="51435" y="175895"/>
                  </a:lnTo>
                  <a:lnTo>
                    <a:pt x="203835" y="55880"/>
                  </a:lnTo>
                  <a:lnTo>
                    <a:pt x="224155" y="40005"/>
                  </a:lnTo>
                  <a:lnTo>
                    <a:pt x="19240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07" name="Google Shape;207;p14"/>
            <p:cNvSpPr/>
            <p:nvPr/>
          </p:nvSpPr>
          <p:spPr>
            <a:xfrm>
              <a:off x="6336665" y="6830694"/>
              <a:ext cx="55879" cy="27305"/>
            </a:xfrm>
            <a:custGeom>
              <a:avLst/>
              <a:gdLst/>
              <a:ahLst/>
              <a:cxnLst/>
              <a:rect l="l" t="t" r="r" b="b"/>
              <a:pathLst>
                <a:path w="55879" h="27305" extrusionOk="0">
                  <a:moveTo>
                    <a:pt x="14605" y="15875"/>
                  </a:moveTo>
                  <a:lnTo>
                    <a:pt x="0" y="27305"/>
                  </a:lnTo>
                  <a:lnTo>
                    <a:pt x="55880" y="27305"/>
                  </a:lnTo>
                  <a:lnTo>
                    <a:pt x="3429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08" name="Google Shape;208;p14"/>
            <p:cNvSpPr/>
            <p:nvPr/>
          </p:nvSpPr>
          <p:spPr>
            <a:xfrm>
              <a:off x="0" y="2861310"/>
              <a:ext cx="209550" cy="167639"/>
            </a:xfrm>
            <a:custGeom>
              <a:avLst/>
              <a:gdLst/>
              <a:ahLst/>
              <a:cxnLst/>
              <a:rect l="l" t="t" r="r" b="b"/>
              <a:pathLst>
                <a:path w="209550" h="167639" extrusionOk="0">
                  <a:moveTo>
                    <a:pt x="35560" y="154305"/>
                  </a:moveTo>
                  <a:lnTo>
                    <a:pt x="187960" y="56515"/>
                  </a:lnTo>
                  <a:lnTo>
                    <a:pt x="209550" y="43180"/>
                  </a:lnTo>
                  <a:lnTo>
                    <a:pt x="181610" y="0"/>
                  </a:lnTo>
                  <a:lnTo>
                    <a:pt x="160655" y="13970"/>
                  </a:lnTo>
                  <a:lnTo>
                    <a:pt x="8255" y="111125"/>
                  </a:lnTo>
                  <a:lnTo>
                    <a:pt x="0" y="116205"/>
                  </a:lnTo>
                  <a:lnTo>
                    <a:pt x="0" y="145415"/>
                  </a:lnTo>
                  <a:lnTo>
                    <a:pt x="13970" y="1676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09" name="Google Shape;209;p14"/>
            <p:cNvSpPr/>
            <p:nvPr/>
          </p:nvSpPr>
          <p:spPr>
            <a:xfrm>
              <a:off x="621665" y="3223260"/>
              <a:ext cx="222884" cy="167639"/>
            </a:xfrm>
            <a:custGeom>
              <a:avLst/>
              <a:gdLst/>
              <a:ahLst/>
              <a:cxnLst/>
              <a:rect l="l" t="t" r="r" b="b"/>
              <a:pathLst>
                <a:path w="222884" h="167639" extrusionOk="0">
                  <a:moveTo>
                    <a:pt x="21590" y="111125"/>
                  </a:moveTo>
                  <a:lnTo>
                    <a:pt x="0" y="125095"/>
                  </a:lnTo>
                  <a:lnTo>
                    <a:pt x="27305" y="167640"/>
                  </a:lnTo>
                  <a:lnTo>
                    <a:pt x="48895" y="154305"/>
                  </a:lnTo>
                  <a:lnTo>
                    <a:pt x="201295" y="56515"/>
                  </a:lnTo>
                  <a:lnTo>
                    <a:pt x="222885" y="43180"/>
                  </a:lnTo>
                  <a:lnTo>
                    <a:pt x="194945" y="0"/>
                  </a:lnTo>
                  <a:lnTo>
                    <a:pt x="173990" y="1397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10" name="Google Shape;210;p14"/>
            <p:cNvSpPr/>
            <p:nvPr/>
          </p:nvSpPr>
          <p:spPr>
            <a:xfrm>
              <a:off x="1256664" y="3585209"/>
              <a:ext cx="222885" cy="167640"/>
            </a:xfrm>
            <a:custGeom>
              <a:avLst/>
              <a:gdLst/>
              <a:ahLst/>
              <a:cxnLst/>
              <a:rect l="l" t="t" r="r" b="b"/>
              <a:pathLst>
                <a:path w="222885" h="167640" extrusionOk="0">
                  <a:moveTo>
                    <a:pt x="222885" y="43180"/>
                  </a:moveTo>
                  <a:lnTo>
                    <a:pt x="194945" y="0"/>
                  </a:lnTo>
                  <a:lnTo>
                    <a:pt x="173990" y="13970"/>
                  </a:lnTo>
                  <a:lnTo>
                    <a:pt x="21590" y="111125"/>
                  </a:lnTo>
                  <a:lnTo>
                    <a:pt x="0" y="125095"/>
                  </a:lnTo>
                  <a:lnTo>
                    <a:pt x="27305" y="167640"/>
                  </a:lnTo>
                  <a:lnTo>
                    <a:pt x="48895" y="154305"/>
                  </a:lnTo>
                  <a:lnTo>
                    <a:pt x="201295"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11" name="Google Shape;211;p14"/>
            <p:cNvSpPr/>
            <p:nvPr/>
          </p:nvSpPr>
          <p:spPr>
            <a:xfrm>
              <a:off x="1891664" y="3947159"/>
              <a:ext cx="222885" cy="167640"/>
            </a:xfrm>
            <a:custGeom>
              <a:avLst/>
              <a:gdLst/>
              <a:ahLst/>
              <a:cxnLst/>
              <a:rect l="l" t="t" r="r" b="b"/>
              <a:pathLst>
                <a:path w="222885" h="167640" extrusionOk="0">
                  <a:moveTo>
                    <a:pt x="222885" y="43180"/>
                  </a:moveTo>
                  <a:lnTo>
                    <a:pt x="194945" y="0"/>
                  </a:lnTo>
                  <a:lnTo>
                    <a:pt x="173990" y="13970"/>
                  </a:lnTo>
                  <a:lnTo>
                    <a:pt x="21590" y="111125"/>
                  </a:lnTo>
                  <a:lnTo>
                    <a:pt x="0" y="125095"/>
                  </a:lnTo>
                  <a:lnTo>
                    <a:pt x="27305" y="167640"/>
                  </a:lnTo>
                  <a:lnTo>
                    <a:pt x="48895" y="154305"/>
                  </a:lnTo>
                  <a:lnTo>
                    <a:pt x="201295"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12" name="Google Shape;212;p14"/>
            <p:cNvSpPr/>
            <p:nvPr/>
          </p:nvSpPr>
          <p:spPr>
            <a:xfrm>
              <a:off x="2526664" y="4309109"/>
              <a:ext cx="222885" cy="167640"/>
            </a:xfrm>
            <a:custGeom>
              <a:avLst/>
              <a:gdLst/>
              <a:ahLst/>
              <a:cxnLst/>
              <a:rect l="l" t="t" r="r" b="b"/>
              <a:pathLst>
                <a:path w="222885" h="167640" extrusionOk="0">
                  <a:moveTo>
                    <a:pt x="222885" y="43180"/>
                  </a:moveTo>
                  <a:lnTo>
                    <a:pt x="194945" y="0"/>
                  </a:lnTo>
                  <a:lnTo>
                    <a:pt x="173990" y="13970"/>
                  </a:lnTo>
                  <a:lnTo>
                    <a:pt x="21590" y="111125"/>
                  </a:lnTo>
                  <a:lnTo>
                    <a:pt x="0" y="125095"/>
                  </a:lnTo>
                  <a:lnTo>
                    <a:pt x="27305" y="167640"/>
                  </a:lnTo>
                  <a:lnTo>
                    <a:pt x="48895" y="154305"/>
                  </a:lnTo>
                  <a:lnTo>
                    <a:pt x="201295"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13" name="Google Shape;213;p14"/>
            <p:cNvSpPr/>
            <p:nvPr/>
          </p:nvSpPr>
          <p:spPr>
            <a:xfrm>
              <a:off x="3161664" y="4671059"/>
              <a:ext cx="222885" cy="167640"/>
            </a:xfrm>
            <a:custGeom>
              <a:avLst/>
              <a:gdLst/>
              <a:ahLst/>
              <a:cxnLst/>
              <a:rect l="l" t="t" r="r" b="b"/>
              <a:pathLst>
                <a:path w="222885" h="167640" extrusionOk="0">
                  <a:moveTo>
                    <a:pt x="222885" y="43180"/>
                  </a:moveTo>
                  <a:lnTo>
                    <a:pt x="194945" y="0"/>
                  </a:lnTo>
                  <a:lnTo>
                    <a:pt x="173990" y="13970"/>
                  </a:lnTo>
                  <a:lnTo>
                    <a:pt x="21590" y="111125"/>
                  </a:lnTo>
                  <a:lnTo>
                    <a:pt x="0" y="125095"/>
                  </a:lnTo>
                  <a:lnTo>
                    <a:pt x="27305" y="167640"/>
                  </a:lnTo>
                  <a:lnTo>
                    <a:pt x="48895" y="154305"/>
                  </a:lnTo>
                  <a:lnTo>
                    <a:pt x="201295"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14" name="Google Shape;214;p14"/>
            <p:cNvSpPr/>
            <p:nvPr/>
          </p:nvSpPr>
          <p:spPr>
            <a:xfrm>
              <a:off x="3796665" y="5033009"/>
              <a:ext cx="222884" cy="167640"/>
            </a:xfrm>
            <a:custGeom>
              <a:avLst/>
              <a:gdLst/>
              <a:ahLst/>
              <a:cxnLst/>
              <a:rect l="l" t="t" r="r" b="b"/>
              <a:pathLst>
                <a:path w="222884" h="167640" extrusionOk="0">
                  <a:moveTo>
                    <a:pt x="48895" y="154305"/>
                  </a:moveTo>
                  <a:lnTo>
                    <a:pt x="201295" y="56515"/>
                  </a:lnTo>
                  <a:lnTo>
                    <a:pt x="222885" y="43180"/>
                  </a:lnTo>
                  <a:lnTo>
                    <a:pt x="194945" y="0"/>
                  </a:lnTo>
                  <a:lnTo>
                    <a:pt x="173990" y="13970"/>
                  </a:lnTo>
                  <a:lnTo>
                    <a:pt x="21590" y="111125"/>
                  </a:lnTo>
                  <a:lnTo>
                    <a:pt x="0" y="125095"/>
                  </a:lnTo>
                  <a:lnTo>
                    <a:pt x="27305" y="1676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15" name="Google Shape;215;p14"/>
            <p:cNvSpPr/>
            <p:nvPr/>
          </p:nvSpPr>
          <p:spPr>
            <a:xfrm>
              <a:off x="4431665" y="5394959"/>
              <a:ext cx="222884" cy="167640"/>
            </a:xfrm>
            <a:custGeom>
              <a:avLst/>
              <a:gdLst/>
              <a:ahLst/>
              <a:cxnLst/>
              <a:rect l="l" t="t" r="r" b="b"/>
              <a:pathLst>
                <a:path w="222884" h="167640" extrusionOk="0">
                  <a:moveTo>
                    <a:pt x="173990" y="13970"/>
                  </a:moveTo>
                  <a:lnTo>
                    <a:pt x="21590" y="111125"/>
                  </a:lnTo>
                  <a:lnTo>
                    <a:pt x="0" y="125095"/>
                  </a:lnTo>
                  <a:lnTo>
                    <a:pt x="27305" y="167640"/>
                  </a:lnTo>
                  <a:lnTo>
                    <a:pt x="48895" y="154305"/>
                  </a:lnTo>
                  <a:lnTo>
                    <a:pt x="201295" y="56515"/>
                  </a:lnTo>
                  <a:lnTo>
                    <a:pt x="222885" y="43180"/>
                  </a:lnTo>
                  <a:lnTo>
                    <a:pt x="19494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16" name="Google Shape;216;p14"/>
            <p:cNvSpPr/>
            <p:nvPr/>
          </p:nvSpPr>
          <p:spPr>
            <a:xfrm>
              <a:off x="5066665" y="5756909"/>
              <a:ext cx="222884" cy="167640"/>
            </a:xfrm>
            <a:custGeom>
              <a:avLst/>
              <a:gdLst/>
              <a:ahLst/>
              <a:cxnLst/>
              <a:rect l="l" t="t" r="r" b="b"/>
              <a:pathLst>
                <a:path w="222884" h="167640" extrusionOk="0">
                  <a:moveTo>
                    <a:pt x="173990" y="13970"/>
                  </a:moveTo>
                  <a:lnTo>
                    <a:pt x="21590" y="111125"/>
                  </a:lnTo>
                  <a:lnTo>
                    <a:pt x="0" y="125095"/>
                  </a:lnTo>
                  <a:lnTo>
                    <a:pt x="27305" y="167640"/>
                  </a:lnTo>
                  <a:lnTo>
                    <a:pt x="48895" y="154305"/>
                  </a:lnTo>
                  <a:lnTo>
                    <a:pt x="201295" y="56515"/>
                  </a:lnTo>
                  <a:lnTo>
                    <a:pt x="222885" y="43180"/>
                  </a:lnTo>
                  <a:lnTo>
                    <a:pt x="19494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17" name="Google Shape;217;p14"/>
            <p:cNvSpPr/>
            <p:nvPr/>
          </p:nvSpPr>
          <p:spPr>
            <a:xfrm>
              <a:off x="5701665" y="6118859"/>
              <a:ext cx="222884" cy="167640"/>
            </a:xfrm>
            <a:custGeom>
              <a:avLst/>
              <a:gdLst/>
              <a:ahLst/>
              <a:cxnLst/>
              <a:rect l="l" t="t" r="r" b="b"/>
              <a:pathLst>
                <a:path w="222884" h="167640" extrusionOk="0">
                  <a:moveTo>
                    <a:pt x="173990" y="13970"/>
                  </a:moveTo>
                  <a:lnTo>
                    <a:pt x="21590" y="111125"/>
                  </a:lnTo>
                  <a:lnTo>
                    <a:pt x="0" y="125095"/>
                  </a:lnTo>
                  <a:lnTo>
                    <a:pt x="27305" y="167640"/>
                  </a:lnTo>
                  <a:lnTo>
                    <a:pt x="48895" y="154305"/>
                  </a:lnTo>
                  <a:lnTo>
                    <a:pt x="201295" y="56515"/>
                  </a:lnTo>
                  <a:lnTo>
                    <a:pt x="222885" y="43180"/>
                  </a:lnTo>
                  <a:lnTo>
                    <a:pt x="19494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18" name="Google Shape;218;p14"/>
            <p:cNvSpPr/>
            <p:nvPr/>
          </p:nvSpPr>
          <p:spPr>
            <a:xfrm>
              <a:off x="6336665" y="6480809"/>
              <a:ext cx="222884" cy="167640"/>
            </a:xfrm>
            <a:custGeom>
              <a:avLst/>
              <a:gdLst/>
              <a:ahLst/>
              <a:cxnLst/>
              <a:rect l="l" t="t" r="r" b="b"/>
              <a:pathLst>
                <a:path w="222884" h="167640" extrusionOk="0">
                  <a:moveTo>
                    <a:pt x="173990" y="13970"/>
                  </a:moveTo>
                  <a:lnTo>
                    <a:pt x="21590" y="111125"/>
                  </a:lnTo>
                  <a:lnTo>
                    <a:pt x="0" y="125095"/>
                  </a:lnTo>
                  <a:lnTo>
                    <a:pt x="27305" y="167640"/>
                  </a:lnTo>
                  <a:lnTo>
                    <a:pt x="48895" y="154305"/>
                  </a:lnTo>
                  <a:lnTo>
                    <a:pt x="201295" y="56515"/>
                  </a:lnTo>
                  <a:lnTo>
                    <a:pt x="222885" y="43180"/>
                  </a:lnTo>
                  <a:lnTo>
                    <a:pt x="19494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19" name="Google Shape;219;p14"/>
            <p:cNvSpPr/>
            <p:nvPr/>
          </p:nvSpPr>
          <p:spPr>
            <a:xfrm>
              <a:off x="7143115" y="6842759"/>
              <a:ext cx="33654" cy="15240"/>
            </a:xfrm>
            <a:custGeom>
              <a:avLst/>
              <a:gdLst/>
              <a:ahLst/>
              <a:cxnLst/>
              <a:rect l="l" t="t" r="r" b="b"/>
              <a:pathLst>
                <a:path w="33654" h="15240" extrusionOk="0">
                  <a:moveTo>
                    <a:pt x="2540" y="13970"/>
                  </a:moveTo>
                  <a:lnTo>
                    <a:pt x="0" y="15240"/>
                  </a:lnTo>
                  <a:lnTo>
                    <a:pt x="33655" y="15240"/>
                  </a:lnTo>
                  <a:lnTo>
                    <a:pt x="2349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20" name="Google Shape;220;p14"/>
            <p:cNvSpPr/>
            <p:nvPr/>
          </p:nvSpPr>
          <p:spPr>
            <a:xfrm>
              <a:off x="109220" y="2514600"/>
              <a:ext cx="219709" cy="137795"/>
            </a:xfrm>
            <a:custGeom>
              <a:avLst/>
              <a:gdLst/>
              <a:ahLst/>
              <a:cxnLst/>
              <a:rect l="l" t="t" r="r" b="b"/>
              <a:pathLst>
                <a:path w="219709" h="137795" extrusionOk="0">
                  <a:moveTo>
                    <a:pt x="44450" y="127000"/>
                  </a:moveTo>
                  <a:lnTo>
                    <a:pt x="196850" y="56515"/>
                  </a:lnTo>
                  <a:lnTo>
                    <a:pt x="219710" y="45720"/>
                  </a:lnTo>
                  <a:lnTo>
                    <a:pt x="198755" y="0"/>
                  </a:lnTo>
                  <a:lnTo>
                    <a:pt x="175895" y="10160"/>
                  </a:lnTo>
                  <a:lnTo>
                    <a:pt x="23495" y="80645"/>
                  </a:lnTo>
                  <a:lnTo>
                    <a:pt x="0" y="91440"/>
                  </a:lnTo>
                  <a:lnTo>
                    <a:pt x="21590" y="13779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21" name="Google Shape;221;p14"/>
            <p:cNvSpPr/>
            <p:nvPr/>
          </p:nvSpPr>
          <p:spPr>
            <a:xfrm>
              <a:off x="744219" y="2876550"/>
              <a:ext cx="219710" cy="137795"/>
            </a:xfrm>
            <a:custGeom>
              <a:avLst/>
              <a:gdLst/>
              <a:ahLst/>
              <a:cxnLst/>
              <a:rect l="l" t="t" r="r" b="b"/>
              <a:pathLst>
                <a:path w="219710" h="137795" extrusionOk="0">
                  <a:moveTo>
                    <a:pt x="219710" y="45720"/>
                  </a:moveTo>
                  <a:lnTo>
                    <a:pt x="198755" y="0"/>
                  </a:lnTo>
                  <a:lnTo>
                    <a:pt x="175895" y="10160"/>
                  </a:lnTo>
                  <a:lnTo>
                    <a:pt x="23495" y="80645"/>
                  </a:lnTo>
                  <a:lnTo>
                    <a:pt x="0" y="91440"/>
                  </a:lnTo>
                  <a:lnTo>
                    <a:pt x="21590" y="137795"/>
                  </a:lnTo>
                  <a:lnTo>
                    <a:pt x="44450" y="127000"/>
                  </a:lnTo>
                  <a:lnTo>
                    <a:pt x="196850"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22" name="Google Shape;222;p14"/>
            <p:cNvSpPr/>
            <p:nvPr/>
          </p:nvSpPr>
          <p:spPr>
            <a:xfrm>
              <a:off x="1379219" y="3238500"/>
              <a:ext cx="219710" cy="137795"/>
            </a:xfrm>
            <a:custGeom>
              <a:avLst/>
              <a:gdLst/>
              <a:ahLst/>
              <a:cxnLst/>
              <a:rect l="l" t="t" r="r" b="b"/>
              <a:pathLst>
                <a:path w="219710" h="137795" extrusionOk="0">
                  <a:moveTo>
                    <a:pt x="0" y="91440"/>
                  </a:moveTo>
                  <a:lnTo>
                    <a:pt x="21590" y="137795"/>
                  </a:lnTo>
                  <a:lnTo>
                    <a:pt x="44450" y="127000"/>
                  </a:lnTo>
                  <a:lnTo>
                    <a:pt x="196850" y="56515"/>
                  </a:lnTo>
                  <a:lnTo>
                    <a:pt x="219710" y="45720"/>
                  </a:lnTo>
                  <a:lnTo>
                    <a:pt x="198755" y="0"/>
                  </a:lnTo>
                  <a:lnTo>
                    <a:pt x="175895" y="10160"/>
                  </a:lnTo>
                  <a:lnTo>
                    <a:pt x="23495" y="8064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23" name="Google Shape;223;p14"/>
            <p:cNvSpPr/>
            <p:nvPr/>
          </p:nvSpPr>
          <p:spPr>
            <a:xfrm>
              <a:off x="2014220" y="3600450"/>
              <a:ext cx="219709" cy="137795"/>
            </a:xfrm>
            <a:custGeom>
              <a:avLst/>
              <a:gdLst/>
              <a:ahLst/>
              <a:cxnLst/>
              <a:rect l="l" t="t" r="r" b="b"/>
              <a:pathLst>
                <a:path w="219709" h="137795" extrusionOk="0">
                  <a:moveTo>
                    <a:pt x="219710" y="45720"/>
                  </a:moveTo>
                  <a:lnTo>
                    <a:pt x="198755" y="0"/>
                  </a:lnTo>
                  <a:lnTo>
                    <a:pt x="175895" y="10160"/>
                  </a:lnTo>
                  <a:lnTo>
                    <a:pt x="23495" y="80645"/>
                  </a:lnTo>
                  <a:lnTo>
                    <a:pt x="0" y="91440"/>
                  </a:lnTo>
                  <a:lnTo>
                    <a:pt x="21590" y="137795"/>
                  </a:lnTo>
                  <a:lnTo>
                    <a:pt x="44450" y="127000"/>
                  </a:lnTo>
                  <a:lnTo>
                    <a:pt x="196850"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24" name="Google Shape;224;p14"/>
            <p:cNvSpPr/>
            <p:nvPr/>
          </p:nvSpPr>
          <p:spPr>
            <a:xfrm>
              <a:off x="2649220" y="3962400"/>
              <a:ext cx="219709" cy="137795"/>
            </a:xfrm>
            <a:custGeom>
              <a:avLst/>
              <a:gdLst/>
              <a:ahLst/>
              <a:cxnLst/>
              <a:rect l="l" t="t" r="r" b="b"/>
              <a:pathLst>
                <a:path w="219709" h="137795" extrusionOk="0">
                  <a:moveTo>
                    <a:pt x="219710" y="45720"/>
                  </a:moveTo>
                  <a:lnTo>
                    <a:pt x="198755" y="0"/>
                  </a:lnTo>
                  <a:lnTo>
                    <a:pt x="175895" y="10160"/>
                  </a:lnTo>
                  <a:lnTo>
                    <a:pt x="23495" y="80645"/>
                  </a:lnTo>
                  <a:lnTo>
                    <a:pt x="0" y="91440"/>
                  </a:lnTo>
                  <a:lnTo>
                    <a:pt x="21590" y="137795"/>
                  </a:lnTo>
                  <a:lnTo>
                    <a:pt x="44450" y="127000"/>
                  </a:lnTo>
                  <a:lnTo>
                    <a:pt x="196850"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25" name="Google Shape;225;p14"/>
            <p:cNvSpPr/>
            <p:nvPr/>
          </p:nvSpPr>
          <p:spPr>
            <a:xfrm>
              <a:off x="3284220" y="4324350"/>
              <a:ext cx="219709" cy="137795"/>
            </a:xfrm>
            <a:custGeom>
              <a:avLst/>
              <a:gdLst/>
              <a:ahLst/>
              <a:cxnLst/>
              <a:rect l="l" t="t" r="r" b="b"/>
              <a:pathLst>
                <a:path w="219709" h="137795" extrusionOk="0">
                  <a:moveTo>
                    <a:pt x="219710" y="45720"/>
                  </a:moveTo>
                  <a:lnTo>
                    <a:pt x="198755" y="0"/>
                  </a:lnTo>
                  <a:lnTo>
                    <a:pt x="175895" y="10160"/>
                  </a:lnTo>
                  <a:lnTo>
                    <a:pt x="23495" y="80645"/>
                  </a:lnTo>
                  <a:lnTo>
                    <a:pt x="0" y="91440"/>
                  </a:lnTo>
                  <a:lnTo>
                    <a:pt x="21590" y="137795"/>
                  </a:lnTo>
                  <a:lnTo>
                    <a:pt x="44450" y="127000"/>
                  </a:lnTo>
                  <a:lnTo>
                    <a:pt x="196850"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26" name="Google Shape;226;p14"/>
            <p:cNvSpPr/>
            <p:nvPr/>
          </p:nvSpPr>
          <p:spPr>
            <a:xfrm>
              <a:off x="3919220" y="4686300"/>
              <a:ext cx="219709" cy="137795"/>
            </a:xfrm>
            <a:custGeom>
              <a:avLst/>
              <a:gdLst/>
              <a:ahLst/>
              <a:cxnLst/>
              <a:rect l="l" t="t" r="r" b="b"/>
              <a:pathLst>
                <a:path w="219709" h="137795" extrusionOk="0">
                  <a:moveTo>
                    <a:pt x="219710" y="45720"/>
                  </a:moveTo>
                  <a:lnTo>
                    <a:pt x="198755" y="0"/>
                  </a:lnTo>
                  <a:lnTo>
                    <a:pt x="175895" y="10160"/>
                  </a:lnTo>
                  <a:lnTo>
                    <a:pt x="23495" y="80645"/>
                  </a:lnTo>
                  <a:lnTo>
                    <a:pt x="0" y="91440"/>
                  </a:lnTo>
                  <a:lnTo>
                    <a:pt x="21590" y="137795"/>
                  </a:lnTo>
                  <a:lnTo>
                    <a:pt x="44450" y="127000"/>
                  </a:lnTo>
                  <a:lnTo>
                    <a:pt x="196850"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27" name="Google Shape;227;p14"/>
            <p:cNvSpPr/>
            <p:nvPr/>
          </p:nvSpPr>
          <p:spPr>
            <a:xfrm>
              <a:off x="4554220" y="5048250"/>
              <a:ext cx="219709" cy="137795"/>
            </a:xfrm>
            <a:custGeom>
              <a:avLst/>
              <a:gdLst/>
              <a:ahLst/>
              <a:cxnLst/>
              <a:rect l="l" t="t" r="r" b="b"/>
              <a:pathLst>
                <a:path w="219709" h="137795" extrusionOk="0">
                  <a:moveTo>
                    <a:pt x="44450" y="127000"/>
                  </a:moveTo>
                  <a:lnTo>
                    <a:pt x="196850" y="56515"/>
                  </a:lnTo>
                  <a:lnTo>
                    <a:pt x="219710" y="45720"/>
                  </a:lnTo>
                  <a:lnTo>
                    <a:pt x="198755" y="0"/>
                  </a:lnTo>
                  <a:lnTo>
                    <a:pt x="175895" y="10160"/>
                  </a:lnTo>
                  <a:lnTo>
                    <a:pt x="23495" y="80645"/>
                  </a:lnTo>
                  <a:lnTo>
                    <a:pt x="0" y="91440"/>
                  </a:lnTo>
                  <a:lnTo>
                    <a:pt x="21590" y="13779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28" name="Google Shape;228;p14"/>
            <p:cNvSpPr/>
            <p:nvPr/>
          </p:nvSpPr>
          <p:spPr>
            <a:xfrm>
              <a:off x="5189220" y="5410200"/>
              <a:ext cx="219709" cy="137795"/>
            </a:xfrm>
            <a:custGeom>
              <a:avLst/>
              <a:gdLst/>
              <a:ahLst/>
              <a:cxnLst/>
              <a:rect l="l" t="t" r="r" b="b"/>
              <a:pathLst>
                <a:path w="219709" h="137795" extrusionOk="0">
                  <a:moveTo>
                    <a:pt x="175895" y="10160"/>
                  </a:moveTo>
                  <a:lnTo>
                    <a:pt x="23495" y="80645"/>
                  </a:lnTo>
                  <a:lnTo>
                    <a:pt x="0" y="91440"/>
                  </a:lnTo>
                  <a:lnTo>
                    <a:pt x="21590" y="137795"/>
                  </a:lnTo>
                  <a:lnTo>
                    <a:pt x="44450" y="127000"/>
                  </a:lnTo>
                  <a:lnTo>
                    <a:pt x="196850" y="56515"/>
                  </a:lnTo>
                  <a:lnTo>
                    <a:pt x="219710" y="45720"/>
                  </a:lnTo>
                  <a:lnTo>
                    <a:pt x="19875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29" name="Google Shape;229;p14"/>
            <p:cNvSpPr/>
            <p:nvPr/>
          </p:nvSpPr>
          <p:spPr>
            <a:xfrm>
              <a:off x="5824220" y="5772150"/>
              <a:ext cx="219709" cy="137795"/>
            </a:xfrm>
            <a:custGeom>
              <a:avLst/>
              <a:gdLst/>
              <a:ahLst/>
              <a:cxnLst/>
              <a:rect l="l" t="t" r="r" b="b"/>
              <a:pathLst>
                <a:path w="219709" h="137795" extrusionOk="0">
                  <a:moveTo>
                    <a:pt x="175895" y="10160"/>
                  </a:moveTo>
                  <a:lnTo>
                    <a:pt x="23495" y="80645"/>
                  </a:lnTo>
                  <a:lnTo>
                    <a:pt x="0" y="91440"/>
                  </a:lnTo>
                  <a:lnTo>
                    <a:pt x="21590" y="137795"/>
                  </a:lnTo>
                  <a:lnTo>
                    <a:pt x="44450" y="127000"/>
                  </a:lnTo>
                  <a:lnTo>
                    <a:pt x="196850" y="56515"/>
                  </a:lnTo>
                  <a:lnTo>
                    <a:pt x="219710" y="45720"/>
                  </a:lnTo>
                  <a:lnTo>
                    <a:pt x="19875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30" name="Google Shape;230;p14"/>
            <p:cNvSpPr/>
            <p:nvPr/>
          </p:nvSpPr>
          <p:spPr>
            <a:xfrm>
              <a:off x="6459220" y="6134100"/>
              <a:ext cx="219710" cy="137795"/>
            </a:xfrm>
            <a:custGeom>
              <a:avLst/>
              <a:gdLst/>
              <a:ahLst/>
              <a:cxnLst/>
              <a:rect l="l" t="t" r="r" b="b"/>
              <a:pathLst>
                <a:path w="219710" h="137795" extrusionOk="0">
                  <a:moveTo>
                    <a:pt x="175895" y="10160"/>
                  </a:moveTo>
                  <a:lnTo>
                    <a:pt x="23495" y="80645"/>
                  </a:lnTo>
                  <a:lnTo>
                    <a:pt x="0" y="91440"/>
                  </a:lnTo>
                  <a:lnTo>
                    <a:pt x="21590" y="137795"/>
                  </a:lnTo>
                  <a:lnTo>
                    <a:pt x="44450" y="127000"/>
                  </a:lnTo>
                  <a:lnTo>
                    <a:pt x="196850" y="56515"/>
                  </a:lnTo>
                  <a:lnTo>
                    <a:pt x="219710" y="45720"/>
                  </a:lnTo>
                  <a:lnTo>
                    <a:pt x="19875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31" name="Google Shape;231;p14"/>
            <p:cNvSpPr/>
            <p:nvPr/>
          </p:nvSpPr>
          <p:spPr>
            <a:xfrm>
              <a:off x="7094219" y="6496050"/>
              <a:ext cx="219710" cy="137794"/>
            </a:xfrm>
            <a:custGeom>
              <a:avLst/>
              <a:gdLst/>
              <a:ahLst/>
              <a:cxnLst/>
              <a:rect l="l" t="t" r="r" b="b"/>
              <a:pathLst>
                <a:path w="219710" h="137794" extrusionOk="0">
                  <a:moveTo>
                    <a:pt x="175895" y="10160"/>
                  </a:moveTo>
                  <a:lnTo>
                    <a:pt x="23495" y="80645"/>
                  </a:lnTo>
                  <a:lnTo>
                    <a:pt x="0" y="91440"/>
                  </a:lnTo>
                  <a:lnTo>
                    <a:pt x="21590" y="137795"/>
                  </a:lnTo>
                  <a:lnTo>
                    <a:pt x="44450" y="127000"/>
                  </a:lnTo>
                  <a:lnTo>
                    <a:pt x="196850" y="56515"/>
                  </a:lnTo>
                  <a:lnTo>
                    <a:pt x="219711" y="45720"/>
                  </a:lnTo>
                  <a:lnTo>
                    <a:pt x="19875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32" name="Google Shape;232;p14"/>
            <p:cNvSpPr/>
            <p:nvPr/>
          </p:nvSpPr>
          <p:spPr>
            <a:xfrm>
              <a:off x="192404" y="2169795"/>
              <a:ext cx="214629" cy="102869"/>
            </a:xfrm>
            <a:custGeom>
              <a:avLst/>
              <a:gdLst/>
              <a:ahLst/>
              <a:cxnLst/>
              <a:rect l="l" t="t" r="r" b="b"/>
              <a:pathLst>
                <a:path w="214629" h="102869" extrusionOk="0">
                  <a:moveTo>
                    <a:pt x="24765" y="47625"/>
                  </a:moveTo>
                  <a:lnTo>
                    <a:pt x="0" y="53975"/>
                  </a:lnTo>
                  <a:lnTo>
                    <a:pt x="13335" y="102870"/>
                  </a:lnTo>
                  <a:lnTo>
                    <a:pt x="37465" y="96520"/>
                  </a:lnTo>
                  <a:lnTo>
                    <a:pt x="189865" y="55880"/>
                  </a:lnTo>
                  <a:lnTo>
                    <a:pt x="214630" y="48895"/>
                  </a:lnTo>
                  <a:lnTo>
                    <a:pt x="201295" y="0"/>
                  </a:lnTo>
                  <a:lnTo>
                    <a:pt x="177165" y="635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33" name="Google Shape;233;p14"/>
            <p:cNvSpPr/>
            <p:nvPr/>
          </p:nvSpPr>
          <p:spPr>
            <a:xfrm>
              <a:off x="827405" y="2531745"/>
              <a:ext cx="214630" cy="102869"/>
            </a:xfrm>
            <a:custGeom>
              <a:avLst/>
              <a:gdLst/>
              <a:ahLst/>
              <a:cxnLst/>
              <a:rect l="l" t="t" r="r" b="b"/>
              <a:pathLst>
                <a:path w="214630" h="102869" extrusionOk="0">
                  <a:moveTo>
                    <a:pt x="214630" y="48895"/>
                  </a:moveTo>
                  <a:lnTo>
                    <a:pt x="201295" y="0"/>
                  </a:lnTo>
                  <a:lnTo>
                    <a:pt x="177165" y="6350"/>
                  </a:lnTo>
                  <a:lnTo>
                    <a:pt x="24765" y="47625"/>
                  </a:lnTo>
                  <a:lnTo>
                    <a:pt x="0" y="53975"/>
                  </a:lnTo>
                  <a:lnTo>
                    <a:pt x="13335" y="102870"/>
                  </a:lnTo>
                  <a:lnTo>
                    <a:pt x="37465" y="96520"/>
                  </a:lnTo>
                  <a:lnTo>
                    <a:pt x="189865" y="558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34" name="Google Shape;234;p14"/>
            <p:cNvSpPr/>
            <p:nvPr/>
          </p:nvSpPr>
          <p:spPr>
            <a:xfrm>
              <a:off x="1462405" y="2893695"/>
              <a:ext cx="214630" cy="102869"/>
            </a:xfrm>
            <a:custGeom>
              <a:avLst/>
              <a:gdLst/>
              <a:ahLst/>
              <a:cxnLst/>
              <a:rect l="l" t="t" r="r" b="b"/>
              <a:pathLst>
                <a:path w="214630" h="102869" extrusionOk="0">
                  <a:moveTo>
                    <a:pt x="214630" y="48895"/>
                  </a:moveTo>
                  <a:lnTo>
                    <a:pt x="201295" y="0"/>
                  </a:lnTo>
                  <a:lnTo>
                    <a:pt x="177165" y="6350"/>
                  </a:lnTo>
                  <a:lnTo>
                    <a:pt x="24765" y="47625"/>
                  </a:lnTo>
                  <a:lnTo>
                    <a:pt x="0" y="53975"/>
                  </a:lnTo>
                  <a:lnTo>
                    <a:pt x="13335" y="102870"/>
                  </a:lnTo>
                  <a:lnTo>
                    <a:pt x="37465" y="96520"/>
                  </a:lnTo>
                  <a:lnTo>
                    <a:pt x="189865" y="558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35" name="Google Shape;235;p14"/>
            <p:cNvSpPr/>
            <p:nvPr/>
          </p:nvSpPr>
          <p:spPr>
            <a:xfrm>
              <a:off x="2097404" y="3255645"/>
              <a:ext cx="214630" cy="102870"/>
            </a:xfrm>
            <a:custGeom>
              <a:avLst/>
              <a:gdLst/>
              <a:ahLst/>
              <a:cxnLst/>
              <a:rect l="l" t="t" r="r" b="b"/>
              <a:pathLst>
                <a:path w="214630" h="102870" extrusionOk="0">
                  <a:moveTo>
                    <a:pt x="37465" y="96520"/>
                  </a:moveTo>
                  <a:lnTo>
                    <a:pt x="189865" y="55880"/>
                  </a:lnTo>
                  <a:lnTo>
                    <a:pt x="214630" y="48895"/>
                  </a:lnTo>
                  <a:lnTo>
                    <a:pt x="201295" y="0"/>
                  </a:lnTo>
                  <a:lnTo>
                    <a:pt x="177165" y="6350"/>
                  </a:lnTo>
                  <a:lnTo>
                    <a:pt x="24765" y="47625"/>
                  </a:lnTo>
                  <a:lnTo>
                    <a:pt x="0" y="53975"/>
                  </a:lnTo>
                  <a:lnTo>
                    <a:pt x="13335" y="10287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36" name="Google Shape;236;p14"/>
            <p:cNvSpPr/>
            <p:nvPr/>
          </p:nvSpPr>
          <p:spPr>
            <a:xfrm>
              <a:off x="2732404" y="3617595"/>
              <a:ext cx="214630" cy="102870"/>
            </a:xfrm>
            <a:custGeom>
              <a:avLst/>
              <a:gdLst/>
              <a:ahLst/>
              <a:cxnLst/>
              <a:rect l="l" t="t" r="r" b="b"/>
              <a:pathLst>
                <a:path w="214630" h="102870" extrusionOk="0">
                  <a:moveTo>
                    <a:pt x="214630" y="48895"/>
                  </a:moveTo>
                  <a:lnTo>
                    <a:pt x="201295" y="0"/>
                  </a:lnTo>
                  <a:lnTo>
                    <a:pt x="177165" y="6350"/>
                  </a:lnTo>
                  <a:lnTo>
                    <a:pt x="24765" y="47625"/>
                  </a:lnTo>
                  <a:lnTo>
                    <a:pt x="0" y="53975"/>
                  </a:lnTo>
                  <a:lnTo>
                    <a:pt x="13335" y="102870"/>
                  </a:lnTo>
                  <a:lnTo>
                    <a:pt x="37465" y="96520"/>
                  </a:lnTo>
                  <a:lnTo>
                    <a:pt x="189865" y="558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37" name="Google Shape;237;p14"/>
            <p:cNvSpPr/>
            <p:nvPr/>
          </p:nvSpPr>
          <p:spPr>
            <a:xfrm>
              <a:off x="3367404" y="3979545"/>
              <a:ext cx="214629" cy="102870"/>
            </a:xfrm>
            <a:custGeom>
              <a:avLst/>
              <a:gdLst/>
              <a:ahLst/>
              <a:cxnLst/>
              <a:rect l="l" t="t" r="r" b="b"/>
              <a:pathLst>
                <a:path w="214629" h="102870" extrusionOk="0">
                  <a:moveTo>
                    <a:pt x="214630" y="48895"/>
                  </a:moveTo>
                  <a:lnTo>
                    <a:pt x="201295" y="0"/>
                  </a:lnTo>
                  <a:lnTo>
                    <a:pt x="177165" y="6350"/>
                  </a:lnTo>
                  <a:lnTo>
                    <a:pt x="24765" y="47625"/>
                  </a:lnTo>
                  <a:lnTo>
                    <a:pt x="0" y="53975"/>
                  </a:lnTo>
                  <a:lnTo>
                    <a:pt x="13335" y="102870"/>
                  </a:lnTo>
                  <a:lnTo>
                    <a:pt x="37465" y="96520"/>
                  </a:lnTo>
                  <a:lnTo>
                    <a:pt x="189865" y="558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38" name="Google Shape;238;p14"/>
            <p:cNvSpPr/>
            <p:nvPr/>
          </p:nvSpPr>
          <p:spPr>
            <a:xfrm>
              <a:off x="4002404" y="4341495"/>
              <a:ext cx="214629" cy="102870"/>
            </a:xfrm>
            <a:custGeom>
              <a:avLst/>
              <a:gdLst/>
              <a:ahLst/>
              <a:cxnLst/>
              <a:rect l="l" t="t" r="r" b="b"/>
              <a:pathLst>
                <a:path w="214629" h="102870" extrusionOk="0">
                  <a:moveTo>
                    <a:pt x="214630" y="48895"/>
                  </a:moveTo>
                  <a:lnTo>
                    <a:pt x="201295" y="0"/>
                  </a:lnTo>
                  <a:lnTo>
                    <a:pt x="177165" y="6350"/>
                  </a:lnTo>
                  <a:lnTo>
                    <a:pt x="24765" y="47625"/>
                  </a:lnTo>
                  <a:lnTo>
                    <a:pt x="0" y="53975"/>
                  </a:lnTo>
                  <a:lnTo>
                    <a:pt x="13335" y="102870"/>
                  </a:lnTo>
                  <a:lnTo>
                    <a:pt x="37465" y="96520"/>
                  </a:lnTo>
                  <a:lnTo>
                    <a:pt x="189865" y="558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39" name="Google Shape;239;p14"/>
            <p:cNvSpPr/>
            <p:nvPr/>
          </p:nvSpPr>
          <p:spPr>
            <a:xfrm>
              <a:off x="4637404" y="4703445"/>
              <a:ext cx="214629" cy="102870"/>
            </a:xfrm>
            <a:custGeom>
              <a:avLst/>
              <a:gdLst/>
              <a:ahLst/>
              <a:cxnLst/>
              <a:rect l="l" t="t" r="r" b="b"/>
              <a:pathLst>
                <a:path w="214629" h="102870" extrusionOk="0">
                  <a:moveTo>
                    <a:pt x="214630" y="48895"/>
                  </a:moveTo>
                  <a:lnTo>
                    <a:pt x="201295" y="0"/>
                  </a:lnTo>
                  <a:lnTo>
                    <a:pt x="177165" y="6350"/>
                  </a:lnTo>
                  <a:lnTo>
                    <a:pt x="24765" y="47625"/>
                  </a:lnTo>
                  <a:lnTo>
                    <a:pt x="0" y="53975"/>
                  </a:lnTo>
                  <a:lnTo>
                    <a:pt x="13335" y="102870"/>
                  </a:lnTo>
                  <a:lnTo>
                    <a:pt x="37465" y="96520"/>
                  </a:lnTo>
                  <a:lnTo>
                    <a:pt x="189865" y="558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0" name="Google Shape;240;p14"/>
            <p:cNvSpPr/>
            <p:nvPr/>
          </p:nvSpPr>
          <p:spPr>
            <a:xfrm>
              <a:off x="5272404" y="5065395"/>
              <a:ext cx="214629" cy="102870"/>
            </a:xfrm>
            <a:custGeom>
              <a:avLst/>
              <a:gdLst/>
              <a:ahLst/>
              <a:cxnLst/>
              <a:rect l="l" t="t" r="r" b="b"/>
              <a:pathLst>
                <a:path w="214629" h="102870" extrusionOk="0">
                  <a:moveTo>
                    <a:pt x="177165" y="6350"/>
                  </a:moveTo>
                  <a:lnTo>
                    <a:pt x="24765" y="47625"/>
                  </a:lnTo>
                  <a:lnTo>
                    <a:pt x="0" y="53975"/>
                  </a:lnTo>
                  <a:lnTo>
                    <a:pt x="13335" y="102870"/>
                  </a:lnTo>
                  <a:lnTo>
                    <a:pt x="37465" y="96520"/>
                  </a:lnTo>
                  <a:lnTo>
                    <a:pt x="189865" y="55880"/>
                  </a:lnTo>
                  <a:lnTo>
                    <a:pt x="214630" y="48895"/>
                  </a:lnTo>
                  <a:lnTo>
                    <a:pt x="20129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1" name="Google Shape;241;p14"/>
            <p:cNvSpPr/>
            <p:nvPr/>
          </p:nvSpPr>
          <p:spPr>
            <a:xfrm>
              <a:off x="5907404" y="5427345"/>
              <a:ext cx="214629" cy="102870"/>
            </a:xfrm>
            <a:custGeom>
              <a:avLst/>
              <a:gdLst/>
              <a:ahLst/>
              <a:cxnLst/>
              <a:rect l="l" t="t" r="r" b="b"/>
              <a:pathLst>
                <a:path w="214629" h="102870" extrusionOk="0">
                  <a:moveTo>
                    <a:pt x="177165" y="6350"/>
                  </a:moveTo>
                  <a:lnTo>
                    <a:pt x="24765" y="47625"/>
                  </a:lnTo>
                  <a:lnTo>
                    <a:pt x="0" y="53975"/>
                  </a:lnTo>
                  <a:lnTo>
                    <a:pt x="13335" y="102870"/>
                  </a:lnTo>
                  <a:lnTo>
                    <a:pt x="37465" y="96520"/>
                  </a:lnTo>
                  <a:lnTo>
                    <a:pt x="189865" y="55880"/>
                  </a:lnTo>
                  <a:lnTo>
                    <a:pt x="214630" y="48895"/>
                  </a:lnTo>
                  <a:lnTo>
                    <a:pt x="20129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2" name="Google Shape;242;p14"/>
            <p:cNvSpPr/>
            <p:nvPr/>
          </p:nvSpPr>
          <p:spPr>
            <a:xfrm>
              <a:off x="6542405" y="5789295"/>
              <a:ext cx="214629" cy="102870"/>
            </a:xfrm>
            <a:custGeom>
              <a:avLst/>
              <a:gdLst/>
              <a:ahLst/>
              <a:cxnLst/>
              <a:rect l="l" t="t" r="r" b="b"/>
              <a:pathLst>
                <a:path w="214629" h="102870" extrusionOk="0">
                  <a:moveTo>
                    <a:pt x="177164" y="6350"/>
                  </a:moveTo>
                  <a:lnTo>
                    <a:pt x="24764" y="47625"/>
                  </a:lnTo>
                  <a:lnTo>
                    <a:pt x="0" y="53975"/>
                  </a:lnTo>
                  <a:lnTo>
                    <a:pt x="13335" y="102870"/>
                  </a:lnTo>
                  <a:lnTo>
                    <a:pt x="37464" y="96520"/>
                  </a:lnTo>
                  <a:lnTo>
                    <a:pt x="189864" y="55880"/>
                  </a:lnTo>
                  <a:lnTo>
                    <a:pt x="214630" y="48895"/>
                  </a:lnTo>
                  <a:lnTo>
                    <a:pt x="20129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3" name="Google Shape;243;p14"/>
            <p:cNvSpPr/>
            <p:nvPr/>
          </p:nvSpPr>
          <p:spPr>
            <a:xfrm>
              <a:off x="7177405" y="6151245"/>
              <a:ext cx="214629" cy="102870"/>
            </a:xfrm>
            <a:custGeom>
              <a:avLst/>
              <a:gdLst/>
              <a:ahLst/>
              <a:cxnLst/>
              <a:rect l="l" t="t" r="r" b="b"/>
              <a:pathLst>
                <a:path w="214629" h="102870" extrusionOk="0">
                  <a:moveTo>
                    <a:pt x="177164" y="6350"/>
                  </a:moveTo>
                  <a:lnTo>
                    <a:pt x="24764" y="47625"/>
                  </a:lnTo>
                  <a:lnTo>
                    <a:pt x="0" y="53975"/>
                  </a:lnTo>
                  <a:lnTo>
                    <a:pt x="13335" y="102870"/>
                  </a:lnTo>
                  <a:lnTo>
                    <a:pt x="37464" y="96520"/>
                  </a:lnTo>
                  <a:lnTo>
                    <a:pt x="189864" y="55880"/>
                  </a:lnTo>
                  <a:lnTo>
                    <a:pt x="214630" y="48895"/>
                  </a:lnTo>
                  <a:lnTo>
                    <a:pt x="20129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4" name="Google Shape;244;p14"/>
            <p:cNvSpPr/>
            <p:nvPr/>
          </p:nvSpPr>
          <p:spPr>
            <a:xfrm>
              <a:off x="7812405" y="6513194"/>
              <a:ext cx="214629" cy="102870"/>
            </a:xfrm>
            <a:custGeom>
              <a:avLst/>
              <a:gdLst/>
              <a:ahLst/>
              <a:cxnLst/>
              <a:rect l="l" t="t" r="r" b="b"/>
              <a:pathLst>
                <a:path w="214629" h="102870" extrusionOk="0">
                  <a:moveTo>
                    <a:pt x="177164" y="6350"/>
                  </a:moveTo>
                  <a:lnTo>
                    <a:pt x="24764" y="47625"/>
                  </a:lnTo>
                  <a:lnTo>
                    <a:pt x="0" y="53975"/>
                  </a:lnTo>
                  <a:lnTo>
                    <a:pt x="13335" y="102870"/>
                  </a:lnTo>
                  <a:lnTo>
                    <a:pt x="37464" y="96520"/>
                  </a:lnTo>
                  <a:lnTo>
                    <a:pt x="189864" y="55880"/>
                  </a:lnTo>
                  <a:lnTo>
                    <a:pt x="214630" y="48895"/>
                  </a:lnTo>
                  <a:lnTo>
                    <a:pt x="20129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5" name="Google Shape;245;p14"/>
            <p:cNvSpPr/>
            <p:nvPr/>
          </p:nvSpPr>
          <p:spPr>
            <a:xfrm>
              <a:off x="233045" y="1827529"/>
              <a:ext cx="206374" cy="63500"/>
            </a:xfrm>
            <a:custGeom>
              <a:avLst/>
              <a:gdLst/>
              <a:ahLst/>
              <a:cxnLst/>
              <a:rect l="l" t="t" r="r" b="b"/>
              <a:pathLst>
                <a:path w="206374" h="63500" extrusionOk="0">
                  <a:moveTo>
                    <a:pt x="206375" y="50800"/>
                  </a:moveTo>
                  <a:lnTo>
                    <a:pt x="203200" y="0"/>
                  </a:lnTo>
                  <a:lnTo>
                    <a:pt x="177800" y="1905"/>
                  </a:lnTo>
                  <a:lnTo>
                    <a:pt x="25400" y="11430"/>
                  </a:lnTo>
                  <a:lnTo>
                    <a:pt x="0" y="12700"/>
                  </a:lnTo>
                  <a:lnTo>
                    <a:pt x="3175" y="63500"/>
                  </a:lnTo>
                  <a:lnTo>
                    <a:pt x="28575" y="62230"/>
                  </a:lnTo>
                  <a:lnTo>
                    <a:pt x="180975" y="5270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6" name="Google Shape;246;p14"/>
            <p:cNvSpPr/>
            <p:nvPr/>
          </p:nvSpPr>
          <p:spPr>
            <a:xfrm>
              <a:off x="868044" y="2189479"/>
              <a:ext cx="206375" cy="63500"/>
            </a:xfrm>
            <a:custGeom>
              <a:avLst/>
              <a:gdLst/>
              <a:ahLst/>
              <a:cxnLst/>
              <a:rect l="l" t="t" r="r" b="b"/>
              <a:pathLst>
                <a:path w="206375" h="63500" extrusionOk="0">
                  <a:moveTo>
                    <a:pt x="206375" y="50800"/>
                  </a:moveTo>
                  <a:lnTo>
                    <a:pt x="203200" y="0"/>
                  </a:lnTo>
                  <a:lnTo>
                    <a:pt x="177800" y="1905"/>
                  </a:lnTo>
                  <a:lnTo>
                    <a:pt x="25400" y="11430"/>
                  </a:lnTo>
                  <a:lnTo>
                    <a:pt x="0" y="12700"/>
                  </a:lnTo>
                  <a:lnTo>
                    <a:pt x="3175" y="63500"/>
                  </a:lnTo>
                  <a:lnTo>
                    <a:pt x="28575" y="62230"/>
                  </a:lnTo>
                  <a:lnTo>
                    <a:pt x="180975" y="5270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7" name="Google Shape;247;p14"/>
            <p:cNvSpPr/>
            <p:nvPr/>
          </p:nvSpPr>
          <p:spPr>
            <a:xfrm>
              <a:off x="1503044" y="2551429"/>
              <a:ext cx="206375" cy="63500"/>
            </a:xfrm>
            <a:custGeom>
              <a:avLst/>
              <a:gdLst/>
              <a:ahLst/>
              <a:cxnLst/>
              <a:rect l="l" t="t" r="r" b="b"/>
              <a:pathLst>
                <a:path w="206375" h="63500" extrusionOk="0">
                  <a:moveTo>
                    <a:pt x="206375" y="50800"/>
                  </a:moveTo>
                  <a:lnTo>
                    <a:pt x="203200" y="0"/>
                  </a:lnTo>
                  <a:lnTo>
                    <a:pt x="177800" y="1905"/>
                  </a:lnTo>
                  <a:lnTo>
                    <a:pt x="25400" y="11430"/>
                  </a:lnTo>
                  <a:lnTo>
                    <a:pt x="0" y="12700"/>
                  </a:lnTo>
                  <a:lnTo>
                    <a:pt x="3175" y="63500"/>
                  </a:lnTo>
                  <a:lnTo>
                    <a:pt x="28575" y="62230"/>
                  </a:lnTo>
                  <a:lnTo>
                    <a:pt x="180975" y="5270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8" name="Google Shape;248;p14"/>
            <p:cNvSpPr/>
            <p:nvPr/>
          </p:nvSpPr>
          <p:spPr>
            <a:xfrm>
              <a:off x="2138045" y="2913379"/>
              <a:ext cx="206375" cy="63500"/>
            </a:xfrm>
            <a:custGeom>
              <a:avLst/>
              <a:gdLst/>
              <a:ahLst/>
              <a:cxnLst/>
              <a:rect l="l" t="t" r="r" b="b"/>
              <a:pathLst>
                <a:path w="206375" h="63500" extrusionOk="0">
                  <a:moveTo>
                    <a:pt x="206375" y="50800"/>
                  </a:moveTo>
                  <a:lnTo>
                    <a:pt x="203200" y="0"/>
                  </a:lnTo>
                  <a:lnTo>
                    <a:pt x="177800" y="1905"/>
                  </a:lnTo>
                  <a:lnTo>
                    <a:pt x="25400" y="11430"/>
                  </a:lnTo>
                  <a:lnTo>
                    <a:pt x="0" y="12700"/>
                  </a:lnTo>
                  <a:lnTo>
                    <a:pt x="3175" y="63500"/>
                  </a:lnTo>
                  <a:lnTo>
                    <a:pt x="28575" y="62230"/>
                  </a:lnTo>
                  <a:lnTo>
                    <a:pt x="180975" y="5270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9" name="Google Shape;249;p14"/>
            <p:cNvSpPr/>
            <p:nvPr/>
          </p:nvSpPr>
          <p:spPr>
            <a:xfrm>
              <a:off x="2773045" y="3275329"/>
              <a:ext cx="206375" cy="63500"/>
            </a:xfrm>
            <a:custGeom>
              <a:avLst/>
              <a:gdLst/>
              <a:ahLst/>
              <a:cxnLst/>
              <a:rect l="l" t="t" r="r" b="b"/>
              <a:pathLst>
                <a:path w="206375" h="63500" extrusionOk="0">
                  <a:moveTo>
                    <a:pt x="206375" y="50800"/>
                  </a:moveTo>
                  <a:lnTo>
                    <a:pt x="203200" y="0"/>
                  </a:lnTo>
                  <a:lnTo>
                    <a:pt x="177800" y="1905"/>
                  </a:lnTo>
                  <a:lnTo>
                    <a:pt x="25400" y="11430"/>
                  </a:lnTo>
                  <a:lnTo>
                    <a:pt x="0" y="12700"/>
                  </a:lnTo>
                  <a:lnTo>
                    <a:pt x="3175" y="63500"/>
                  </a:lnTo>
                  <a:lnTo>
                    <a:pt x="28575" y="62230"/>
                  </a:lnTo>
                  <a:lnTo>
                    <a:pt x="180975" y="5270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0" name="Google Shape;250;p14"/>
            <p:cNvSpPr/>
            <p:nvPr/>
          </p:nvSpPr>
          <p:spPr>
            <a:xfrm>
              <a:off x="3408045" y="3637279"/>
              <a:ext cx="206375" cy="63500"/>
            </a:xfrm>
            <a:custGeom>
              <a:avLst/>
              <a:gdLst/>
              <a:ahLst/>
              <a:cxnLst/>
              <a:rect l="l" t="t" r="r" b="b"/>
              <a:pathLst>
                <a:path w="206375" h="63500" extrusionOk="0">
                  <a:moveTo>
                    <a:pt x="206375" y="50800"/>
                  </a:moveTo>
                  <a:lnTo>
                    <a:pt x="203200" y="0"/>
                  </a:lnTo>
                  <a:lnTo>
                    <a:pt x="177800" y="1905"/>
                  </a:lnTo>
                  <a:lnTo>
                    <a:pt x="25400" y="11430"/>
                  </a:lnTo>
                  <a:lnTo>
                    <a:pt x="0" y="12700"/>
                  </a:lnTo>
                  <a:lnTo>
                    <a:pt x="3175" y="63500"/>
                  </a:lnTo>
                  <a:lnTo>
                    <a:pt x="28575" y="62230"/>
                  </a:lnTo>
                  <a:lnTo>
                    <a:pt x="180975" y="5270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1" name="Google Shape;251;p14"/>
            <p:cNvSpPr/>
            <p:nvPr/>
          </p:nvSpPr>
          <p:spPr>
            <a:xfrm>
              <a:off x="4043045" y="3999229"/>
              <a:ext cx="206375" cy="63500"/>
            </a:xfrm>
            <a:custGeom>
              <a:avLst/>
              <a:gdLst/>
              <a:ahLst/>
              <a:cxnLst/>
              <a:rect l="l" t="t" r="r" b="b"/>
              <a:pathLst>
                <a:path w="206375" h="63500" extrusionOk="0">
                  <a:moveTo>
                    <a:pt x="206375" y="50800"/>
                  </a:moveTo>
                  <a:lnTo>
                    <a:pt x="203200" y="0"/>
                  </a:lnTo>
                  <a:lnTo>
                    <a:pt x="177800" y="1905"/>
                  </a:lnTo>
                  <a:lnTo>
                    <a:pt x="25400" y="11430"/>
                  </a:lnTo>
                  <a:lnTo>
                    <a:pt x="0" y="12700"/>
                  </a:lnTo>
                  <a:lnTo>
                    <a:pt x="3175" y="63500"/>
                  </a:lnTo>
                  <a:lnTo>
                    <a:pt x="28575" y="62230"/>
                  </a:lnTo>
                  <a:lnTo>
                    <a:pt x="180975" y="5270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2" name="Google Shape;252;p14"/>
            <p:cNvSpPr/>
            <p:nvPr/>
          </p:nvSpPr>
          <p:spPr>
            <a:xfrm>
              <a:off x="4678045" y="4361179"/>
              <a:ext cx="206375" cy="63500"/>
            </a:xfrm>
            <a:custGeom>
              <a:avLst/>
              <a:gdLst/>
              <a:ahLst/>
              <a:cxnLst/>
              <a:rect l="l" t="t" r="r" b="b"/>
              <a:pathLst>
                <a:path w="206375" h="63500" extrusionOk="0">
                  <a:moveTo>
                    <a:pt x="206375" y="50800"/>
                  </a:moveTo>
                  <a:lnTo>
                    <a:pt x="203200" y="0"/>
                  </a:lnTo>
                  <a:lnTo>
                    <a:pt x="177800" y="1905"/>
                  </a:lnTo>
                  <a:lnTo>
                    <a:pt x="25400" y="11430"/>
                  </a:lnTo>
                  <a:lnTo>
                    <a:pt x="0" y="12700"/>
                  </a:lnTo>
                  <a:lnTo>
                    <a:pt x="3175" y="63500"/>
                  </a:lnTo>
                  <a:lnTo>
                    <a:pt x="28575" y="62230"/>
                  </a:lnTo>
                  <a:lnTo>
                    <a:pt x="180975" y="5270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3" name="Google Shape;253;p14"/>
            <p:cNvSpPr/>
            <p:nvPr/>
          </p:nvSpPr>
          <p:spPr>
            <a:xfrm>
              <a:off x="5313045" y="4723129"/>
              <a:ext cx="206375" cy="63500"/>
            </a:xfrm>
            <a:custGeom>
              <a:avLst/>
              <a:gdLst/>
              <a:ahLst/>
              <a:cxnLst/>
              <a:rect l="l" t="t" r="r" b="b"/>
              <a:pathLst>
                <a:path w="206375" h="63500" extrusionOk="0">
                  <a:moveTo>
                    <a:pt x="203200" y="0"/>
                  </a:moveTo>
                  <a:lnTo>
                    <a:pt x="177800" y="1905"/>
                  </a:lnTo>
                  <a:lnTo>
                    <a:pt x="25400" y="11430"/>
                  </a:lnTo>
                  <a:lnTo>
                    <a:pt x="0" y="12700"/>
                  </a:lnTo>
                  <a:lnTo>
                    <a:pt x="3175" y="63500"/>
                  </a:lnTo>
                  <a:lnTo>
                    <a:pt x="28575" y="62230"/>
                  </a:lnTo>
                  <a:lnTo>
                    <a:pt x="180975" y="52705"/>
                  </a:lnTo>
                  <a:lnTo>
                    <a:pt x="206375" y="5080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4" name="Google Shape;254;p14"/>
            <p:cNvSpPr/>
            <p:nvPr/>
          </p:nvSpPr>
          <p:spPr>
            <a:xfrm>
              <a:off x="5948045" y="5085079"/>
              <a:ext cx="206375" cy="63500"/>
            </a:xfrm>
            <a:custGeom>
              <a:avLst/>
              <a:gdLst/>
              <a:ahLst/>
              <a:cxnLst/>
              <a:rect l="l" t="t" r="r" b="b"/>
              <a:pathLst>
                <a:path w="206375" h="63500" extrusionOk="0">
                  <a:moveTo>
                    <a:pt x="177800" y="1905"/>
                  </a:moveTo>
                  <a:lnTo>
                    <a:pt x="25400" y="11430"/>
                  </a:lnTo>
                  <a:lnTo>
                    <a:pt x="0" y="12700"/>
                  </a:lnTo>
                  <a:lnTo>
                    <a:pt x="3175" y="63500"/>
                  </a:lnTo>
                  <a:lnTo>
                    <a:pt x="28575" y="62230"/>
                  </a:lnTo>
                  <a:lnTo>
                    <a:pt x="180975" y="52705"/>
                  </a:lnTo>
                  <a:lnTo>
                    <a:pt x="206375" y="50800"/>
                  </a:lnTo>
                  <a:lnTo>
                    <a:pt x="20320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5" name="Google Shape;255;p14"/>
            <p:cNvSpPr/>
            <p:nvPr/>
          </p:nvSpPr>
          <p:spPr>
            <a:xfrm>
              <a:off x="6583044" y="5447029"/>
              <a:ext cx="206375" cy="63500"/>
            </a:xfrm>
            <a:custGeom>
              <a:avLst/>
              <a:gdLst/>
              <a:ahLst/>
              <a:cxnLst/>
              <a:rect l="l" t="t" r="r" b="b"/>
              <a:pathLst>
                <a:path w="206375" h="63500" extrusionOk="0">
                  <a:moveTo>
                    <a:pt x="177800" y="1905"/>
                  </a:moveTo>
                  <a:lnTo>
                    <a:pt x="25400" y="11430"/>
                  </a:lnTo>
                  <a:lnTo>
                    <a:pt x="0" y="12700"/>
                  </a:lnTo>
                  <a:lnTo>
                    <a:pt x="3175" y="63500"/>
                  </a:lnTo>
                  <a:lnTo>
                    <a:pt x="28575" y="62230"/>
                  </a:lnTo>
                  <a:lnTo>
                    <a:pt x="180975" y="52705"/>
                  </a:lnTo>
                  <a:lnTo>
                    <a:pt x="206375" y="50800"/>
                  </a:lnTo>
                  <a:lnTo>
                    <a:pt x="20320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6" name="Google Shape;256;p14"/>
            <p:cNvSpPr/>
            <p:nvPr/>
          </p:nvSpPr>
          <p:spPr>
            <a:xfrm>
              <a:off x="7218044" y="5808979"/>
              <a:ext cx="206375" cy="63500"/>
            </a:xfrm>
            <a:custGeom>
              <a:avLst/>
              <a:gdLst/>
              <a:ahLst/>
              <a:cxnLst/>
              <a:rect l="l" t="t" r="r" b="b"/>
              <a:pathLst>
                <a:path w="206375" h="63500" extrusionOk="0">
                  <a:moveTo>
                    <a:pt x="177800" y="1905"/>
                  </a:moveTo>
                  <a:lnTo>
                    <a:pt x="25400" y="11430"/>
                  </a:lnTo>
                  <a:lnTo>
                    <a:pt x="0" y="12700"/>
                  </a:lnTo>
                  <a:lnTo>
                    <a:pt x="3175" y="63500"/>
                  </a:lnTo>
                  <a:lnTo>
                    <a:pt x="28575" y="62230"/>
                  </a:lnTo>
                  <a:lnTo>
                    <a:pt x="180975" y="52705"/>
                  </a:lnTo>
                  <a:lnTo>
                    <a:pt x="206375" y="50800"/>
                  </a:lnTo>
                  <a:lnTo>
                    <a:pt x="20320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7" name="Google Shape;257;p14"/>
            <p:cNvSpPr/>
            <p:nvPr/>
          </p:nvSpPr>
          <p:spPr>
            <a:xfrm>
              <a:off x="7853044" y="6170929"/>
              <a:ext cx="206375" cy="63500"/>
            </a:xfrm>
            <a:custGeom>
              <a:avLst/>
              <a:gdLst/>
              <a:ahLst/>
              <a:cxnLst/>
              <a:rect l="l" t="t" r="r" b="b"/>
              <a:pathLst>
                <a:path w="206375" h="63500" extrusionOk="0">
                  <a:moveTo>
                    <a:pt x="177800" y="1905"/>
                  </a:moveTo>
                  <a:lnTo>
                    <a:pt x="25400" y="11430"/>
                  </a:lnTo>
                  <a:lnTo>
                    <a:pt x="0" y="12700"/>
                  </a:lnTo>
                  <a:lnTo>
                    <a:pt x="3175" y="63500"/>
                  </a:lnTo>
                  <a:lnTo>
                    <a:pt x="28575" y="62230"/>
                  </a:lnTo>
                  <a:lnTo>
                    <a:pt x="180975" y="52705"/>
                  </a:lnTo>
                  <a:lnTo>
                    <a:pt x="206375" y="50800"/>
                  </a:lnTo>
                  <a:lnTo>
                    <a:pt x="20320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8" name="Google Shape;258;p14"/>
            <p:cNvSpPr/>
            <p:nvPr/>
          </p:nvSpPr>
          <p:spPr>
            <a:xfrm>
              <a:off x="8488044" y="6532880"/>
              <a:ext cx="206375" cy="63500"/>
            </a:xfrm>
            <a:custGeom>
              <a:avLst/>
              <a:gdLst/>
              <a:ahLst/>
              <a:cxnLst/>
              <a:rect l="l" t="t" r="r" b="b"/>
              <a:pathLst>
                <a:path w="206375" h="63500" extrusionOk="0">
                  <a:moveTo>
                    <a:pt x="177800" y="1905"/>
                  </a:moveTo>
                  <a:lnTo>
                    <a:pt x="25400" y="11430"/>
                  </a:lnTo>
                  <a:lnTo>
                    <a:pt x="0" y="12700"/>
                  </a:lnTo>
                  <a:lnTo>
                    <a:pt x="3175" y="63500"/>
                  </a:lnTo>
                  <a:lnTo>
                    <a:pt x="28575" y="62230"/>
                  </a:lnTo>
                  <a:lnTo>
                    <a:pt x="180975" y="52705"/>
                  </a:lnTo>
                  <a:lnTo>
                    <a:pt x="206375" y="50800"/>
                  </a:lnTo>
                  <a:lnTo>
                    <a:pt x="20320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9" name="Google Shape;259;p14"/>
            <p:cNvSpPr/>
            <p:nvPr/>
          </p:nvSpPr>
          <p:spPr>
            <a:xfrm>
              <a:off x="222250" y="1457325"/>
              <a:ext cx="209550" cy="80010"/>
            </a:xfrm>
            <a:custGeom>
              <a:avLst/>
              <a:gdLst/>
              <a:ahLst/>
              <a:cxnLst/>
              <a:rect l="l" t="t" r="r" b="b"/>
              <a:pathLst>
                <a:path w="209550" h="80010" extrusionOk="0">
                  <a:moveTo>
                    <a:pt x="32385" y="3810"/>
                  </a:moveTo>
                  <a:lnTo>
                    <a:pt x="6985" y="0"/>
                  </a:lnTo>
                  <a:lnTo>
                    <a:pt x="0" y="50800"/>
                  </a:lnTo>
                  <a:lnTo>
                    <a:pt x="24765" y="53975"/>
                  </a:lnTo>
                  <a:lnTo>
                    <a:pt x="177165" y="76200"/>
                  </a:lnTo>
                  <a:lnTo>
                    <a:pt x="202565" y="80010"/>
                  </a:lnTo>
                  <a:lnTo>
                    <a:pt x="209550" y="29845"/>
                  </a:lnTo>
                  <a:lnTo>
                    <a:pt x="184785" y="2603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0" name="Google Shape;260;p14"/>
            <p:cNvSpPr/>
            <p:nvPr/>
          </p:nvSpPr>
          <p:spPr>
            <a:xfrm>
              <a:off x="857250" y="1819275"/>
              <a:ext cx="209550" cy="80010"/>
            </a:xfrm>
            <a:custGeom>
              <a:avLst/>
              <a:gdLst/>
              <a:ahLst/>
              <a:cxnLst/>
              <a:rect l="l" t="t" r="r" b="b"/>
              <a:pathLst>
                <a:path w="209550" h="80010" extrusionOk="0">
                  <a:moveTo>
                    <a:pt x="6985" y="0"/>
                  </a:moveTo>
                  <a:lnTo>
                    <a:pt x="0" y="50800"/>
                  </a:lnTo>
                  <a:lnTo>
                    <a:pt x="24765" y="53975"/>
                  </a:lnTo>
                  <a:lnTo>
                    <a:pt x="177165" y="76200"/>
                  </a:lnTo>
                  <a:lnTo>
                    <a:pt x="202565" y="80010"/>
                  </a:lnTo>
                  <a:lnTo>
                    <a:pt x="209550" y="29845"/>
                  </a:lnTo>
                  <a:lnTo>
                    <a:pt x="184785" y="26035"/>
                  </a:lnTo>
                  <a:lnTo>
                    <a:pt x="32385" y="381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1" name="Google Shape;261;p14"/>
            <p:cNvSpPr/>
            <p:nvPr/>
          </p:nvSpPr>
          <p:spPr>
            <a:xfrm>
              <a:off x="1492250" y="2181225"/>
              <a:ext cx="209550" cy="80010"/>
            </a:xfrm>
            <a:custGeom>
              <a:avLst/>
              <a:gdLst/>
              <a:ahLst/>
              <a:cxnLst/>
              <a:rect l="l" t="t" r="r" b="b"/>
              <a:pathLst>
                <a:path w="209550" h="80010" extrusionOk="0">
                  <a:moveTo>
                    <a:pt x="6985" y="0"/>
                  </a:moveTo>
                  <a:lnTo>
                    <a:pt x="0" y="50800"/>
                  </a:lnTo>
                  <a:lnTo>
                    <a:pt x="24765" y="53975"/>
                  </a:lnTo>
                  <a:lnTo>
                    <a:pt x="177165" y="76200"/>
                  </a:lnTo>
                  <a:lnTo>
                    <a:pt x="202565" y="80010"/>
                  </a:lnTo>
                  <a:lnTo>
                    <a:pt x="209550" y="29845"/>
                  </a:lnTo>
                  <a:lnTo>
                    <a:pt x="184785" y="26035"/>
                  </a:lnTo>
                  <a:lnTo>
                    <a:pt x="32385" y="381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2" name="Google Shape;262;p14"/>
            <p:cNvSpPr/>
            <p:nvPr/>
          </p:nvSpPr>
          <p:spPr>
            <a:xfrm>
              <a:off x="2127250" y="2543175"/>
              <a:ext cx="209550" cy="80010"/>
            </a:xfrm>
            <a:custGeom>
              <a:avLst/>
              <a:gdLst/>
              <a:ahLst/>
              <a:cxnLst/>
              <a:rect l="l" t="t" r="r" b="b"/>
              <a:pathLst>
                <a:path w="209550" h="80010" extrusionOk="0">
                  <a:moveTo>
                    <a:pt x="6985" y="0"/>
                  </a:moveTo>
                  <a:lnTo>
                    <a:pt x="0" y="50800"/>
                  </a:lnTo>
                  <a:lnTo>
                    <a:pt x="24765" y="53975"/>
                  </a:lnTo>
                  <a:lnTo>
                    <a:pt x="177165" y="76200"/>
                  </a:lnTo>
                  <a:lnTo>
                    <a:pt x="202565" y="80010"/>
                  </a:lnTo>
                  <a:lnTo>
                    <a:pt x="209550" y="29845"/>
                  </a:lnTo>
                  <a:lnTo>
                    <a:pt x="184785" y="26035"/>
                  </a:lnTo>
                  <a:lnTo>
                    <a:pt x="32385" y="381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3" name="Google Shape;263;p14"/>
            <p:cNvSpPr/>
            <p:nvPr/>
          </p:nvSpPr>
          <p:spPr>
            <a:xfrm>
              <a:off x="2762250" y="2905125"/>
              <a:ext cx="209550" cy="80010"/>
            </a:xfrm>
            <a:custGeom>
              <a:avLst/>
              <a:gdLst/>
              <a:ahLst/>
              <a:cxnLst/>
              <a:rect l="l" t="t" r="r" b="b"/>
              <a:pathLst>
                <a:path w="209550" h="80010" extrusionOk="0">
                  <a:moveTo>
                    <a:pt x="177165" y="76200"/>
                  </a:moveTo>
                  <a:lnTo>
                    <a:pt x="202565" y="80010"/>
                  </a:lnTo>
                  <a:lnTo>
                    <a:pt x="209550" y="29845"/>
                  </a:lnTo>
                  <a:lnTo>
                    <a:pt x="184785" y="26035"/>
                  </a:lnTo>
                  <a:lnTo>
                    <a:pt x="32385" y="3810"/>
                  </a:lnTo>
                  <a:lnTo>
                    <a:pt x="6985" y="0"/>
                  </a:lnTo>
                  <a:lnTo>
                    <a:pt x="0" y="50800"/>
                  </a:lnTo>
                  <a:lnTo>
                    <a:pt x="24765" y="5397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4" name="Google Shape;264;p14"/>
            <p:cNvSpPr/>
            <p:nvPr/>
          </p:nvSpPr>
          <p:spPr>
            <a:xfrm>
              <a:off x="3397250" y="3267075"/>
              <a:ext cx="209550" cy="80009"/>
            </a:xfrm>
            <a:custGeom>
              <a:avLst/>
              <a:gdLst/>
              <a:ahLst/>
              <a:cxnLst/>
              <a:rect l="l" t="t" r="r" b="b"/>
              <a:pathLst>
                <a:path w="209550" h="80009" extrusionOk="0">
                  <a:moveTo>
                    <a:pt x="177165" y="76200"/>
                  </a:moveTo>
                  <a:lnTo>
                    <a:pt x="202565" y="80010"/>
                  </a:lnTo>
                  <a:lnTo>
                    <a:pt x="209550" y="29845"/>
                  </a:lnTo>
                  <a:lnTo>
                    <a:pt x="184785" y="26035"/>
                  </a:lnTo>
                  <a:lnTo>
                    <a:pt x="32385" y="3810"/>
                  </a:lnTo>
                  <a:lnTo>
                    <a:pt x="6985" y="0"/>
                  </a:lnTo>
                  <a:lnTo>
                    <a:pt x="0" y="50800"/>
                  </a:lnTo>
                  <a:lnTo>
                    <a:pt x="24765" y="5397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5" name="Google Shape;265;p14"/>
            <p:cNvSpPr/>
            <p:nvPr/>
          </p:nvSpPr>
          <p:spPr>
            <a:xfrm>
              <a:off x="4032250" y="3629025"/>
              <a:ext cx="209550" cy="80009"/>
            </a:xfrm>
            <a:custGeom>
              <a:avLst/>
              <a:gdLst/>
              <a:ahLst/>
              <a:cxnLst/>
              <a:rect l="l" t="t" r="r" b="b"/>
              <a:pathLst>
                <a:path w="209550" h="80009" extrusionOk="0">
                  <a:moveTo>
                    <a:pt x="177165" y="76200"/>
                  </a:moveTo>
                  <a:lnTo>
                    <a:pt x="202565" y="80010"/>
                  </a:lnTo>
                  <a:lnTo>
                    <a:pt x="209550" y="29845"/>
                  </a:lnTo>
                  <a:lnTo>
                    <a:pt x="184785" y="26035"/>
                  </a:lnTo>
                  <a:lnTo>
                    <a:pt x="32385" y="3810"/>
                  </a:lnTo>
                  <a:lnTo>
                    <a:pt x="6985" y="0"/>
                  </a:lnTo>
                  <a:lnTo>
                    <a:pt x="0" y="50800"/>
                  </a:lnTo>
                  <a:lnTo>
                    <a:pt x="24765" y="5397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6" name="Google Shape;266;p14"/>
            <p:cNvSpPr/>
            <p:nvPr/>
          </p:nvSpPr>
          <p:spPr>
            <a:xfrm>
              <a:off x="4667250" y="3990975"/>
              <a:ext cx="209550" cy="80009"/>
            </a:xfrm>
            <a:custGeom>
              <a:avLst/>
              <a:gdLst/>
              <a:ahLst/>
              <a:cxnLst/>
              <a:rect l="l" t="t" r="r" b="b"/>
              <a:pathLst>
                <a:path w="209550" h="80009" extrusionOk="0">
                  <a:moveTo>
                    <a:pt x="177165" y="76200"/>
                  </a:moveTo>
                  <a:lnTo>
                    <a:pt x="202565" y="80010"/>
                  </a:lnTo>
                  <a:lnTo>
                    <a:pt x="209550" y="29845"/>
                  </a:lnTo>
                  <a:lnTo>
                    <a:pt x="184785" y="26035"/>
                  </a:lnTo>
                  <a:lnTo>
                    <a:pt x="32385" y="3810"/>
                  </a:lnTo>
                  <a:lnTo>
                    <a:pt x="6985" y="0"/>
                  </a:lnTo>
                  <a:lnTo>
                    <a:pt x="0" y="50800"/>
                  </a:lnTo>
                  <a:lnTo>
                    <a:pt x="24765" y="5397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7" name="Google Shape;267;p14"/>
            <p:cNvSpPr/>
            <p:nvPr/>
          </p:nvSpPr>
          <p:spPr>
            <a:xfrm>
              <a:off x="5302250" y="4352925"/>
              <a:ext cx="209550" cy="80009"/>
            </a:xfrm>
            <a:custGeom>
              <a:avLst/>
              <a:gdLst/>
              <a:ahLst/>
              <a:cxnLst/>
              <a:rect l="l" t="t" r="r" b="b"/>
              <a:pathLst>
                <a:path w="209550" h="80009" extrusionOk="0">
                  <a:moveTo>
                    <a:pt x="177165" y="76200"/>
                  </a:moveTo>
                  <a:lnTo>
                    <a:pt x="202565" y="80010"/>
                  </a:lnTo>
                  <a:lnTo>
                    <a:pt x="209550" y="29845"/>
                  </a:lnTo>
                  <a:lnTo>
                    <a:pt x="184785" y="26035"/>
                  </a:lnTo>
                  <a:lnTo>
                    <a:pt x="32385" y="3810"/>
                  </a:lnTo>
                  <a:lnTo>
                    <a:pt x="6985" y="0"/>
                  </a:lnTo>
                  <a:lnTo>
                    <a:pt x="0" y="50800"/>
                  </a:lnTo>
                  <a:lnTo>
                    <a:pt x="24765" y="5397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8" name="Google Shape;268;p14"/>
            <p:cNvSpPr/>
            <p:nvPr/>
          </p:nvSpPr>
          <p:spPr>
            <a:xfrm>
              <a:off x="5937250" y="4714875"/>
              <a:ext cx="209550" cy="80009"/>
            </a:xfrm>
            <a:custGeom>
              <a:avLst/>
              <a:gdLst/>
              <a:ahLst/>
              <a:cxnLst/>
              <a:rect l="l" t="t" r="r" b="b"/>
              <a:pathLst>
                <a:path w="209550" h="80009" extrusionOk="0">
                  <a:moveTo>
                    <a:pt x="177165" y="76200"/>
                  </a:moveTo>
                  <a:lnTo>
                    <a:pt x="202565" y="80010"/>
                  </a:lnTo>
                  <a:lnTo>
                    <a:pt x="209550" y="29845"/>
                  </a:lnTo>
                  <a:lnTo>
                    <a:pt x="184785" y="26035"/>
                  </a:lnTo>
                  <a:lnTo>
                    <a:pt x="32385" y="3810"/>
                  </a:lnTo>
                  <a:lnTo>
                    <a:pt x="6985" y="0"/>
                  </a:lnTo>
                  <a:lnTo>
                    <a:pt x="0" y="50800"/>
                  </a:lnTo>
                  <a:lnTo>
                    <a:pt x="24765" y="5397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9" name="Google Shape;269;p14"/>
            <p:cNvSpPr/>
            <p:nvPr/>
          </p:nvSpPr>
          <p:spPr>
            <a:xfrm>
              <a:off x="6572250" y="5076825"/>
              <a:ext cx="209550" cy="80009"/>
            </a:xfrm>
            <a:custGeom>
              <a:avLst/>
              <a:gdLst/>
              <a:ahLst/>
              <a:cxnLst/>
              <a:rect l="l" t="t" r="r" b="b"/>
              <a:pathLst>
                <a:path w="209550" h="80009" extrusionOk="0">
                  <a:moveTo>
                    <a:pt x="177165" y="76200"/>
                  </a:moveTo>
                  <a:lnTo>
                    <a:pt x="202565" y="80010"/>
                  </a:lnTo>
                  <a:lnTo>
                    <a:pt x="209550" y="29845"/>
                  </a:lnTo>
                  <a:lnTo>
                    <a:pt x="184785" y="26035"/>
                  </a:lnTo>
                  <a:lnTo>
                    <a:pt x="32385" y="3810"/>
                  </a:lnTo>
                  <a:lnTo>
                    <a:pt x="6985" y="0"/>
                  </a:lnTo>
                  <a:lnTo>
                    <a:pt x="0" y="50800"/>
                  </a:lnTo>
                  <a:lnTo>
                    <a:pt x="24765" y="5397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70" name="Google Shape;270;p14"/>
            <p:cNvSpPr/>
            <p:nvPr/>
          </p:nvSpPr>
          <p:spPr>
            <a:xfrm>
              <a:off x="7207250" y="5438775"/>
              <a:ext cx="209550" cy="80009"/>
            </a:xfrm>
            <a:custGeom>
              <a:avLst/>
              <a:gdLst/>
              <a:ahLst/>
              <a:cxnLst/>
              <a:rect l="l" t="t" r="r" b="b"/>
              <a:pathLst>
                <a:path w="209550" h="80009" extrusionOk="0">
                  <a:moveTo>
                    <a:pt x="177165" y="76200"/>
                  </a:moveTo>
                  <a:lnTo>
                    <a:pt x="202565" y="80010"/>
                  </a:lnTo>
                  <a:lnTo>
                    <a:pt x="209550" y="29845"/>
                  </a:lnTo>
                  <a:lnTo>
                    <a:pt x="184785" y="26035"/>
                  </a:lnTo>
                  <a:lnTo>
                    <a:pt x="32385" y="3810"/>
                  </a:lnTo>
                  <a:lnTo>
                    <a:pt x="6985" y="0"/>
                  </a:lnTo>
                  <a:lnTo>
                    <a:pt x="0" y="50800"/>
                  </a:lnTo>
                  <a:lnTo>
                    <a:pt x="24765" y="5397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71" name="Google Shape;271;p14"/>
            <p:cNvSpPr/>
            <p:nvPr/>
          </p:nvSpPr>
          <p:spPr>
            <a:xfrm>
              <a:off x="7842250" y="5800725"/>
              <a:ext cx="209550" cy="80009"/>
            </a:xfrm>
            <a:custGeom>
              <a:avLst/>
              <a:gdLst/>
              <a:ahLst/>
              <a:cxnLst/>
              <a:rect l="l" t="t" r="r" b="b"/>
              <a:pathLst>
                <a:path w="209550" h="80009" extrusionOk="0">
                  <a:moveTo>
                    <a:pt x="32385" y="3810"/>
                  </a:moveTo>
                  <a:lnTo>
                    <a:pt x="6985" y="0"/>
                  </a:lnTo>
                  <a:lnTo>
                    <a:pt x="0" y="50800"/>
                  </a:lnTo>
                  <a:lnTo>
                    <a:pt x="24765" y="53975"/>
                  </a:lnTo>
                  <a:lnTo>
                    <a:pt x="177165" y="76200"/>
                  </a:lnTo>
                  <a:lnTo>
                    <a:pt x="202565" y="80010"/>
                  </a:lnTo>
                  <a:lnTo>
                    <a:pt x="209550" y="29845"/>
                  </a:lnTo>
                  <a:lnTo>
                    <a:pt x="184785" y="2603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72" name="Google Shape;272;p14"/>
            <p:cNvSpPr/>
            <p:nvPr/>
          </p:nvSpPr>
          <p:spPr>
            <a:xfrm>
              <a:off x="8477250" y="6162675"/>
              <a:ext cx="209550" cy="80009"/>
            </a:xfrm>
            <a:custGeom>
              <a:avLst/>
              <a:gdLst/>
              <a:ahLst/>
              <a:cxnLst/>
              <a:rect l="l" t="t" r="r" b="b"/>
              <a:pathLst>
                <a:path w="209550" h="80009" extrusionOk="0">
                  <a:moveTo>
                    <a:pt x="177165" y="76200"/>
                  </a:moveTo>
                  <a:lnTo>
                    <a:pt x="202565" y="80010"/>
                  </a:lnTo>
                  <a:lnTo>
                    <a:pt x="209550" y="29845"/>
                  </a:lnTo>
                  <a:lnTo>
                    <a:pt x="184785" y="26035"/>
                  </a:lnTo>
                  <a:lnTo>
                    <a:pt x="32385" y="3810"/>
                  </a:lnTo>
                  <a:lnTo>
                    <a:pt x="6985" y="0"/>
                  </a:lnTo>
                  <a:lnTo>
                    <a:pt x="0" y="50800"/>
                  </a:lnTo>
                  <a:lnTo>
                    <a:pt x="24765" y="5397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73" name="Google Shape;273;p14"/>
            <p:cNvSpPr/>
            <p:nvPr/>
          </p:nvSpPr>
          <p:spPr>
            <a:xfrm>
              <a:off x="9112250" y="6524625"/>
              <a:ext cx="209550" cy="80009"/>
            </a:xfrm>
            <a:custGeom>
              <a:avLst/>
              <a:gdLst/>
              <a:ahLst/>
              <a:cxnLst/>
              <a:rect l="l" t="t" r="r" b="b"/>
              <a:pathLst>
                <a:path w="209550" h="80009" extrusionOk="0">
                  <a:moveTo>
                    <a:pt x="32385" y="3810"/>
                  </a:moveTo>
                  <a:lnTo>
                    <a:pt x="6985" y="0"/>
                  </a:lnTo>
                  <a:lnTo>
                    <a:pt x="0" y="50800"/>
                  </a:lnTo>
                  <a:lnTo>
                    <a:pt x="24765" y="53975"/>
                  </a:lnTo>
                  <a:lnTo>
                    <a:pt x="177165" y="76200"/>
                  </a:lnTo>
                  <a:lnTo>
                    <a:pt x="202565" y="80010"/>
                  </a:lnTo>
                  <a:lnTo>
                    <a:pt x="209550" y="29845"/>
                  </a:lnTo>
                  <a:lnTo>
                    <a:pt x="184785" y="2603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74" name="Google Shape;274;p14"/>
            <p:cNvSpPr/>
            <p:nvPr/>
          </p:nvSpPr>
          <p:spPr>
            <a:xfrm>
              <a:off x="164464" y="1076960"/>
              <a:ext cx="217169" cy="117475"/>
            </a:xfrm>
            <a:custGeom>
              <a:avLst/>
              <a:gdLst/>
              <a:ahLst/>
              <a:cxnLst/>
              <a:rect l="l" t="t" r="r" b="b"/>
              <a:pathLst>
                <a:path w="217169" h="117475" extrusionOk="0">
                  <a:moveTo>
                    <a:pt x="40640" y="8255"/>
                  </a:moveTo>
                  <a:lnTo>
                    <a:pt x="16510" y="0"/>
                  </a:lnTo>
                  <a:lnTo>
                    <a:pt x="0" y="47625"/>
                  </a:lnTo>
                  <a:lnTo>
                    <a:pt x="24130" y="55880"/>
                  </a:lnTo>
                  <a:lnTo>
                    <a:pt x="176530" y="109220"/>
                  </a:lnTo>
                  <a:lnTo>
                    <a:pt x="200025" y="117475"/>
                  </a:lnTo>
                  <a:lnTo>
                    <a:pt x="217170" y="69215"/>
                  </a:lnTo>
                  <a:lnTo>
                    <a:pt x="193040" y="6096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75" name="Google Shape;275;p14"/>
            <p:cNvSpPr/>
            <p:nvPr/>
          </p:nvSpPr>
          <p:spPr>
            <a:xfrm>
              <a:off x="799465" y="1438910"/>
              <a:ext cx="217170" cy="117475"/>
            </a:xfrm>
            <a:custGeom>
              <a:avLst/>
              <a:gdLst/>
              <a:ahLst/>
              <a:cxnLst/>
              <a:rect l="l" t="t" r="r" b="b"/>
              <a:pathLst>
                <a:path w="217170" h="117475" extrusionOk="0">
                  <a:moveTo>
                    <a:pt x="40640" y="8255"/>
                  </a:moveTo>
                  <a:lnTo>
                    <a:pt x="16510" y="0"/>
                  </a:lnTo>
                  <a:lnTo>
                    <a:pt x="0" y="47625"/>
                  </a:lnTo>
                  <a:lnTo>
                    <a:pt x="24130" y="55880"/>
                  </a:lnTo>
                  <a:lnTo>
                    <a:pt x="176530" y="109220"/>
                  </a:lnTo>
                  <a:lnTo>
                    <a:pt x="200025" y="117475"/>
                  </a:lnTo>
                  <a:lnTo>
                    <a:pt x="217170" y="69215"/>
                  </a:lnTo>
                  <a:lnTo>
                    <a:pt x="193040" y="6096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76" name="Google Shape;276;p14"/>
            <p:cNvSpPr/>
            <p:nvPr/>
          </p:nvSpPr>
          <p:spPr>
            <a:xfrm>
              <a:off x="1434464" y="1800860"/>
              <a:ext cx="217170" cy="117475"/>
            </a:xfrm>
            <a:custGeom>
              <a:avLst/>
              <a:gdLst/>
              <a:ahLst/>
              <a:cxnLst/>
              <a:rect l="l" t="t" r="r" b="b"/>
              <a:pathLst>
                <a:path w="217170" h="117475" extrusionOk="0">
                  <a:moveTo>
                    <a:pt x="40640" y="8255"/>
                  </a:moveTo>
                  <a:lnTo>
                    <a:pt x="16510" y="0"/>
                  </a:lnTo>
                  <a:lnTo>
                    <a:pt x="0" y="47625"/>
                  </a:lnTo>
                  <a:lnTo>
                    <a:pt x="24130" y="55880"/>
                  </a:lnTo>
                  <a:lnTo>
                    <a:pt x="176530" y="109220"/>
                  </a:lnTo>
                  <a:lnTo>
                    <a:pt x="200025" y="117475"/>
                  </a:lnTo>
                  <a:lnTo>
                    <a:pt x="217170" y="69215"/>
                  </a:lnTo>
                  <a:lnTo>
                    <a:pt x="193040" y="6096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77" name="Google Shape;277;p14"/>
            <p:cNvSpPr/>
            <p:nvPr/>
          </p:nvSpPr>
          <p:spPr>
            <a:xfrm>
              <a:off x="2069464" y="2162810"/>
              <a:ext cx="217170" cy="117475"/>
            </a:xfrm>
            <a:custGeom>
              <a:avLst/>
              <a:gdLst/>
              <a:ahLst/>
              <a:cxnLst/>
              <a:rect l="l" t="t" r="r" b="b"/>
              <a:pathLst>
                <a:path w="217170" h="117475" extrusionOk="0">
                  <a:moveTo>
                    <a:pt x="176530" y="109220"/>
                  </a:moveTo>
                  <a:lnTo>
                    <a:pt x="200025" y="117475"/>
                  </a:lnTo>
                  <a:lnTo>
                    <a:pt x="217170" y="69215"/>
                  </a:lnTo>
                  <a:lnTo>
                    <a:pt x="193040" y="60960"/>
                  </a:lnTo>
                  <a:lnTo>
                    <a:pt x="40640" y="8255"/>
                  </a:lnTo>
                  <a:lnTo>
                    <a:pt x="16510" y="0"/>
                  </a:lnTo>
                  <a:lnTo>
                    <a:pt x="0" y="47625"/>
                  </a:lnTo>
                  <a:lnTo>
                    <a:pt x="24130" y="558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78" name="Google Shape;278;p14"/>
            <p:cNvSpPr/>
            <p:nvPr/>
          </p:nvSpPr>
          <p:spPr>
            <a:xfrm>
              <a:off x="2704464" y="2524760"/>
              <a:ext cx="217170" cy="117475"/>
            </a:xfrm>
            <a:custGeom>
              <a:avLst/>
              <a:gdLst/>
              <a:ahLst/>
              <a:cxnLst/>
              <a:rect l="l" t="t" r="r" b="b"/>
              <a:pathLst>
                <a:path w="217170" h="117475" extrusionOk="0">
                  <a:moveTo>
                    <a:pt x="176530" y="109220"/>
                  </a:moveTo>
                  <a:lnTo>
                    <a:pt x="200025" y="117475"/>
                  </a:lnTo>
                  <a:lnTo>
                    <a:pt x="217170" y="69215"/>
                  </a:lnTo>
                  <a:lnTo>
                    <a:pt x="193040" y="60960"/>
                  </a:lnTo>
                  <a:lnTo>
                    <a:pt x="40640" y="8255"/>
                  </a:lnTo>
                  <a:lnTo>
                    <a:pt x="16510" y="0"/>
                  </a:lnTo>
                  <a:lnTo>
                    <a:pt x="0" y="47625"/>
                  </a:lnTo>
                  <a:lnTo>
                    <a:pt x="24130" y="558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79" name="Google Shape;279;p14"/>
            <p:cNvSpPr/>
            <p:nvPr/>
          </p:nvSpPr>
          <p:spPr>
            <a:xfrm>
              <a:off x="3339465" y="2886710"/>
              <a:ext cx="217169" cy="117475"/>
            </a:xfrm>
            <a:custGeom>
              <a:avLst/>
              <a:gdLst/>
              <a:ahLst/>
              <a:cxnLst/>
              <a:rect l="l" t="t" r="r" b="b"/>
              <a:pathLst>
                <a:path w="217169" h="117475" extrusionOk="0">
                  <a:moveTo>
                    <a:pt x="176530" y="109220"/>
                  </a:moveTo>
                  <a:lnTo>
                    <a:pt x="200025" y="117475"/>
                  </a:lnTo>
                  <a:lnTo>
                    <a:pt x="217170" y="69215"/>
                  </a:lnTo>
                  <a:lnTo>
                    <a:pt x="193040" y="60960"/>
                  </a:lnTo>
                  <a:lnTo>
                    <a:pt x="40640" y="8255"/>
                  </a:lnTo>
                  <a:lnTo>
                    <a:pt x="16510" y="0"/>
                  </a:lnTo>
                  <a:lnTo>
                    <a:pt x="0" y="47625"/>
                  </a:lnTo>
                  <a:lnTo>
                    <a:pt x="24130" y="558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80" name="Google Shape;280;p14"/>
            <p:cNvSpPr/>
            <p:nvPr/>
          </p:nvSpPr>
          <p:spPr>
            <a:xfrm>
              <a:off x="3974465" y="3248660"/>
              <a:ext cx="217169" cy="117474"/>
            </a:xfrm>
            <a:custGeom>
              <a:avLst/>
              <a:gdLst/>
              <a:ahLst/>
              <a:cxnLst/>
              <a:rect l="l" t="t" r="r" b="b"/>
              <a:pathLst>
                <a:path w="217169" h="117474" extrusionOk="0">
                  <a:moveTo>
                    <a:pt x="176530" y="109220"/>
                  </a:moveTo>
                  <a:lnTo>
                    <a:pt x="200025" y="117475"/>
                  </a:lnTo>
                  <a:lnTo>
                    <a:pt x="217170" y="69215"/>
                  </a:lnTo>
                  <a:lnTo>
                    <a:pt x="193040" y="60960"/>
                  </a:lnTo>
                  <a:lnTo>
                    <a:pt x="40640" y="8255"/>
                  </a:lnTo>
                  <a:lnTo>
                    <a:pt x="16510" y="0"/>
                  </a:lnTo>
                  <a:lnTo>
                    <a:pt x="0" y="47625"/>
                  </a:lnTo>
                  <a:lnTo>
                    <a:pt x="24130" y="558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81" name="Google Shape;281;p14"/>
            <p:cNvSpPr/>
            <p:nvPr/>
          </p:nvSpPr>
          <p:spPr>
            <a:xfrm>
              <a:off x="4609465" y="3610609"/>
              <a:ext cx="217169" cy="117475"/>
            </a:xfrm>
            <a:custGeom>
              <a:avLst/>
              <a:gdLst/>
              <a:ahLst/>
              <a:cxnLst/>
              <a:rect l="l" t="t" r="r" b="b"/>
              <a:pathLst>
                <a:path w="217169" h="117475" extrusionOk="0">
                  <a:moveTo>
                    <a:pt x="200025" y="117475"/>
                  </a:moveTo>
                  <a:lnTo>
                    <a:pt x="217170" y="69215"/>
                  </a:lnTo>
                  <a:lnTo>
                    <a:pt x="193040" y="60960"/>
                  </a:lnTo>
                  <a:lnTo>
                    <a:pt x="40640" y="8255"/>
                  </a:lnTo>
                  <a:lnTo>
                    <a:pt x="16510" y="0"/>
                  </a:lnTo>
                  <a:lnTo>
                    <a:pt x="0" y="47625"/>
                  </a:lnTo>
                  <a:lnTo>
                    <a:pt x="24130" y="55880"/>
                  </a:lnTo>
                  <a:lnTo>
                    <a:pt x="176530" y="10922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82" name="Google Shape;282;p14"/>
            <p:cNvSpPr/>
            <p:nvPr/>
          </p:nvSpPr>
          <p:spPr>
            <a:xfrm>
              <a:off x="5244465" y="3972559"/>
              <a:ext cx="217169" cy="117475"/>
            </a:xfrm>
            <a:custGeom>
              <a:avLst/>
              <a:gdLst/>
              <a:ahLst/>
              <a:cxnLst/>
              <a:rect l="l" t="t" r="r" b="b"/>
              <a:pathLst>
                <a:path w="217169" h="117475" extrusionOk="0">
                  <a:moveTo>
                    <a:pt x="176530" y="109220"/>
                  </a:moveTo>
                  <a:lnTo>
                    <a:pt x="200025" y="117475"/>
                  </a:lnTo>
                  <a:lnTo>
                    <a:pt x="217170" y="69215"/>
                  </a:lnTo>
                  <a:lnTo>
                    <a:pt x="193040" y="60960"/>
                  </a:lnTo>
                  <a:lnTo>
                    <a:pt x="40640" y="8255"/>
                  </a:lnTo>
                  <a:lnTo>
                    <a:pt x="16510" y="0"/>
                  </a:lnTo>
                  <a:lnTo>
                    <a:pt x="0" y="47625"/>
                  </a:lnTo>
                  <a:lnTo>
                    <a:pt x="24130" y="558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83" name="Google Shape;283;p14"/>
            <p:cNvSpPr/>
            <p:nvPr/>
          </p:nvSpPr>
          <p:spPr>
            <a:xfrm>
              <a:off x="5879465" y="4334509"/>
              <a:ext cx="217169" cy="117475"/>
            </a:xfrm>
            <a:custGeom>
              <a:avLst/>
              <a:gdLst/>
              <a:ahLst/>
              <a:cxnLst/>
              <a:rect l="l" t="t" r="r" b="b"/>
              <a:pathLst>
                <a:path w="217169" h="117475" extrusionOk="0">
                  <a:moveTo>
                    <a:pt x="176530" y="109220"/>
                  </a:moveTo>
                  <a:lnTo>
                    <a:pt x="200025" y="117475"/>
                  </a:lnTo>
                  <a:lnTo>
                    <a:pt x="217170" y="69215"/>
                  </a:lnTo>
                  <a:lnTo>
                    <a:pt x="193040" y="60960"/>
                  </a:lnTo>
                  <a:lnTo>
                    <a:pt x="40640" y="8255"/>
                  </a:lnTo>
                  <a:lnTo>
                    <a:pt x="16510" y="0"/>
                  </a:lnTo>
                  <a:lnTo>
                    <a:pt x="0" y="47625"/>
                  </a:lnTo>
                  <a:lnTo>
                    <a:pt x="24130" y="558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84" name="Google Shape;284;p14"/>
            <p:cNvSpPr/>
            <p:nvPr/>
          </p:nvSpPr>
          <p:spPr>
            <a:xfrm>
              <a:off x="6514465" y="4696459"/>
              <a:ext cx="217169" cy="117475"/>
            </a:xfrm>
            <a:custGeom>
              <a:avLst/>
              <a:gdLst/>
              <a:ahLst/>
              <a:cxnLst/>
              <a:rect l="l" t="t" r="r" b="b"/>
              <a:pathLst>
                <a:path w="217169" h="117475" extrusionOk="0">
                  <a:moveTo>
                    <a:pt x="176530" y="109220"/>
                  </a:moveTo>
                  <a:lnTo>
                    <a:pt x="200025" y="117475"/>
                  </a:lnTo>
                  <a:lnTo>
                    <a:pt x="217170" y="69215"/>
                  </a:lnTo>
                  <a:lnTo>
                    <a:pt x="193040" y="60960"/>
                  </a:lnTo>
                  <a:lnTo>
                    <a:pt x="40640" y="8255"/>
                  </a:lnTo>
                  <a:lnTo>
                    <a:pt x="16510" y="0"/>
                  </a:lnTo>
                  <a:lnTo>
                    <a:pt x="0" y="47625"/>
                  </a:lnTo>
                  <a:lnTo>
                    <a:pt x="24130" y="558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85" name="Google Shape;285;p14"/>
            <p:cNvSpPr/>
            <p:nvPr/>
          </p:nvSpPr>
          <p:spPr>
            <a:xfrm>
              <a:off x="7149465" y="5058409"/>
              <a:ext cx="217169" cy="117475"/>
            </a:xfrm>
            <a:custGeom>
              <a:avLst/>
              <a:gdLst/>
              <a:ahLst/>
              <a:cxnLst/>
              <a:rect l="l" t="t" r="r" b="b"/>
              <a:pathLst>
                <a:path w="217169" h="117475" extrusionOk="0">
                  <a:moveTo>
                    <a:pt x="16510" y="0"/>
                  </a:moveTo>
                  <a:lnTo>
                    <a:pt x="0" y="47625"/>
                  </a:lnTo>
                  <a:lnTo>
                    <a:pt x="24130" y="55880"/>
                  </a:lnTo>
                  <a:lnTo>
                    <a:pt x="176530" y="109220"/>
                  </a:lnTo>
                  <a:lnTo>
                    <a:pt x="200025" y="117475"/>
                  </a:lnTo>
                  <a:lnTo>
                    <a:pt x="217170" y="69215"/>
                  </a:lnTo>
                  <a:lnTo>
                    <a:pt x="193040" y="60960"/>
                  </a:lnTo>
                  <a:lnTo>
                    <a:pt x="40640" y="825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86" name="Google Shape;286;p14"/>
            <p:cNvSpPr/>
            <p:nvPr/>
          </p:nvSpPr>
          <p:spPr>
            <a:xfrm>
              <a:off x="7784465" y="5420359"/>
              <a:ext cx="217169" cy="117475"/>
            </a:xfrm>
            <a:custGeom>
              <a:avLst/>
              <a:gdLst/>
              <a:ahLst/>
              <a:cxnLst/>
              <a:rect l="l" t="t" r="r" b="b"/>
              <a:pathLst>
                <a:path w="217169" h="117475" extrusionOk="0">
                  <a:moveTo>
                    <a:pt x="200025" y="117475"/>
                  </a:moveTo>
                  <a:lnTo>
                    <a:pt x="217170" y="69215"/>
                  </a:lnTo>
                  <a:lnTo>
                    <a:pt x="193040" y="60960"/>
                  </a:lnTo>
                  <a:lnTo>
                    <a:pt x="40640" y="8255"/>
                  </a:lnTo>
                  <a:lnTo>
                    <a:pt x="16510" y="0"/>
                  </a:lnTo>
                  <a:lnTo>
                    <a:pt x="0" y="47625"/>
                  </a:lnTo>
                  <a:lnTo>
                    <a:pt x="24130" y="55880"/>
                  </a:lnTo>
                  <a:lnTo>
                    <a:pt x="176530" y="10922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87" name="Google Shape;287;p14"/>
            <p:cNvSpPr/>
            <p:nvPr/>
          </p:nvSpPr>
          <p:spPr>
            <a:xfrm>
              <a:off x="8419465" y="5782309"/>
              <a:ext cx="217169" cy="117475"/>
            </a:xfrm>
            <a:custGeom>
              <a:avLst/>
              <a:gdLst/>
              <a:ahLst/>
              <a:cxnLst/>
              <a:rect l="l" t="t" r="r" b="b"/>
              <a:pathLst>
                <a:path w="217169" h="117475" extrusionOk="0">
                  <a:moveTo>
                    <a:pt x="200025" y="117475"/>
                  </a:moveTo>
                  <a:lnTo>
                    <a:pt x="217170" y="69215"/>
                  </a:lnTo>
                  <a:lnTo>
                    <a:pt x="193040" y="60960"/>
                  </a:lnTo>
                  <a:lnTo>
                    <a:pt x="40640" y="8255"/>
                  </a:lnTo>
                  <a:lnTo>
                    <a:pt x="16510" y="0"/>
                  </a:lnTo>
                  <a:lnTo>
                    <a:pt x="0" y="47625"/>
                  </a:lnTo>
                  <a:lnTo>
                    <a:pt x="24130" y="55880"/>
                  </a:lnTo>
                  <a:lnTo>
                    <a:pt x="176530" y="10922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88" name="Google Shape;288;p14"/>
            <p:cNvSpPr/>
            <p:nvPr/>
          </p:nvSpPr>
          <p:spPr>
            <a:xfrm>
              <a:off x="9054465" y="6144259"/>
              <a:ext cx="217169" cy="117475"/>
            </a:xfrm>
            <a:custGeom>
              <a:avLst/>
              <a:gdLst/>
              <a:ahLst/>
              <a:cxnLst/>
              <a:rect l="l" t="t" r="r" b="b"/>
              <a:pathLst>
                <a:path w="217169" h="117475" extrusionOk="0">
                  <a:moveTo>
                    <a:pt x="200025" y="117475"/>
                  </a:moveTo>
                  <a:lnTo>
                    <a:pt x="217170" y="69215"/>
                  </a:lnTo>
                  <a:lnTo>
                    <a:pt x="193040" y="60960"/>
                  </a:lnTo>
                  <a:lnTo>
                    <a:pt x="40640" y="8255"/>
                  </a:lnTo>
                  <a:lnTo>
                    <a:pt x="16510" y="0"/>
                  </a:lnTo>
                  <a:lnTo>
                    <a:pt x="0" y="47625"/>
                  </a:lnTo>
                  <a:lnTo>
                    <a:pt x="24130" y="55880"/>
                  </a:lnTo>
                  <a:lnTo>
                    <a:pt x="176530" y="10922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89" name="Google Shape;289;p14"/>
            <p:cNvSpPr/>
            <p:nvPr/>
          </p:nvSpPr>
          <p:spPr>
            <a:xfrm>
              <a:off x="9689465" y="6506209"/>
              <a:ext cx="217169" cy="117475"/>
            </a:xfrm>
            <a:custGeom>
              <a:avLst/>
              <a:gdLst/>
              <a:ahLst/>
              <a:cxnLst/>
              <a:rect l="l" t="t" r="r" b="b"/>
              <a:pathLst>
                <a:path w="217169" h="117475" extrusionOk="0">
                  <a:moveTo>
                    <a:pt x="40640" y="8255"/>
                  </a:moveTo>
                  <a:lnTo>
                    <a:pt x="16510" y="0"/>
                  </a:lnTo>
                  <a:lnTo>
                    <a:pt x="0" y="47625"/>
                  </a:lnTo>
                  <a:lnTo>
                    <a:pt x="24130" y="55880"/>
                  </a:lnTo>
                  <a:lnTo>
                    <a:pt x="176530" y="109220"/>
                  </a:lnTo>
                  <a:lnTo>
                    <a:pt x="200025" y="117475"/>
                  </a:lnTo>
                  <a:lnTo>
                    <a:pt x="217170" y="69215"/>
                  </a:lnTo>
                  <a:lnTo>
                    <a:pt x="193040" y="6096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90" name="Google Shape;290;p14"/>
            <p:cNvSpPr/>
            <p:nvPr/>
          </p:nvSpPr>
          <p:spPr>
            <a:xfrm>
              <a:off x="65405" y="698500"/>
              <a:ext cx="220979" cy="149860"/>
            </a:xfrm>
            <a:custGeom>
              <a:avLst/>
              <a:gdLst/>
              <a:ahLst/>
              <a:cxnLst/>
              <a:rect l="l" t="t" r="r" b="b"/>
              <a:pathLst>
                <a:path w="220979" h="149860" extrusionOk="0">
                  <a:moveTo>
                    <a:pt x="46355" y="12065"/>
                  </a:moveTo>
                  <a:lnTo>
                    <a:pt x="23495" y="0"/>
                  </a:lnTo>
                  <a:lnTo>
                    <a:pt x="0" y="44450"/>
                  </a:lnTo>
                  <a:lnTo>
                    <a:pt x="22225" y="56515"/>
                  </a:lnTo>
                  <a:lnTo>
                    <a:pt x="174625" y="138430"/>
                  </a:lnTo>
                  <a:lnTo>
                    <a:pt x="196850" y="149860"/>
                  </a:lnTo>
                  <a:lnTo>
                    <a:pt x="220980" y="105410"/>
                  </a:lnTo>
                  <a:lnTo>
                    <a:pt x="198755" y="9334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91" name="Google Shape;291;p14"/>
            <p:cNvSpPr/>
            <p:nvPr/>
          </p:nvSpPr>
          <p:spPr>
            <a:xfrm>
              <a:off x="700405" y="1060450"/>
              <a:ext cx="220980" cy="149860"/>
            </a:xfrm>
            <a:custGeom>
              <a:avLst/>
              <a:gdLst/>
              <a:ahLst/>
              <a:cxnLst/>
              <a:rect l="l" t="t" r="r" b="b"/>
              <a:pathLst>
                <a:path w="220980" h="149860" extrusionOk="0">
                  <a:moveTo>
                    <a:pt x="46355" y="12065"/>
                  </a:moveTo>
                  <a:lnTo>
                    <a:pt x="23495" y="0"/>
                  </a:lnTo>
                  <a:lnTo>
                    <a:pt x="0" y="44450"/>
                  </a:lnTo>
                  <a:lnTo>
                    <a:pt x="22225" y="56515"/>
                  </a:lnTo>
                  <a:lnTo>
                    <a:pt x="174625" y="138430"/>
                  </a:lnTo>
                  <a:lnTo>
                    <a:pt x="196850" y="149860"/>
                  </a:lnTo>
                  <a:lnTo>
                    <a:pt x="220980" y="105410"/>
                  </a:lnTo>
                  <a:lnTo>
                    <a:pt x="198755" y="9334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92" name="Google Shape;292;p14"/>
            <p:cNvSpPr/>
            <p:nvPr/>
          </p:nvSpPr>
          <p:spPr>
            <a:xfrm>
              <a:off x="1335405" y="1422400"/>
              <a:ext cx="220980" cy="149860"/>
            </a:xfrm>
            <a:custGeom>
              <a:avLst/>
              <a:gdLst/>
              <a:ahLst/>
              <a:cxnLst/>
              <a:rect l="l" t="t" r="r" b="b"/>
              <a:pathLst>
                <a:path w="220980" h="149860" extrusionOk="0">
                  <a:moveTo>
                    <a:pt x="23495" y="0"/>
                  </a:moveTo>
                  <a:lnTo>
                    <a:pt x="0" y="44450"/>
                  </a:lnTo>
                  <a:lnTo>
                    <a:pt x="22225" y="56515"/>
                  </a:lnTo>
                  <a:lnTo>
                    <a:pt x="174625" y="138430"/>
                  </a:lnTo>
                  <a:lnTo>
                    <a:pt x="196850" y="149860"/>
                  </a:lnTo>
                  <a:lnTo>
                    <a:pt x="220980" y="105410"/>
                  </a:lnTo>
                  <a:lnTo>
                    <a:pt x="198755" y="93345"/>
                  </a:lnTo>
                  <a:lnTo>
                    <a:pt x="46355" y="1206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93" name="Google Shape;293;p14"/>
            <p:cNvSpPr/>
            <p:nvPr/>
          </p:nvSpPr>
          <p:spPr>
            <a:xfrm>
              <a:off x="1970404" y="1784350"/>
              <a:ext cx="220980" cy="149860"/>
            </a:xfrm>
            <a:custGeom>
              <a:avLst/>
              <a:gdLst/>
              <a:ahLst/>
              <a:cxnLst/>
              <a:rect l="l" t="t" r="r" b="b"/>
              <a:pathLst>
                <a:path w="220980" h="149860" extrusionOk="0">
                  <a:moveTo>
                    <a:pt x="174625" y="138430"/>
                  </a:moveTo>
                  <a:lnTo>
                    <a:pt x="196850" y="149860"/>
                  </a:lnTo>
                  <a:lnTo>
                    <a:pt x="220980" y="105410"/>
                  </a:lnTo>
                  <a:lnTo>
                    <a:pt x="198755" y="93345"/>
                  </a:lnTo>
                  <a:lnTo>
                    <a:pt x="46355" y="12065"/>
                  </a:lnTo>
                  <a:lnTo>
                    <a:pt x="23495" y="0"/>
                  </a:lnTo>
                  <a:lnTo>
                    <a:pt x="0" y="44450"/>
                  </a:lnTo>
                  <a:lnTo>
                    <a:pt x="22225"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94" name="Google Shape;294;p14"/>
            <p:cNvSpPr/>
            <p:nvPr/>
          </p:nvSpPr>
          <p:spPr>
            <a:xfrm>
              <a:off x="2605404" y="2146300"/>
              <a:ext cx="220980" cy="149860"/>
            </a:xfrm>
            <a:custGeom>
              <a:avLst/>
              <a:gdLst/>
              <a:ahLst/>
              <a:cxnLst/>
              <a:rect l="l" t="t" r="r" b="b"/>
              <a:pathLst>
                <a:path w="220980" h="149860" extrusionOk="0">
                  <a:moveTo>
                    <a:pt x="174625" y="138430"/>
                  </a:moveTo>
                  <a:lnTo>
                    <a:pt x="196850" y="149860"/>
                  </a:lnTo>
                  <a:lnTo>
                    <a:pt x="220980" y="105410"/>
                  </a:lnTo>
                  <a:lnTo>
                    <a:pt x="198755" y="93345"/>
                  </a:lnTo>
                  <a:lnTo>
                    <a:pt x="46355" y="12065"/>
                  </a:lnTo>
                  <a:lnTo>
                    <a:pt x="23495" y="0"/>
                  </a:lnTo>
                  <a:lnTo>
                    <a:pt x="0" y="44450"/>
                  </a:lnTo>
                  <a:lnTo>
                    <a:pt x="22225"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95" name="Google Shape;295;p14"/>
            <p:cNvSpPr/>
            <p:nvPr/>
          </p:nvSpPr>
          <p:spPr>
            <a:xfrm>
              <a:off x="3240404" y="2508250"/>
              <a:ext cx="220979" cy="149860"/>
            </a:xfrm>
            <a:custGeom>
              <a:avLst/>
              <a:gdLst/>
              <a:ahLst/>
              <a:cxnLst/>
              <a:rect l="l" t="t" r="r" b="b"/>
              <a:pathLst>
                <a:path w="220979" h="149860" extrusionOk="0">
                  <a:moveTo>
                    <a:pt x="174625" y="138430"/>
                  </a:moveTo>
                  <a:lnTo>
                    <a:pt x="196850" y="149860"/>
                  </a:lnTo>
                  <a:lnTo>
                    <a:pt x="220980" y="105410"/>
                  </a:lnTo>
                  <a:lnTo>
                    <a:pt x="198755" y="93345"/>
                  </a:lnTo>
                  <a:lnTo>
                    <a:pt x="46355" y="12065"/>
                  </a:lnTo>
                  <a:lnTo>
                    <a:pt x="23495" y="0"/>
                  </a:lnTo>
                  <a:lnTo>
                    <a:pt x="0" y="44450"/>
                  </a:lnTo>
                  <a:lnTo>
                    <a:pt x="22225"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96" name="Google Shape;296;p14"/>
            <p:cNvSpPr/>
            <p:nvPr/>
          </p:nvSpPr>
          <p:spPr>
            <a:xfrm>
              <a:off x="3875404" y="2870200"/>
              <a:ext cx="220979" cy="149860"/>
            </a:xfrm>
            <a:custGeom>
              <a:avLst/>
              <a:gdLst/>
              <a:ahLst/>
              <a:cxnLst/>
              <a:rect l="l" t="t" r="r" b="b"/>
              <a:pathLst>
                <a:path w="220979" h="149860" extrusionOk="0">
                  <a:moveTo>
                    <a:pt x="196850" y="149860"/>
                  </a:moveTo>
                  <a:lnTo>
                    <a:pt x="220980" y="105410"/>
                  </a:lnTo>
                  <a:lnTo>
                    <a:pt x="198755" y="93345"/>
                  </a:lnTo>
                  <a:lnTo>
                    <a:pt x="46355" y="12065"/>
                  </a:lnTo>
                  <a:lnTo>
                    <a:pt x="23495" y="0"/>
                  </a:lnTo>
                  <a:lnTo>
                    <a:pt x="0" y="44450"/>
                  </a:lnTo>
                  <a:lnTo>
                    <a:pt x="22225" y="56515"/>
                  </a:lnTo>
                  <a:lnTo>
                    <a:pt x="174625" y="13843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97" name="Google Shape;297;p14"/>
            <p:cNvSpPr/>
            <p:nvPr/>
          </p:nvSpPr>
          <p:spPr>
            <a:xfrm>
              <a:off x="4510404" y="3232150"/>
              <a:ext cx="220979" cy="149859"/>
            </a:xfrm>
            <a:custGeom>
              <a:avLst/>
              <a:gdLst/>
              <a:ahLst/>
              <a:cxnLst/>
              <a:rect l="l" t="t" r="r" b="b"/>
              <a:pathLst>
                <a:path w="220979" h="149859" extrusionOk="0">
                  <a:moveTo>
                    <a:pt x="174625" y="138430"/>
                  </a:moveTo>
                  <a:lnTo>
                    <a:pt x="196850" y="149860"/>
                  </a:lnTo>
                  <a:lnTo>
                    <a:pt x="220980" y="105410"/>
                  </a:lnTo>
                  <a:lnTo>
                    <a:pt x="198755" y="93345"/>
                  </a:lnTo>
                  <a:lnTo>
                    <a:pt x="46355" y="12065"/>
                  </a:lnTo>
                  <a:lnTo>
                    <a:pt x="23495" y="0"/>
                  </a:lnTo>
                  <a:lnTo>
                    <a:pt x="0" y="44450"/>
                  </a:lnTo>
                  <a:lnTo>
                    <a:pt x="22225"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98" name="Google Shape;298;p14"/>
            <p:cNvSpPr/>
            <p:nvPr/>
          </p:nvSpPr>
          <p:spPr>
            <a:xfrm>
              <a:off x="5145404" y="3594100"/>
              <a:ext cx="220979" cy="149859"/>
            </a:xfrm>
            <a:custGeom>
              <a:avLst/>
              <a:gdLst/>
              <a:ahLst/>
              <a:cxnLst/>
              <a:rect l="l" t="t" r="r" b="b"/>
              <a:pathLst>
                <a:path w="220979" h="149859" extrusionOk="0">
                  <a:moveTo>
                    <a:pt x="174625" y="138430"/>
                  </a:moveTo>
                  <a:lnTo>
                    <a:pt x="196850" y="149860"/>
                  </a:lnTo>
                  <a:lnTo>
                    <a:pt x="220980" y="105410"/>
                  </a:lnTo>
                  <a:lnTo>
                    <a:pt x="198755" y="93345"/>
                  </a:lnTo>
                  <a:lnTo>
                    <a:pt x="46355" y="12065"/>
                  </a:lnTo>
                  <a:lnTo>
                    <a:pt x="23495" y="0"/>
                  </a:lnTo>
                  <a:lnTo>
                    <a:pt x="0" y="44450"/>
                  </a:lnTo>
                  <a:lnTo>
                    <a:pt x="22225"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99" name="Google Shape;299;p14"/>
            <p:cNvSpPr/>
            <p:nvPr/>
          </p:nvSpPr>
          <p:spPr>
            <a:xfrm>
              <a:off x="5780404" y="3956050"/>
              <a:ext cx="220979" cy="149859"/>
            </a:xfrm>
            <a:custGeom>
              <a:avLst/>
              <a:gdLst/>
              <a:ahLst/>
              <a:cxnLst/>
              <a:rect l="l" t="t" r="r" b="b"/>
              <a:pathLst>
                <a:path w="220979" h="149859" extrusionOk="0">
                  <a:moveTo>
                    <a:pt x="174625" y="138430"/>
                  </a:moveTo>
                  <a:lnTo>
                    <a:pt x="196850" y="149860"/>
                  </a:lnTo>
                  <a:lnTo>
                    <a:pt x="220980" y="105410"/>
                  </a:lnTo>
                  <a:lnTo>
                    <a:pt x="198755" y="93345"/>
                  </a:lnTo>
                  <a:lnTo>
                    <a:pt x="46355" y="12065"/>
                  </a:lnTo>
                  <a:lnTo>
                    <a:pt x="23495" y="0"/>
                  </a:lnTo>
                  <a:lnTo>
                    <a:pt x="0" y="44450"/>
                  </a:lnTo>
                  <a:lnTo>
                    <a:pt x="22225"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300" name="Google Shape;300;p14"/>
            <p:cNvSpPr/>
            <p:nvPr/>
          </p:nvSpPr>
          <p:spPr>
            <a:xfrm>
              <a:off x="6415404" y="4318000"/>
              <a:ext cx="220979" cy="149859"/>
            </a:xfrm>
            <a:custGeom>
              <a:avLst/>
              <a:gdLst/>
              <a:ahLst/>
              <a:cxnLst/>
              <a:rect l="l" t="t" r="r" b="b"/>
              <a:pathLst>
                <a:path w="220979" h="149859" extrusionOk="0">
                  <a:moveTo>
                    <a:pt x="23495" y="0"/>
                  </a:moveTo>
                  <a:lnTo>
                    <a:pt x="0" y="44450"/>
                  </a:lnTo>
                  <a:lnTo>
                    <a:pt x="22225" y="56515"/>
                  </a:lnTo>
                  <a:lnTo>
                    <a:pt x="174625" y="138430"/>
                  </a:lnTo>
                  <a:lnTo>
                    <a:pt x="196850" y="149860"/>
                  </a:lnTo>
                  <a:lnTo>
                    <a:pt x="220980" y="105410"/>
                  </a:lnTo>
                  <a:lnTo>
                    <a:pt x="198755" y="93345"/>
                  </a:lnTo>
                  <a:lnTo>
                    <a:pt x="46355" y="1206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301" name="Google Shape;301;p14"/>
            <p:cNvSpPr/>
            <p:nvPr/>
          </p:nvSpPr>
          <p:spPr>
            <a:xfrm>
              <a:off x="7050405" y="4679950"/>
              <a:ext cx="220979" cy="149859"/>
            </a:xfrm>
            <a:custGeom>
              <a:avLst/>
              <a:gdLst/>
              <a:ahLst/>
              <a:cxnLst/>
              <a:rect l="l" t="t" r="r" b="b"/>
              <a:pathLst>
                <a:path w="220979" h="149859" extrusionOk="0">
                  <a:moveTo>
                    <a:pt x="196850" y="149860"/>
                  </a:moveTo>
                  <a:lnTo>
                    <a:pt x="220980" y="105410"/>
                  </a:lnTo>
                  <a:lnTo>
                    <a:pt x="198755" y="93345"/>
                  </a:lnTo>
                  <a:lnTo>
                    <a:pt x="46355" y="12065"/>
                  </a:lnTo>
                  <a:lnTo>
                    <a:pt x="23495" y="0"/>
                  </a:lnTo>
                  <a:lnTo>
                    <a:pt x="0" y="44450"/>
                  </a:lnTo>
                  <a:lnTo>
                    <a:pt x="22225" y="56515"/>
                  </a:lnTo>
                  <a:lnTo>
                    <a:pt x="174625" y="13843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302" name="Google Shape;302;p14"/>
            <p:cNvSpPr/>
            <p:nvPr/>
          </p:nvSpPr>
          <p:spPr>
            <a:xfrm>
              <a:off x="7685405" y="5041900"/>
              <a:ext cx="220979" cy="149859"/>
            </a:xfrm>
            <a:custGeom>
              <a:avLst/>
              <a:gdLst/>
              <a:ahLst/>
              <a:cxnLst/>
              <a:rect l="l" t="t" r="r" b="b"/>
              <a:pathLst>
                <a:path w="220979" h="149859" extrusionOk="0">
                  <a:moveTo>
                    <a:pt x="196850" y="149860"/>
                  </a:moveTo>
                  <a:lnTo>
                    <a:pt x="220980" y="105410"/>
                  </a:lnTo>
                  <a:lnTo>
                    <a:pt x="198755" y="93345"/>
                  </a:lnTo>
                  <a:lnTo>
                    <a:pt x="46355" y="12065"/>
                  </a:lnTo>
                  <a:lnTo>
                    <a:pt x="23495" y="0"/>
                  </a:lnTo>
                  <a:lnTo>
                    <a:pt x="0" y="44450"/>
                  </a:lnTo>
                  <a:lnTo>
                    <a:pt x="22225" y="56515"/>
                  </a:lnTo>
                  <a:lnTo>
                    <a:pt x="174625" y="13843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303" name="Google Shape;303;p14"/>
            <p:cNvSpPr/>
            <p:nvPr/>
          </p:nvSpPr>
          <p:spPr>
            <a:xfrm>
              <a:off x="8320405" y="5403850"/>
              <a:ext cx="220979" cy="149859"/>
            </a:xfrm>
            <a:custGeom>
              <a:avLst/>
              <a:gdLst/>
              <a:ahLst/>
              <a:cxnLst/>
              <a:rect l="l" t="t" r="r" b="b"/>
              <a:pathLst>
                <a:path w="220979" h="149859" extrusionOk="0">
                  <a:moveTo>
                    <a:pt x="196850" y="149860"/>
                  </a:moveTo>
                  <a:lnTo>
                    <a:pt x="220980" y="105410"/>
                  </a:lnTo>
                  <a:lnTo>
                    <a:pt x="198755" y="93345"/>
                  </a:lnTo>
                  <a:lnTo>
                    <a:pt x="46355" y="12065"/>
                  </a:lnTo>
                  <a:lnTo>
                    <a:pt x="23495" y="0"/>
                  </a:lnTo>
                  <a:lnTo>
                    <a:pt x="0" y="44450"/>
                  </a:lnTo>
                  <a:lnTo>
                    <a:pt x="22225" y="56515"/>
                  </a:lnTo>
                  <a:lnTo>
                    <a:pt x="174625" y="13843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304" name="Google Shape;304;p14"/>
            <p:cNvSpPr/>
            <p:nvPr/>
          </p:nvSpPr>
          <p:spPr>
            <a:xfrm>
              <a:off x="8955405" y="5765800"/>
              <a:ext cx="220979" cy="149859"/>
            </a:xfrm>
            <a:custGeom>
              <a:avLst/>
              <a:gdLst/>
              <a:ahLst/>
              <a:cxnLst/>
              <a:rect l="l" t="t" r="r" b="b"/>
              <a:pathLst>
                <a:path w="220979" h="149859" extrusionOk="0">
                  <a:moveTo>
                    <a:pt x="196850" y="149860"/>
                  </a:moveTo>
                  <a:lnTo>
                    <a:pt x="220980" y="105410"/>
                  </a:lnTo>
                  <a:lnTo>
                    <a:pt x="198755" y="93345"/>
                  </a:lnTo>
                  <a:lnTo>
                    <a:pt x="46355" y="12065"/>
                  </a:lnTo>
                  <a:lnTo>
                    <a:pt x="23495" y="0"/>
                  </a:lnTo>
                  <a:lnTo>
                    <a:pt x="0" y="44450"/>
                  </a:lnTo>
                  <a:lnTo>
                    <a:pt x="22225" y="56515"/>
                  </a:lnTo>
                  <a:lnTo>
                    <a:pt x="174625" y="13843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305" name="Google Shape;305;p14"/>
            <p:cNvSpPr/>
            <p:nvPr/>
          </p:nvSpPr>
          <p:spPr>
            <a:xfrm>
              <a:off x="9590405" y="6127750"/>
              <a:ext cx="220979" cy="149859"/>
            </a:xfrm>
            <a:custGeom>
              <a:avLst/>
              <a:gdLst/>
              <a:ahLst/>
              <a:cxnLst/>
              <a:rect l="l" t="t" r="r" b="b"/>
              <a:pathLst>
                <a:path w="220979" h="149859" extrusionOk="0">
                  <a:moveTo>
                    <a:pt x="196850" y="149860"/>
                  </a:moveTo>
                  <a:lnTo>
                    <a:pt x="220980" y="105410"/>
                  </a:lnTo>
                  <a:lnTo>
                    <a:pt x="198755" y="93345"/>
                  </a:lnTo>
                  <a:lnTo>
                    <a:pt x="46355" y="12065"/>
                  </a:lnTo>
                  <a:lnTo>
                    <a:pt x="23495" y="0"/>
                  </a:lnTo>
                  <a:lnTo>
                    <a:pt x="0" y="44450"/>
                  </a:lnTo>
                  <a:lnTo>
                    <a:pt x="22225" y="56515"/>
                  </a:lnTo>
                  <a:lnTo>
                    <a:pt x="174625" y="13843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306" name="Google Shape;306;p14"/>
            <p:cNvSpPr/>
            <p:nvPr/>
          </p:nvSpPr>
          <p:spPr>
            <a:xfrm>
              <a:off x="10225405" y="6489700"/>
              <a:ext cx="220979" cy="149859"/>
            </a:xfrm>
            <a:custGeom>
              <a:avLst/>
              <a:gdLst/>
              <a:ahLst/>
              <a:cxnLst/>
              <a:rect l="l" t="t" r="r" b="b"/>
              <a:pathLst>
                <a:path w="220979" h="149859" extrusionOk="0">
                  <a:moveTo>
                    <a:pt x="46355" y="12065"/>
                  </a:moveTo>
                  <a:lnTo>
                    <a:pt x="23495" y="0"/>
                  </a:lnTo>
                  <a:lnTo>
                    <a:pt x="0" y="44450"/>
                  </a:lnTo>
                  <a:lnTo>
                    <a:pt x="22225" y="56515"/>
                  </a:lnTo>
                  <a:lnTo>
                    <a:pt x="174625" y="138430"/>
                  </a:lnTo>
                  <a:lnTo>
                    <a:pt x="196850" y="149860"/>
                  </a:lnTo>
                  <a:lnTo>
                    <a:pt x="220980" y="105410"/>
                  </a:lnTo>
                  <a:lnTo>
                    <a:pt x="198755" y="9334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307" name="Google Shape;307;p14"/>
            <p:cNvSpPr/>
            <p:nvPr/>
          </p:nvSpPr>
          <p:spPr>
            <a:xfrm>
              <a:off x="10880725" y="6851650"/>
              <a:ext cx="15875" cy="6350"/>
            </a:xfrm>
            <a:custGeom>
              <a:avLst/>
              <a:gdLst/>
              <a:ahLst/>
              <a:cxnLst/>
              <a:rect l="l" t="t" r="r" b="b"/>
              <a:pathLst>
                <a:path w="15875" h="6350" extrusionOk="0">
                  <a:moveTo>
                    <a:pt x="0" y="6350"/>
                  </a:moveTo>
                  <a:lnTo>
                    <a:pt x="15875" y="6350"/>
                  </a:lnTo>
                  <a:lnTo>
                    <a:pt x="317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308" name="Google Shape;308;p14"/>
            <p:cNvSpPr/>
            <p:nvPr/>
          </p:nvSpPr>
          <p:spPr>
            <a:xfrm>
              <a:off x="0" y="352425"/>
              <a:ext cx="151129" cy="147955"/>
            </a:xfrm>
            <a:custGeom>
              <a:avLst/>
              <a:gdLst/>
              <a:ahLst/>
              <a:cxnLst/>
              <a:rect l="l" t="t" r="r" b="b"/>
              <a:pathLst>
                <a:path w="151129" h="147955" extrusionOk="0">
                  <a:moveTo>
                    <a:pt x="100965" y="133350"/>
                  </a:moveTo>
                  <a:lnTo>
                    <a:pt x="121920" y="147955"/>
                  </a:lnTo>
                  <a:lnTo>
                    <a:pt x="151130" y="106680"/>
                  </a:lnTo>
                  <a:lnTo>
                    <a:pt x="130175" y="92075"/>
                  </a:lnTo>
                  <a:lnTo>
                    <a:pt x="0" y="0"/>
                  </a:lnTo>
                  <a:lnTo>
                    <a:pt x="0" y="6223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309" name="Google Shape;309;p14"/>
            <p:cNvSpPr/>
            <p:nvPr/>
          </p:nvSpPr>
          <p:spPr>
            <a:xfrm>
              <a:off x="563244" y="684530"/>
              <a:ext cx="222885" cy="177800"/>
            </a:xfrm>
            <a:custGeom>
              <a:avLst/>
              <a:gdLst/>
              <a:ahLst/>
              <a:cxnLst/>
              <a:rect l="l" t="t" r="r" b="b"/>
              <a:pathLst>
                <a:path w="222885" h="177800" extrusionOk="0">
                  <a:moveTo>
                    <a:pt x="49530" y="14605"/>
                  </a:moveTo>
                  <a:lnTo>
                    <a:pt x="29210" y="0"/>
                  </a:lnTo>
                  <a:lnTo>
                    <a:pt x="0" y="41910"/>
                  </a:lnTo>
                  <a:lnTo>
                    <a:pt x="20320" y="56515"/>
                  </a:lnTo>
                  <a:lnTo>
                    <a:pt x="172720" y="163195"/>
                  </a:lnTo>
                  <a:lnTo>
                    <a:pt x="193675" y="177800"/>
                  </a:lnTo>
                  <a:lnTo>
                    <a:pt x="222885" y="136525"/>
                  </a:lnTo>
                  <a:lnTo>
                    <a:pt x="201930" y="12192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310" name="Google Shape;310;p14"/>
            <p:cNvSpPr/>
            <p:nvPr/>
          </p:nvSpPr>
          <p:spPr>
            <a:xfrm>
              <a:off x="1198244" y="1046480"/>
              <a:ext cx="222885" cy="177800"/>
            </a:xfrm>
            <a:custGeom>
              <a:avLst/>
              <a:gdLst/>
              <a:ahLst/>
              <a:cxnLst/>
              <a:rect l="l" t="t" r="r" b="b"/>
              <a:pathLst>
                <a:path w="222885" h="177800" extrusionOk="0">
                  <a:moveTo>
                    <a:pt x="49530" y="14605"/>
                  </a:moveTo>
                  <a:lnTo>
                    <a:pt x="29210" y="0"/>
                  </a:lnTo>
                  <a:lnTo>
                    <a:pt x="0" y="41910"/>
                  </a:lnTo>
                  <a:lnTo>
                    <a:pt x="20320" y="56515"/>
                  </a:lnTo>
                  <a:lnTo>
                    <a:pt x="172720" y="163195"/>
                  </a:lnTo>
                  <a:lnTo>
                    <a:pt x="193675" y="177800"/>
                  </a:lnTo>
                  <a:lnTo>
                    <a:pt x="222885" y="136525"/>
                  </a:lnTo>
                  <a:lnTo>
                    <a:pt x="201930" y="12192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311" name="Google Shape;311;p14"/>
            <p:cNvSpPr/>
            <p:nvPr/>
          </p:nvSpPr>
          <p:spPr>
            <a:xfrm>
              <a:off x="1833245" y="1408430"/>
              <a:ext cx="222884" cy="177800"/>
            </a:xfrm>
            <a:custGeom>
              <a:avLst/>
              <a:gdLst/>
              <a:ahLst/>
              <a:cxnLst/>
              <a:rect l="l" t="t" r="r" b="b"/>
              <a:pathLst>
                <a:path w="222884" h="177800" extrusionOk="0">
                  <a:moveTo>
                    <a:pt x="193675" y="177800"/>
                  </a:moveTo>
                  <a:lnTo>
                    <a:pt x="222885" y="136525"/>
                  </a:lnTo>
                  <a:lnTo>
                    <a:pt x="201930" y="121920"/>
                  </a:lnTo>
                  <a:lnTo>
                    <a:pt x="49530" y="14605"/>
                  </a:lnTo>
                  <a:lnTo>
                    <a:pt x="29210" y="0"/>
                  </a:lnTo>
                  <a:lnTo>
                    <a:pt x="0" y="41910"/>
                  </a:lnTo>
                  <a:lnTo>
                    <a:pt x="20320" y="56515"/>
                  </a:lnTo>
                  <a:lnTo>
                    <a:pt x="172720" y="16319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312" name="Google Shape;312;p14"/>
            <p:cNvSpPr/>
            <p:nvPr/>
          </p:nvSpPr>
          <p:spPr>
            <a:xfrm>
              <a:off x="2468245" y="1770379"/>
              <a:ext cx="222884" cy="177800"/>
            </a:xfrm>
            <a:custGeom>
              <a:avLst/>
              <a:gdLst/>
              <a:ahLst/>
              <a:cxnLst/>
              <a:rect l="l" t="t" r="r" b="b"/>
              <a:pathLst>
                <a:path w="222884" h="177800" extrusionOk="0">
                  <a:moveTo>
                    <a:pt x="193675" y="177800"/>
                  </a:moveTo>
                  <a:lnTo>
                    <a:pt x="222885" y="136525"/>
                  </a:lnTo>
                  <a:lnTo>
                    <a:pt x="201930" y="121920"/>
                  </a:lnTo>
                  <a:lnTo>
                    <a:pt x="49530" y="14605"/>
                  </a:lnTo>
                  <a:lnTo>
                    <a:pt x="29210" y="0"/>
                  </a:lnTo>
                  <a:lnTo>
                    <a:pt x="0" y="41910"/>
                  </a:lnTo>
                  <a:lnTo>
                    <a:pt x="20320" y="56515"/>
                  </a:lnTo>
                  <a:lnTo>
                    <a:pt x="172720" y="16319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313" name="Google Shape;313;p14"/>
            <p:cNvSpPr/>
            <p:nvPr/>
          </p:nvSpPr>
          <p:spPr>
            <a:xfrm>
              <a:off x="3103245" y="2132329"/>
              <a:ext cx="222884" cy="177800"/>
            </a:xfrm>
            <a:custGeom>
              <a:avLst/>
              <a:gdLst/>
              <a:ahLst/>
              <a:cxnLst/>
              <a:rect l="l" t="t" r="r" b="b"/>
              <a:pathLst>
                <a:path w="222884" h="177800" extrusionOk="0">
                  <a:moveTo>
                    <a:pt x="193675" y="177800"/>
                  </a:moveTo>
                  <a:lnTo>
                    <a:pt x="222885" y="136525"/>
                  </a:lnTo>
                  <a:lnTo>
                    <a:pt x="201930" y="121920"/>
                  </a:lnTo>
                  <a:lnTo>
                    <a:pt x="49530" y="14605"/>
                  </a:lnTo>
                  <a:lnTo>
                    <a:pt x="29210" y="0"/>
                  </a:lnTo>
                  <a:lnTo>
                    <a:pt x="0" y="41910"/>
                  </a:lnTo>
                  <a:lnTo>
                    <a:pt x="20320" y="56515"/>
                  </a:lnTo>
                  <a:lnTo>
                    <a:pt x="172720" y="16319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314" name="Google Shape;314;p14"/>
            <p:cNvSpPr/>
            <p:nvPr/>
          </p:nvSpPr>
          <p:spPr>
            <a:xfrm>
              <a:off x="3738245" y="2494279"/>
              <a:ext cx="222884" cy="177800"/>
            </a:xfrm>
            <a:custGeom>
              <a:avLst/>
              <a:gdLst/>
              <a:ahLst/>
              <a:cxnLst/>
              <a:rect l="l" t="t" r="r" b="b"/>
              <a:pathLst>
                <a:path w="222884" h="177800" extrusionOk="0">
                  <a:moveTo>
                    <a:pt x="172720" y="163195"/>
                  </a:moveTo>
                  <a:lnTo>
                    <a:pt x="193675" y="177800"/>
                  </a:lnTo>
                  <a:lnTo>
                    <a:pt x="222885" y="136525"/>
                  </a:lnTo>
                  <a:lnTo>
                    <a:pt x="201930" y="121920"/>
                  </a:lnTo>
                  <a:lnTo>
                    <a:pt x="49530" y="14605"/>
                  </a:lnTo>
                  <a:lnTo>
                    <a:pt x="29210" y="0"/>
                  </a:lnTo>
                  <a:lnTo>
                    <a:pt x="0" y="41910"/>
                  </a:lnTo>
                  <a:lnTo>
                    <a:pt x="20320"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315" name="Google Shape;315;p14"/>
            <p:cNvSpPr/>
            <p:nvPr/>
          </p:nvSpPr>
          <p:spPr>
            <a:xfrm>
              <a:off x="4373245" y="2856229"/>
              <a:ext cx="222884" cy="177800"/>
            </a:xfrm>
            <a:custGeom>
              <a:avLst/>
              <a:gdLst/>
              <a:ahLst/>
              <a:cxnLst/>
              <a:rect l="l" t="t" r="r" b="b"/>
              <a:pathLst>
                <a:path w="222884" h="177800" extrusionOk="0">
                  <a:moveTo>
                    <a:pt x="172720" y="163195"/>
                  </a:moveTo>
                  <a:lnTo>
                    <a:pt x="193675" y="177800"/>
                  </a:lnTo>
                  <a:lnTo>
                    <a:pt x="222885" y="136525"/>
                  </a:lnTo>
                  <a:lnTo>
                    <a:pt x="201930" y="121920"/>
                  </a:lnTo>
                  <a:lnTo>
                    <a:pt x="49530" y="14605"/>
                  </a:lnTo>
                  <a:lnTo>
                    <a:pt x="29210" y="0"/>
                  </a:lnTo>
                  <a:lnTo>
                    <a:pt x="0" y="41910"/>
                  </a:lnTo>
                  <a:lnTo>
                    <a:pt x="20320"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316" name="Google Shape;316;p14"/>
            <p:cNvSpPr/>
            <p:nvPr/>
          </p:nvSpPr>
          <p:spPr>
            <a:xfrm>
              <a:off x="5008245" y="3218179"/>
              <a:ext cx="222884" cy="177800"/>
            </a:xfrm>
            <a:custGeom>
              <a:avLst/>
              <a:gdLst/>
              <a:ahLst/>
              <a:cxnLst/>
              <a:rect l="l" t="t" r="r" b="b"/>
              <a:pathLst>
                <a:path w="222884" h="177800" extrusionOk="0">
                  <a:moveTo>
                    <a:pt x="172720" y="163195"/>
                  </a:moveTo>
                  <a:lnTo>
                    <a:pt x="193675" y="177800"/>
                  </a:lnTo>
                  <a:lnTo>
                    <a:pt x="222885" y="136525"/>
                  </a:lnTo>
                  <a:lnTo>
                    <a:pt x="201930" y="121920"/>
                  </a:lnTo>
                  <a:lnTo>
                    <a:pt x="49530" y="14605"/>
                  </a:lnTo>
                  <a:lnTo>
                    <a:pt x="29210" y="0"/>
                  </a:lnTo>
                  <a:lnTo>
                    <a:pt x="0" y="41910"/>
                  </a:lnTo>
                  <a:lnTo>
                    <a:pt x="20320"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317" name="Google Shape;317;p14"/>
            <p:cNvSpPr/>
            <p:nvPr/>
          </p:nvSpPr>
          <p:spPr>
            <a:xfrm>
              <a:off x="5643245" y="3580129"/>
              <a:ext cx="222884" cy="177800"/>
            </a:xfrm>
            <a:custGeom>
              <a:avLst/>
              <a:gdLst/>
              <a:ahLst/>
              <a:cxnLst/>
              <a:rect l="l" t="t" r="r" b="b"/>
              <a:pathLst>
                <a:path w="222884" h="177800" extrusionOk="0">
                  <a:moveTo>
                    <a:pt x="172720" y="163195"/>
                  </a:moveTo>
                  <a:lnTo>
                    <a:pt x="193675" y="177800"/>
                  </a:lnTo>
                  <a:lnTo>
                    <a:pt x="222885" y="136525"/>
                  </a:lnTo>
                  <a:lnTo>
                    <a:pt x="201930" y="121920"/>
                  </a:lnTo>
                  <a:lnTo>
                    <a:pt x="49530" y="14605"/>
                  </a:lnTo>
                  <a:lnTo>
                    <a:pt x="29210" y="0"/>
                  </a:lnTo>
                  <a:lnTo>
                    <a:pt x="0" y="41910"/>
                  </a:lnTo>
                  <a:lnTo>
                    <a:pt x="20320"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318" name="Google Shape;318;p14"/>
            <p:cNvSpPr/>
            <p:nvPr/>
          </p:nvSpPr>
          <p:spPr>
            <a:xfrm>
              <a:off x="6278245" y="3942079"/>
              <a:ext cx="222884" cy="177800"/>
            </a:xfrm>
            <a:custGeom>
              <a:avLst/>
              <a:gdLst/>
              <a:ahLst/>
              <a:cxnLst/>
              <a:rect l="l" t="t" r="r" b="b"/>
              <a:pathLst>
                <a:path w="222884" h="177800" extrusionOk="0">
                  <a:moveTo>
                    <a:pt x="193675" y="177800"/>
                  </a:moveTo>
                  <a:lnTo>
                    <a:pt x="222885" y="136525"/>
                  </a:lnTo>
                  <a:lnTo>
                    <a:pt x="201930" y="121920"/>
                  </a:lnTo>
                  <a:lnTo>
                    <a:pt x="49530" y="14605"/>
                  </a:lnTo>
                  <a:lnTo>
                    <a:pt x="29210" y="0"/>
                  </a:lnTo>
                  <a:lnTo>
                    <a:pt x="0" y="41910"/>
                  </a:lnTo>
                  <a:lnTo>
                    <a:pt x="20320" y="56515"/>
                  </a:lnTo>
                  <a:lnTo>
                    <a:pt x="172720" y="16319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319" name="Google Shape;319;p14"/>
            <p:cNvSpPr/>
            <p:nvPr/>
          </p:nvSpPr>
          <p:spPr>
            <a:xfrm>
              <a:off x="6913244" y="4304029"/>
              <a:ext cx="222885" cy="177800"/>
            </a:xfrm>
            <a:custGeom>
              <a:avLst/>
              <a:gdLst/>
              <a:ahLst/>
              <a:cxnLst/>
              <a:rect l="l" t="t" r="r" b="b"/>
              <a:pathLst>
                <a:path w="222885" h="177800" extrusionOk="0">
                  <a:moveTo>
                    <a:pt x="193675" y="177800"/>
                  </a:moveTo>
                  <a:lnTo>
                    <a:pt x="222886" y="136525"/>
                  </a:lnTo>
                  <a:lnTo>
                    <a:pt x="201930" y="121920"/>
                  </a:lnTo>
                  <a:lnTo>
                    <a:pt x="49530" y="14605"/>
                  </a:lnTo>
                  <a:lnTo>
                    <a:pt x="29211" y="0"/>
                  </a:lnTo>
                  <a:lnTo>
                    <a:pt x="0" y="41910"/>
                  </a:lnTo>
                  <a:lnTo>
                    <a:pt x="20320" y="56515"/>
                  </a:lnTo>
                  <a:lnTo>
                    <a:pt x="172720" y="16319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320" name="Google Shape;320;p14"/>
            <p:cNvSpPr/>
            <p:nvPr/>
          </p:nvSpPr>
          <p:spPr>
            <a:xfrm>
              <a:off x="7548244" y="4665979"/>
              <a:ext cx="222885" cy="177800"/>
            </a:xfrm>
            <a:custGeom>
              <a:avLst/>
              <a:gdLst/>
              <a:ahLst/>
              <a:cxnLst/>
              <a:rect l="l" t="t" r="r" b="b"/>
              <a:pathLst>
                <a:path w="222885" h="177800" extrusionOk="0">
                  <a:moveTo>
                    <a:pt x="193675" y="177800"/>
                  </a:moveTo>
                  <a:lnTo>
                    <a:pt x="222886" y="136525"/>
                  </a:lnTo>
                  <a:lnTo>
                    <a:pt x="201930" y="121920"/>
                  </a:lnTo>
                  <a:lnTo>
                    <a:pt x="49530" y="14605"/>
                  </a:lnTo>
                  <a:lnTo>
                    <a:pt x="29211" y="0"/>
                  </a:lnTo>
                  <a:lnTo>
                    <a:pt x="0" y="41910"/>
                  </a:lnTo>
                  <a:lnTo>
                    <a:pt x="20320" y="56515"/>
                  </a:lnTo>
                  <a:lnTo>
                    <a:pt x="172720" y="16319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321" name="Google Shape;321;p14"/>
            <p:cNvSpPr/>
            <p:nvPr/>
          </p:nvSpPr>
          <p:spPr>
            <a:xfrm>
              <a:off x="8183244" y="5027929"/>
              <a:ext cx="222885" cy="177800"/>
            </a:xfrm>
            <a:custGeom>
              <a:avLst/>
              <a:gdLst/>
              <a:ahLst/>
              <a:cxnLst/>
              <a:rect l="l" t="t" r="r" b="b"/>
              <a:pathLst>
                <a:path w="222885" h="177800" extrusionOk="0">
                  <a:moveTo>
                    <a:pt x="193675" y="177800"/>
                  </a:moveTo>
                  <a:lnTo>
                    <a:pt x="222886" y="136525"/>
                  </a:lnTo>
                  <a:lnTo>
                    <a:pt x="201930" y="121920"/>
                  </a:lnTo>
                  <a:lnTo>
                    <a:pt x="49530" y="14605"/>
                  </a:lnTo>
                  <a:lnTo>
                    <a:pt x="29211" y="0"/>
                  </a:lnTo>
                  <a:lnTo>
                    <a:pt x="0" y="41910"/>
                  </a:lnTo>
                  <a:lnTo>
                    <a:pt x="20320" y="56515"/>
                  </a:lnTo>
                  <a:lnTo>
                    <a:pt x="172720" y="16319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322" name="Google Shape;322;p14"/>
            <p:cNvSpPr/>
            <p:nvPr/>
          </p:nvSpPr>
          <p:spPr>
            <a:xfrm>
              <a:off x="8818244" y="5389879"/>
              <a:ext cx="222885" cy="177800"/>
            </a:xfrm>
            <a:custGeom>
              <a:avLst/>
              <a:gdLst/>
              <a:ahLst/>
              <a:cxnLst/>
              <a:rect l="l" t="t" r="r" b="b"/>
              <a:pathLst>
                <a:path w="222885" h="177800" extrusionOk="0">
                  <a:moveTo>
                    <a:pt x="193675" y="177800"/>
                  </a:moveTo>
                  <a:lnTo>
                    <a:pt x="222886" y="136525"/>
                  </a:lnTo>
                  <a:lnTo>
                    <a:pt x="201930" y="121920"/>
                  </a:lnTo>
                  <a:lnTo>
                    <a:pt x="49530" y="14605"/>
                  </a:lnTo>
                  <a:lnTo>
                    <a:pt x="29211" y="0"/>
                  </a:lnTo>
                  <a:lnTo>
                    <a:pt x="0" y="41910"/>
                  </a:lnTo>
                  <a:lnTo>
                    <a:pt x="20320" y="56515"/>
                  </a:lnTo>
                  <a:lnTo>
                    <a:pt x="172720" y="16319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323" name="Google Shape;323;p14"/>
            <p:cNvSpPr/>
            <p:nvPr/>
          </p:nvSpPr>
          <p:spPr>
            <a:xfrm>
              <a:off x="9453244" y="5751829"/>
              <a:ext cx="222885" cy="177800"/>
            </a:xfrm>
            <a:custGeom>
              <a:avLst/>
              <a:gdLst/>
              <a:ahLst/>
              <a:cxnLst/>
              <a:rect l="l" t="t" r="r" b="b"/>
              <a:pathLst>
                <a:path w="222885" h="177800" extrusionOk="0">
                  <a:moveTo>
                    <a:pt x="193675" y="177800"/>
                  </a:moveTo>
                  <a:lnTo>
                    <a:pt x="222886" y="136525"/>
                  </a:lnTo>
                  <a:lnTo>
                    <a:pt x="201930" y="121920"/>
                  </a:lnTo>
                  <a:lnTo>
                    <a:pt x="49530" y="14605"/>
                  </a:lnTo>
                  <a:lnTo>
                    <a:pt x="29211" y="0"/>
                  </a:lnTo>
                  <a:lnTo>
                    <a:pt x="0" y="41910"/>
                  </a:lnTo>
                  <a:lnTo>
                    <a:pt x="20320" y="56515"/>
                  </a:lnTo>
                  <a:lnTo>
                    <a:pt x="172720" y="16319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324" name="Google Shape;324;p14"/>
            <p:cNvSpPr/>
            <p:nvPr/>
          </p:nvSpPr>
          <p:spPr>
            <a:xfrm>
              <a:off x="10088244" y="6113779"/>
              <a:ext cx="222885" cy="177800"/>
            </a:xfrm>
            <a:custGeom>
              <a:avLst/>
              <a:gdLst/>
              <a:ahLst/>
              <a:cxnLst/>
              <a:rect l="l" t="t" r="r" b="b"/>
              <a:pathLst>
                <a:path w="222885" h="177800" extrusionOk="0">
                  <a:moveTo>
                    <a:pt x="193675" y="177800"/>
                  </a:moveTo>
                  <a:lnTo>
                    <a:pt x="222886" y="136525"/>
                  </a:lnTo>
                  <a:lnTo>
                    <a:pt x="201930" y="121920"/>
                  </a:lnTo>
                  <a:lnTo>
                    <a:pt x="49530" y="14605"/>
                  </a:lnTo>
                  <a:lnTo>
                    <a:pt x="29211" y="0"/>
                  </a:lnTo>
                  <a:lnTo>
                    <a:pt x="0" y="41910"/>
                  </a:lnTo>
                  <a:lnTo>
                    <a:pt x="20320" y="56515"/>
                  </a:lnTo>
                  <a:lnTo>
                    <a:pt x="172720" y="16319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325" name="Google Shape;325;p14"/>
            <p:cNvSpPr/>
            <p:nvPr/>
          </p:nvSpPr>
          <p:spPr>
            <a:xfrm>
              <a:off x="10723244" y="6475729"/>
              <a:ext cx="222885" cy="177800"/>
            </a:xfrm>
            <a:custGeom>
              <a:avLst/>
              <a:gdLst/>
              <a:ahLst/>
              <a:cxnLst/>
              <a:rect l="l" t="t" r="r" b="b"/>
              <a:pathLst>
                <a:path w="222885" h="177800" extrusionOk="0">
                  <a:moveTo>
                    <a:pt x="49530" y="14605"/>
                  </a:moveTo>
                  <a:lnTo>
                    <a:pt x="29211" y="0"/>
                  </a:lnTo>
                  <a:lnTo>
                    <a:pt x="0" y="41910"/>
                  </a:lnTo>
                  <a:lnTo>
                    <a:pt x="20320" y="56515"/>
                  </a:lnTo>
                  <a:lnTo>
                    <a:pt x="172720" y="163195"/>
                  </a:lnTo>
                  <a:lnTo>
                    <a:pt x="193675" y="177800"/>
                  </a:lnTo>
                  <a:lnTo>
                    <a:pt x="222886" y="136525"/>
                  </a:lnTo>
                  <a:lnTo>
                    <a:pt x="201930" y="12192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326" name="Google Shape;326;p14"/>
            <p:cNvSpPr/>
            <p:nvPr/>
          </p:nvSpPr>
          <p:spPr>
            <a:xfrm>
              <a:off x="11372850" y="6837680"/>
              <a:ext cx="43180" cy="20319"/>
            </a:xfrm>
            <a:custGeom>
              <a:avLst/>
              <a:gdLst/>
              <a:ahLst/>
              <a:cxnLst/>
              <a:rect l="l" t="t" r="r" b="b"/>
              <a:pathLst>
                <a:path w="43180" h="20319" extrusionOk="0">
                  <a:moveTo>
                    <a:pt x="14605" y="0"/>
                  </a:moveTo>
                  <a:lnTo>
                    <a:pt x="0" y="20320"/>
                  </a:lnTo>
                  <a:lnTo>
                    <a:pt x="43180" y="20320"/>
                  </a:lnTo>
                  <a:lnTo>
                    <a:pt x="34925" y="1460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327" name="Google Shape;327;p14"/>
            <p:cNvSpPr/>
            <p:nvPr/>
          </p:nvSpPr>
          <p:spPr>
            <a:xfrm>
              <a:off x="392429" y="311784"/>
              <a:ext cx="224154" cy="199390"/>
            </a:xfrm>
            <a:custGeom>
              <a:avLst/>
              <a:gdLst/>
              <a:ahLst/>
              <a:cxnLst/>
              <a:rect l="l" t="t" r="r" b="b"/>
              <a:pathLst>
                <a:path w="224154" h="199390" extrusionOk="0">
                  <a:moveTo>
                    <a:pt x="19685" y="55245"/>
                  </a:moveTo>
                  <a:lnTo>
                    <a:pt x="172085" y="183515"/>
                  </a:lnTo>
                  <a:lnTo>
                    <a:pt x="191770" y="199390"/>
                  </a:lnTo>
                  <a:lnTo>
                    <a:pt x="224155" y="160655"/>
                  </a:lnTo>
                  <a:lnTo>
                    <a:pt x="205105" y="144145"/>
                  </a:lnTo>
                  <a:lnTo>
                    <a:pt x="52705" y="16510"/>
                  </a:lnTo>
                  <a:lnTo>
                    <a:pt x="33020" y="0"/>
                  </a:lnTo>
                  <a:lnTo>
                    <a:pt x="0" y="3873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328" name="Google Shape;328;p14"/>
            <p:cNvSpPr/>
            <p:nvPr/>
          </p:nvSpPr>
          <p:spPr>
            <a:xfrm>
              <a:off x="1027430" y="673734"/>
              <a:ext cx="224155" cy="199390"/>
            </a:xfrm>
            <a:custGeom>
              <a:avLst/>
              <a:gdLst/>
              <a:ahLst/>
              <a:cxnLst/>
              <a:rect l="l" t="t" r="r" b="b"/>
              <a:pathLst>
                <a:path w="224155" h="199390" extrusionOk="0">
                  <a:moveTo>
                    <a:pt x="52705" y="16510"/>
                  </a:moveTo>
                  <a:lnTo>
                    <a:pt x="33020" y="0"/>
                  </a:lnTo>
                  <a:lnTo>
                    <a:pt x="0" y="38735"/>
                  </a:lnTo>
                  <a:lnTo>
                    <a:pt x="19685" y="55245"/>
                  </a:lnTo>
                  <a:lnTo>
                    <a:pt x="172085" y="183515"/>
                  </a:lnTo>
                  <a:lnTo>
                    <a:pt x="191770" y="199390"/>
                  </a:lnTo>
                  <a:lnTo>
                    <a:pt x="224155" y="160655"/>
                  </a:lnTo>
                  <a:lnTo>
                    <a:pt x="205105" y="14414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329" name="Google Shape;329;p14"/>
            <p:cNvSpPr/>
            <p:nvPr/>
          </p:nvSpPr>
          <p:spPr>
            <a:xfrm>
              <a:off x="1662429" y="1035685"/>
              <a:ext cx="224155" cy="199389"/>
            </a:xfrm>
            <a:custGeom>
              <a:avLst/>
              <a:gdLst/>
              <a:ahLst/>
              <a:cxnLst/>
              <a:rect l="l" t="t" r="r" b="b"/>
              <a:pathLst>
                <a:path w="224155" h="199389" extrusionOk="0">
                  <a:moveTo>
                    <a:pt x="52705" y="16510"/>
                  </a:moveTo>
                  <a:lnTo>
                    <a:pt x="33020" y="0"/>
                  </a:lnTo>
                  <a:lnTo>
                    <a:pt x="0" y="38735"/>
                  </a:lnTo>
                  <a:lnTo>
                    <a:pt x="19685" y="55245"/>
                  </a:lnTo>
                  <a:lnTo>
                    <a:pt x="172085" y="183515"/>
                  </a:lnTo>
                  <a:lnTo>
                    <a:pt x="191770" y="199390"/>
                  </a:lnTo>
                  <a:lnTo>
                    <a:pt x="224155" y="160655"/>
                  </a:lnTo>
                  <a:lnTo>
                    <a:pt x="205105" y="14414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330" name="Google Shape;330;p14"/>
            <p:cNvSpPr/>
            <p:nvPr/>
          </p:nvSpPr>
          <p:spPr>
            <a:xfrm>
              <a:off x="2297429" y="1397635"/>
              <a:ext cx="224155" cy="199389"/>
            </a:xfrm>
            <a:custGeom>
              <a:avLst/>
              <a:gdLst/>
              <a:ahLst/>
              <a:cxnLst/>
              <a:rect l="l" t="t" r="r" b="b"/>
              <a:pathLst>
                <a:path w="224155" h="199389" extrusionOk="0">
                  <a:moveTo>
                    <a:pt x="52705" y="16510"/>
                  </a:moveTo>
                  <a:lnTo>
                    <a:pt x="33020" y="0"/>
                  </a:lnTo>
                  <a:lnTo>
                    <a:pt x="0" y="38735"/>
                  </a:lnTo>
                  <a:lnTo>
                    <a:pt x="19685" y="55245"/>
                  </a:lnTo>
                  <a:lnTo>
                    <a:pt x="172085" y="183515"/>
                  </a:lnTo>
                  <a:lnTo>
                    <a:pt x="191770" y="199390"/>
                  </a:lnTo>
                  <a:lnTo>
                    <a:pt x="224155" y="160655"/>
                  </a:lnTo>
                  <a:lnTo>
                    <a:pt x="205105" y="14414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331" name="Google Shape;331;p14"/>
            <p:cNvSpPr/>
            <p:nvPr/>
          </p:nvSpPr>
          <p:spPr>
            <a:xfrm>
              <a:off x="2932429" y="1759585"/>
              <a:ext cx="224155" cy="199389"/>
            </a:xfrm>
            <a:custGeom>
              <a:avLst/>
              <a:gdLst/>
              <a:ahLst/>
              <a:cxnLst/>
              <a:rect l="l" t="t" r="r" b="b"/>
              <a:pathLst>
                <a:path w="224155" h="199389" extrusionOk="0">
                  <a:moveTo>
                    <a:pt x="191770" y="199390"/>
                  </a:moveTo>
                  <a:lnTo>
                    <a:pt x="224155" y="160655"/>
                  </a:lnTo>
                  <a:lnTo>
                    <a:pt x="205105" y="144145"/>
                  </a:lnTo>
                  <a:lnTo>
                    <a:pt x="52705" y="16510"/>
                  </a:lnTo>
                  <a:lnTo>
                    <a:pt x="33020" y="0"/>
                  </a:lnTo>
                  <a:lnTo>
                    <a:pt x="0" y="38735"/>
                  </a:lnTo>
                  <a:lnTo>
                    <a:pt x="19685" y="55245"/>
                  </a:lnTo>
                  <a:lnTo>
                    <a:pt x="172085" y="183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332" name="Google Shape;332;p14"/>
            <p:cNvSpPr/>
            <p:nvPr/>
          </p:nvSpPr>
          <p:spPr>
            <a:xfrm>
              <a:off x="3567429" y="2121535"/>
              <a:ext cx="224154" cy="199389"/>
            </a:xfrm>
            <a:custGeom>
              <a:avLst/>
              <a:gdLst/>
              <a:ahLst/>
              <a:cxnLst/>
              <a:rect l="l" t="t" r="r" b="b"/>
              <a:pathLst>
                <a:path w="224154" h="199389" extrusionOk="0">
                  <a:moveTo>
                    <a:pt x="191770" y="199390"/>
                  </a:moveTo>
                  <a:lnTo>
                    <a:pt x="224155" y="160655"/>
                  </a:lnTo>
                  <a:lnTo>
                    <a:pt x="205105" y="144145"/>
                  </a:lnTo>
                  <a:lnTo>
                    <a:pt x="52705" y="16510"/>
                  </a:lnTo>
                  <a:lnTo>
                    <a:pt x="33020" y="0"/>
                  </a:lnTo>
                  <a:lnTo>
                    <a:pt x="0" y="38735"/>
                  </a:lnTo>
                  <a:lnTo>
                    <a:pt x="19685" y="55245"/>
                  </a:lnTo>
                  <a:lnTo>
                    <a:pt x="172085" y="183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333" name="Google Shape;333;p14"/>
            <p:cNvSpPr/>
            <p:nvPr/>
          </p:nvSpPr>
          <p:spPr>
            <a:xfrm>
              <a:off x="4202429" y="2483485"/>
              <a:ext cx="224154" cy="199389"/>
            </a:xfrm>
            <a:custGeom>
              <a:avLst/>
              <a:gdLst/>
              <a:ahLst/>
              <a:cxnLst/>
              <a:rect l="l" t="t" r="r" b="b"/>
              <a:pathLst>
                <a:path w="224154" h="199389" extrusionOk="0">
                  <a:moveTo>
                    <a:pt x="191770" y="199390"/>
                  </a:moveTo>
                  <a:lnTo>
                    <a:pt x="224155" y="160655"/>
                  </a:lnTo>
                  <a:lnTo>
                    <a:pt x="205105" y="144145"/>
                  </a:lnTo>
                  <a:lnTo>
                    <a:pt x="52705" y="16510"/>
                  </a:lnTo>
                  <a:lnTo>
                    <a:pt x="33020" y="0"/>
                  </a:lnTo>
                  <a:lnTo>
                    <a:pt x="0" y="38735"/>
                  </a:lnTo>
                  <a:lnTo>
                    <a:pt x="19685" y="55245"/>
                  </a:lnTo>
                  <a:lnTo>
                    <a:pt x="172085" y="183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334" name="Google Shape;334;p14"/>
            <p:cNvSpPr/>
            <p:nvPr/>
          </p:nvSpPr>
          <p:spPr>
            <a:xfrm>
              <a:off x="4837429" y="2845435"/>
              <a:ext cx="224154" cy="199389"/>
            </a:xfrm>
            <a:custGeom>
              <a:avLst/>
              <a:gdLst/>
              <a:ahLst/>
              <a:cxnLst/>
              <a:rect l="l" t="t" r="r" b="b"/>
              <a:pathLst>
                <a:path w="224154" h="199389" extrusionOk="0">
                  <a:moveTo>
                    <a:pt x="191770" y="199390"/>
                  </a:moveTo>
                  <a:lnTo>
                    <a:pt x="224155" y="160655"/>
                  </a:lnTo>
                  <a:lnTo>
                    <a:pt x="205105" y="144145"/>
                  </a:lnTo>
                  <a:lnTo>
                    <a:pt x="52705" y="16510"/>
                  </a:lnTo>
                  <a:lnTo>
                    <a:pt x="33020" y="0"/>
                  </a:lnTo>
                  <a:lnTo>
                    <a:pt x="0" y="38735"/>
                  </a:lnTo>
                  <a:lnTo>
                    <a:pt x="19685" y="55245"/>
                  </a:lnTo>
                  <a:lnTo>
                    <a:pt x="172085" y="183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335" name="Google Shape;335;p14"/>
            <p:cNvSpPr/>
            <p:nvPr/>
          </p:nvSpPr>
          <p:spPr>
            <a:xfrm>
              <a:off x="5472429" y="3207385"/>
              <a:ext cx="224154" cy="199389"/>
            </a:xfrm>
            <a:custGeom>
              <a:avLst/>
              <a:gdLst/>
              <a:ahLst/>
              <a:cxnLst/>
              <a:rect l="l" t="t" r="r" b="b"/>
              <a:pathLst>
                <a:path w="224154" h="199389" extrusionOk="0">
                  <a:moveTo>
                    <a:pt x="191770" y="199390"/>
                  </a:moveTo>
                  <a:lnTo>
                    <a:pt x="224155" y="160655"/>
                  </a:lnTo>
                  <a:lnTo>
                    <a:pt x="205105" y="144145"/>
                  </a:lnTo>
                  <a:lnTo>
                    <a:pt x="52705" y="16510"/>
                  </a:lnTo>
                  <a:lnTo>
                    <a:pt x="33020" y="0"/>
                  </a:lnTo>
                  <a:lnTo>
                    <a:pt x="0" y="38735"/>
                  </a:lnTo>
                  <a:lnTo>
                    <a:pt x="19685" y="55245"/>
                  </a:lnTo>
                  <a:lnTo>
                    <a:pt x="172085" y="183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336" name="Google Shape;336;p14"/>
            <p:cNvSpPr/>
            <p:nvPr/>
          </p:nvSpPr>
          <p:spPr>
            <a:xfrm>
              <a:off x="6107429" y="3569334"/>
              <a:ext cx="224154" cy="199390"/>
            </a:xfrm>
            <a:custGeom>
              <a:avLst/>
              <a:gdLst/>
              <a:ahLst/>
              <a:cxnLst/>
              <a:rect l="l" t="t" r="r" b="b"/>
              <a:pathLst>
                <a:path w="224154" h="199390" extrusionOk="0">
                  <a:moveTo>
                    <a:pt x="191770" y="199390"/>
                  </a:moveTo>
                  <a:lnTo>
                    <a:pt x="224155" y="160655"/>
                  </a:lnTo>
                  <a:lnTo>
                    <a:pt x="205105" y="144145"/>
                  </a:lnTo>
                  <a:lnTo>
                    <a:pt x="52705" y="16510"/>
                  </a:lnTo>
                  <a:lnTo>
                    <a:pt x="33020" y="0"/>
                  </a:lnTo>
                  <a:lnTo>
                    <a:pt x="0" y="38735"/>
                  </a:lnTo>
                  <a:lnTo>
                    <a:pt x="19685" y="55245"/>
                  </a:lnTo>
                  <a:lnTo>
                    <a:pt x="172085" y="183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337" name="Google Shape;337;p14"/>
            <p:cNvSpPr/>
            <p:nvPr/>
          </p:nvSpPr>
          <p:spPr>
            <a:xfrm>
              <a:off x="6742430" y="3931284"/>
              <a:ext cx="224154" cy="199390"/>
            </a:xfrm>
            <a:custGeom>
              <a:avLst/>
              <a:gdLst/>
              <a:ahLst/>
              <a:cxnLst/>
              <a:rect l="l" t="t" r="r" b="b"/>
              <a:pathLst>
                <a:path w="224154" h="199390" extrusionOk="0">
                  <a:moveTo>
                    <a:pt x="191770" y="199390"/>
                  </a:moveTo>
                  <a:lnTo>
                    <a:pt x="224155" y="160655"/>
                  </a:lnTo>
                  <a:lnTo>
                    <a:pt x="205105" y="144145"/>
                  </a:lnTo>
                  <a:lnTo>
                    <a:pt x="52705" y="16510"/>
                  </a:lnTo>
                  <a:lnTo>
                    <a:pt x="33020" y="0"/>
                  </a:lnTo>
                  <a:lnTo>
                    <a:pt x="0" y="38735"/>
                  </a:lnTo>
                  <a:lnTo>
                    <a:pt x="19685" y="55245"/>
                  </a:lnTo>
                  <a:lnTo>
                    <a:pt x="172085" y="183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338" name="Google Shape;338;p14"/>
            <p:cNvSpPr/>
            <p:nvPr/>
          </p:nvSpPr>
          <p:spPr>
            <a:xfrm>
              <a:off x="7377430" y="4293234"/>
              <a:ext cx="224154" cy="199390"/>
            </a:xfrm>
            <a:custGeom>
              <a:avLst/>
              <a:gdLst/>
              <a:ahLst/>
              <a:cxnLst/>
              <a:rect l="l" t="t" r="r" b="b"/>
              <a:pathLst>
                <a:path w="224154" h="199390" extrusionOk="0">
                  <a:moveTo>
                    <a:pt x="191770" y="199390"/>
                  </a:moveTo>
                  <a:lnTo>
                    <a:pt x="224155" y="160655"/>
                  </a:lnTo>
                  <a:lnTo>
                    <a:pt x="205105" y="144145"/>
                  </a:lnTo>
                  <a:lnTo>
                    <a:pt x="52705" y="16510"/>
                  </a:lnTo>
                  <a:lnTo>
                    <a:pt x="33020" y="0"/>
                  </a:lnTo>
                  <a:lnTo>
                    <a:pt x="0" y="38735"/>
                  </a:lnTo>
                  <a:lnTo>
                    <a:pt x="19685" y="55245"/>
                  </a:lnTo>
                  <a:lnTo>
                    <a:pt x="172085" y="183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339" name="Google Shape;339;p14"/>
            <p:cNvSpPr/>
            <p:nvPr/>
          </p:nvSpPr>
          <p:spPr>
            <a:xfrm>
              <a:off x="8012430" y="4655184"/>
              <a:ext cx="224154" cy="199390"/>
            </a:xfrm>
            <a:custGeom>
              <a:avLst/>
              <a:gdLst/>
              <a:ahLst/>
              <a:cxnLst/>
              <a:rect l="l" t="t" r="r" b="b"/>
              <a:pathLst>
                <a:path w="224154" h="199390" extrusionOk="0">
                  <a:moveTo>
                    <a:pt x="191770" y="199390"/>
                  </a:moveTo>
                  <a:lnTo>
                    <a:pt x="224155" y="160655"/>
                  </a:lnTo>
                  <a:lnTo>
                    <a:pt x="205105" y="144145"/>
                  </a:lnTo>
                  <a:lnTo>
                    <a:pt x="52705" y="16510"/>
                  </a:lnTo>
                  <a:lnTo>
                    <a:pt x="33020" y="0"/>
                  </a:lnTo>
                  <a:lnTo>
                    <a:pt x="0" y="38735"/>
                  </a:lnTo>
                  <a:lnTo>
                    <a:pt x="19685" y="55245"/>
                  </a:lnTo>
                  <a:lnTo>
                    <a:pt x="172085" y="183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340" name="Google Shape;340;p14"/>
            <p:cNvSpPr/>
            <p:nvPr/>
          </p:nvSpPr>
          <p:spPr>
            <a:xfrm>
              <a:off x="8647430" y="5017134"/>
              <a:ext cx="224154" cy="199390"/>
            </a:xfrm>
            <a:custGeom>
              <a:avLst/>
              <a:gdLst/>
              <a:ahLst/>
              <a:cxnLst/>
              <a:rect l="l" t="t" r="r" b="b"/>
              <a:pathLst>
                <a:path w="224154" h="199390" extrusionOk="0">
                  <a:moveTo>
                    <a:pt x="172085" y="183515"/>
                  </a:moveTo>
                  <a:lnTo>
                    <a:pt x="191770" y="199390"/>
                  </a:lnTo>
                  <a:lnTo>
                    <a:pt x="224155" y="160655"/>
                  </a:lnTo>
                  <a:lnTo>
                    <a:pt x="205105" y="144145"/>
                  </a:lnTo>
                  <a:lnTo>
                    <a:pt x="52705" y="16510"/>
                  </a:lnTo>
                  <a:lnTo>
                    <a:pt x="33020" y="0"/>
                  </a:lnTo>
                  <a:lnTo>
                    <a:pt x="0" y="38735"/>
                  </a:lnTo>
                  <a:lnTo>
                    <a:pt x="19685" y="5524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341" name="Google Shape;341;p14"/>
            <p:cNvSpPr/>
            <p:nvPr/>
          </p:nvSpPr>
          <p:spPr>
            <a:xfrm>
              <a:off x="9282430" y="5379084"/>
              <a:ext cx="224154" cy="199390"/>
            </a:xfrm>
            <a:custGeom>
              <a:avLst/>
              <a:gdLst/>
              <a:ahLst/>
              <a:cxnLst/>
              <a:rect l="l" t="t" r="r" b="b"/>
              <a:pathLst>
                <a:path w="224154" h="199390" extrusionOk="0">
                  <a:moveTo>
                    <a:pt x="172085" y="183515"/>
                  </a:moveTo>
                  <a:lnTo>
                    <a:pt x="191770" y="199390"/>
                  </a:lnTo>
                  <a:lnTo>
                    <a:pt x="224155" y="160655"/>
                  </a:lnTo>
                  <a:lnTo>
                    <a:pt x="205105" y="144145"/>
                  </a:lnTo>
                  <a:lnTo>
                    <a:pt x="52705" y="16510"/>
                  </a:lnTo>
                  <a:lnTo>
                    <a:pt x="33020" y="0"/>
                  </a:lnTo>
                  <a:lnTo>
                    <a:pt x="0" y="38735"/>
                  </a:lnTo>
                  <a:lnTo>
                    <a:pt x="19685" y="5524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342" name="Google Shape;342;p14"/>
            <p:cNvSpPr/>
            <p:nvPr/>
          </p:nvSpPr>
          <p:spPr>
            <a:xfrm>
              <a:off x="9917430" y="5741034"/>
              <a:ext cx="224154" cy="199390"/>
            </a:xfrm>
            <a:custGeom>
              <a:avLst/>
              <a:gdLst/>
              <a:ahLst/>
              <a:cxnLst/>
              <a:rect l="l" t="t" r="r" b="b"/>
              <a:pathLst>
                <a:path w="224154" h="199390" extrusionOk="0">
                  <a:moveTo>
                    <a:pt x="191770" y="199390"/>
                  </a:moveTo>
                  <a:lnTo>
                    <a:pt x="224155" y="160655"/>
                  </a:lnTo>
                  <a:lnTo>
                    <a:pt x="205105" y="144145"/>
                  </a:lnTo>
                  <a:lnTo>
                    <a:pt x="52705" y="16510"/>
                  </a:lnTo>
                  <a:lnTo>
                    <a:pt x="33020" y="0"/>
                  </a:lnTo>
                  <a:lnTo>
                    <a:pt x="0" y="38735"/>
                  </a:lnTo>
                  <a:lnTo>
                    <a:pt x="19685" y="55245"/>
                  </a:lnTo>
                  <a:lnTo>
                    <a:pt x="172085" y="183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343" name="Google Shape;343;p14"/>
            <p:cNvSpPr/>
            <p:nvPr/>
          </p:nvSpPr>
          <p:spPr>
            <a:xfrm>
              <a:off x="10552430" y="6102984"/>
              <a:ext cx="224154" cy="199390"/>
            </a:xfrm>
            <a:custGeom>
              <a:avLst/>
              <a:gdLst/>
              <a:ahLst/>
              <a:cxnLst/>
              <a:rect l="l" t="t" r="r" b="b"/>
              <a:pathLst>
                <a:path w="224154" h="199390" extrusionOk="0">
                  <a:moveTo>
                    <a:pt x="191770" y="199390"/>
                  </a:moveTo>
                  <a:lnTo>
                    <a:pt x="224155" y="160655"/>
                  </a:lnTo>
                  <a:lnTo>
                    <a:pt x="205105" y="144145"/>
                  </a:lnTo>
                  <a:lnTo>
                    <a:pt x="52705" y="16510"/>
                  </a:lnTo>
                  <a:lnTo>
                    <a:pt x="33020" y="0"/>
                  </a:lnTo>
                  <a:lnTo>
                    <a:pt x="0" y="38735"/>
                  </a:lnTo>
                  <a:lnTo>
                    <a:pt x="19685" y="55245"/>
                  </a:lnTo>
                  <a:lnTo>
                    <a:pt x="172085" y="183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344" name="Google Shape;344;p14"/>
            <p:cNvSpPr/>
            <p:nvPr/>
          </p:nvSpPr>
          <p:spPr>
            <a:xfrm>
              <a:off x="11187430" y="6464934"/>
              <a:ext cx="224154" cy="199390"/>
            </a:xfrm>
            <a:custGeom>
              <a:avLst/>
              <a:gdLst/>
              <a:ahLst/>
              <a:cxnLst/>
              <a:rect l="l" t="t" r="r" b="b"/>
              <a:pathLst>
                <a:path w="224154" h="199390" extrusionOk="0">
                  <a:moveTo>
                    <a:pt x="224155" y="160655"/>
                  </a:moveTo>
                  <a:lnTo>
                    <a:pt x="205105" y="144145"/>
                  </a:lnTo>
                  <a:lnTo>
                    <a:pt x="52705" y="16510"/>
                  </a:lnTo>
                  <a:lnTo>
                    <a:pt x="33020" y="0"/>
                  </a:lnTo>
                  <a:lnTo>
                    <a:pt x="0" y="38735"/>
                  </a:lnTo>
                  <a:lnTo>
                    <a:pt x="19685" y="55245"/>
                  </a:lnTo>
                  <a:lnTo>
                    <a:pt x="172085" y="183515"/>
                  </a:lnTo>
                  <a:lnTo>
                    <a:pt x="191770" y="19939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345" name="Google Shape;345;p14"/>
            <p:cNvSpPr/>
            <p:nvPr/>
          </p:nvSpPr>
          <p:spPr>
            <a:xfrm>
              <a:off x="11829415" y="6826884"/>
              <a:ext cx="62865" cy="31115"/>
            </a:xfrm>
            <a:custGeom>
              <a:avLst/>
              <a:gdLst/>
              <a:ahLst/>
              <a:cxnLst/>
              <a:rect l="l" t="t" r="r" b="b"/>
              <a:pathLst>
                <a:path w="62865" h="31115" extrusionOk="0">
                  <a:moveTo>
                    <a:pt x="26035" y="0"/>
                  </a:moveTo>
                  <a:lnTo>
                    <a:pt x="0" y="31115"/>
                  </a:lnTo>
                  <a:lnTo>
                    <a:pt x="62865" y="31115"/>
                  </a:lnTo>
                  <a:lnTo>
                    <a:pt x="45720" y="1651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346" name="Google Shape;346;p14"/>
            <p:cNvSpPr/>
            <p:nvPr/>
          </p:nvSpPr>
          <p:spPr>
            <a:xfrm>
              <a:off x="218440" y="0"/>
              <a:ext cx="201294" cy="157479"/>
            </a:xfrm>
            <a:custGeom>
              <a:avLst/>
              <a:gdLst/>
              <a:ahLst/>
              <a:cxnLst/>
              <a:rect l="l" t="t" r="r" b="b"/>
              <a:pathLst>
                <a:path w="201294" h="157479" extrusionOk="0">
                  <a:moveTo>
                    <a:pt x="166370" y="157480"/>
                  </a:moveTo>
                  <a:lnTo>
                    <a:pt x="201295" y="120650"/>
                  </a:lnTo>
                  <a:lnTo>
                    <a:pt x="182880" y="103505"/>
                  </a:lnTo>
                  <a:lnTo>
                    <a:pt x="74295" y="0"/>
                  </a:lnTo>
                  <a:lnTo>
                    <a:pt x="0" y="0"/>
                  </a:lnTo>
                  <a:lnTo>
                    <a:pt x="147955" y="14033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347" name="Google Shape;347;p14"/>
            <p:cNvSpPr/>
            <p:nvPr/>
          </p:nvSpPr>
          <p:spPr>
            <a:xfrm>
              <a:off x="830580" y="303529"/>
              <a:ext cx="224155" cy="215900"/>
            </a:xfrm>
            <a:custGeom>
              <a:avLst/>
              <a:gdLst/>
              <a:ahLst/>
              <a:cxnLst/>
              <a:rect l="l" t="t" r="r" b="b"/>
              <a:pathLst>
                <a:path w="224155" h="215900" extrusionOk="0">
                  <a:moveTo>
                    <a:pt x="18415" y="54610"/>
                  </a:moveTo>
                  <a:lnTo>
                    <a:pt x="170815" y="198755"/>
                  </a:lnTo>
                  <a:lnTo>
                    <a:pt x="189230" y="215900"/>
                  </a:lnTo>
                  <a:lnTo>
                    <a:pt x="224155" y="179070"/>
                  </a:lnTo>
                  <a:lnTo>
                    <a:pt x="205740" y="161925"/>
                  </a:lnTo>
                  <a:lnTo>
                    <a:pt x="53340" y="17145"/>
                  </a:lnTo>
                  <a:lnTo>
                    <a:pt x="34925" y="0"/>
                  </a:lnTo>
                  <a:lnTo>
                    <a:pt x="0" y="3683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348" name="Google Shape;348;p14"/>
            <p:cNvSpPr/>
            <p:nvPr/>
          </p:nvSpPr>
          <p:spPr>
            <a:xfrm>
              <a:off x="1465580" y="665480"/>
              <a:ext cx="224155" cy="215900"/>
            </a:xfrm>
            <a:custGeom>
              <a:avLst/>
              <a:gdLst/>
              <a:ahLst/>
              <a:cxnLst/>
              <a:rect l="l" t="t" r="r" b="b"/>
              <a:pathLst>
                <a:path w="224155" h="215900" extrusionOk="0">
                  <a:moveTo>
                    <a:pt x="53340" y="17145"/>
                  </a:moveTo>
                  <a:lnTo>
                    <a:pt x="34925" y="0"/>
                  </a:lnTo>
                  <a:lnTo>
                    <a:pt x="0" y="36830"/>
                  </a:lnTo>
                  <a:lnTo>
                    <a:pt x="18415" y="54610"/>
                  </a:lnTo>
                  <a:lnTo>
                    <a:pt x="170815" y="198755"/>
                  </a:lnTo>
                  <a:lnTo>
                    <a:pt x="189230" y="215900"/>
                  </a:lnTo>
                  <a:lnTo>
                    <a:pt x="224155" y="179070"/>
                  </a:lnTo>
                  <a:lnTo>
                    <a:pt x="205740" y="16192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349" name="Google Shape;349;p14"/>
            <p:cNvSpPr/>
            <p:nvPr/>
          </p:nvSpPr>
          <p:spPr>
            <a:xfrm>
              <a:off x="2100579" y="1027430"/>
              <a:ext cx="224155" cy="215900"/>
            </a:xfrm>
            <a:custGeom>
              <a:avLst/>
              <a:gdLst/>
              <a:ahLst/>
              <a:cxnLst/>
              <a:rect l="l" t="t" r="r" b="b"/>
              <a:pathLst>
                <a:path w="224155" h="215900" extrusionOk="0">
                  <a:moveTo>
                    <a:pt x="53340" y="17145"/>
                  </a:moveTo>
                  <a:lnTo>
                    <a:pt x="34925" y="0"/>
                  </a:lnTo>
                  <a:lnTo>
                    <a:pt x="0" y="36830"/>
                  </a:lnTo>
                  <a:lnTo>
                    <a:pt x="18415" y="54610"/>
                  </a:lnTo>
                  <a:lnTo>
                    <a:pt x="170815" y="198755"/>
                  </a:lnTo>
                  <a:lnTo>
                    <a:pt x="189230" y="215900"/>
                  </a:lnTo>
                  <a:lnTo>
                    <a:pt x="224155" y="179070"/>
                  </a:lnTo>
                  <a:lnTo>
                    <a:pt x="205740" y="16192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350" name="Google Shape;350;p14"/>
            <p:cNvSpPr/>
            <p:nvPr/>
          </p:nvSpPr>
          <p:spPr>
            <a:xfrm>
              <a:off x="2735579" y="1389380"/>
              <a:ext cx="224155" cy="215900"/>
            </a:xfrm>
            <a:custGeom>
              <a:avLst/>
              <a:gdLst/>
              <a:ahLst/>
              <a:cxnLst/>
              <a:rect l="l" t="t" r="r" b="b"/>
              <a:pathLst>
                <a:path w="224155" h="215900" extrusionOk="0">
                  <a:moveTo>
                    <a:pt x="34925" y="0"/>
                  </a:moveTo>
                  <a:lnTo>
                    <a:pt x="0" y="36830"/>
                  </a:lnTo>
                  <a:lnTo>
                    <a:pt x="18415" y="54610"/>
                  </a:lnTo>
                  <a:lnTo>
                    <a:pt x="170815" y="198755"/>
                  </a:lnTo>
                  <a:lnTo>
                    <a:pt x="189230" y="215900"/>
                  </a:lnTo>
                  <a:lnTo>
                    <a:pt x="224155" y="179070"/>
                  </a:lnTo>
                  <a:lnTo>
                    <a:pt x="205740" y="161925"/>
                  </a:lnTo>
                  <a:lnTo>
                    <a:pt x="53340" y="1714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351" name="Google Shape;351;p14"/>
            <p:cNvSpPr/>
            <p:nvPr/>
          </p:nvSpPr>
          <p:spPr>
            <a:xfrm>
              <a:off x="3370579" y="1751329"/>
              <a:ext cx="224154" cy="215900"/>
            </a:xfrm>
            <a:custGeom>
              <a:avLst/>
              <a:gdLst/>
              <a:ahLst/>
              <a:cxnLst/>
              <a:rect l="l" t="t" r="r" b="b"/>
              <a:pathLst>
                <a:path w="224154" h="215900" extrusionOk="0">
                  <a:moveTo>
                    <a:pt x="34925" y="0"/>
                  </a:moveTo>
                  <a:lnTo>
                    <a:pt x="0" y="36830"/>
                  </a:lnTo>
                  <a:lnTo>
                    <a:pt x="18415" y="54610"/>
                  </a:lnTo>
                  <a:lnTo>
                    <a:pt x="170815" y="198755"/>
                  </a:lnTo>
                  <a:lnTo>
                    <a:pt x="189230" y="215900"/>
                  </a:lnTo>
                  <a:lnTo>
                    <a:pt x="224155" y="179070"/>
                  </a:lnTo>
                  <a:lnTo>
                    <a:pt x="205740" y="161925"/>
                  </a:lnTo>
                  <a:lnTo>
                    <a:pt x="53340" y="1714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352" name="Google Shape;352;p14"/>
            <p:cNvSpPr/>
            <p:nvPr/>
          </p:nvSpPr>
          <p:spPr>
            <a:xfrm>
              <a:off x="4005579" y="2113279"/>
              <a:ext cx="224154" cy="215900"/>
            </a:xfrm>
            <a:custGeom>
              <a:avLst/>
              <a:gdLst/>
              <a:ahLst/>
              <a:cxnLst/>
              <a:rect l="l" t="t" r="r" b="b"/>
              <a:pathLst>
                <a:path w="224154" h="215900" extrusionOk="0">
                  <a:moveTo>
                    <a:pt x="34925" y="0"/>
                  </a:moveTo>
                  <a:lnTo>
                    <a:pt x="0" y="36830"/>
                  </a:lnTo>
                  <a:lnTo>
                    <a:pt x="18415" y="54610"/>
                  </a:lnTo>
                  <a:lnTo>
                    <a:pt x="170815" y="198755"/>
                  </a:lnTo>
                  <a:lnTo>
                    <a:pt x="189230" y="215900"/>
                  </a:lnTo>
                  <a:lnTo>
                    <a:pt x="224155" y="179070"/>
                  </a:lnTo>
                  <a:lnTo>
                    <a:pt x="205740" y="161925"/>
                  </a:lnTo>
                  <a:lnTo>
                    <a:pt x="53340" y="1714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353" name="Google Shape;353;p14"/>
            <p:cNvSpPr/>
            <p:nvPr/>
          </p:nvSpPr>
          <p:spPr>
            <a:xfrm>
              <a:off x="4640579" y="2475229"/>
              <a:ext cx="224154" cy="215900"/>
            </a:xfrm>
            <a:custGeom>
              <a:avLst/>
              <a:gdLst/>
              <a:ahLst/>
              <a:cxnLst/>
              <a:rect l="l" t="t" r="r" b="b"/>
              <a:pathLst>
                <a:path w="224154" h="215900" extrusionOk="0">
                  <a:moveTo>
                    <a:pt x="34925" y="0"/>
                  </a:moveTo>
                  <a:lnTo>
                    <a:pt x="0" y="36830"/>
                  </a:lnTo>
                  <a:lnTo>
                    <a:pt x="18415" y="54610"/>
                  </a:lnTo>
                  <a:lnTo>
                    <a:pt x="170815" y="198755"/>
                  </a:lnTo>
                  <a:lnTo>
                    <a:pt x="189230" y="215900"/>
                  </a:lnTo>
                  <a:lnTo>
                    <a:pt x="224155" y="179070"/>
                  </a:lnTo>
                  <a:lnTo>
                    <a:pt x="205740" y="161925"/>
                  </a:lnTo>
                  <a:lnTo>
                    <a:pt x="53340" y="1714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354" name="Google Shape;354;p14"/>
            <p:cNvSpPr/>
            <p:nvPr/>
          </p:nvSpPr>
          <p:spPr>
            <a:xfrm>
              <a:off x="5275579" y="2837179"/>
              <a:ext cx="224154" cy="215900"/>
            </a:xfrm>
            <a:custGeom>
              <a:avLst/>
              <a:gdLst/>
              <a:ahLst/>
              <a:cxnLst/>
              <a:rect l="l" t="t" r="r" b="b"/>
              <a:pathLst>
                <a:path w="224154" h="215900" extrusionOk="0">
                  <a:moveTo>
                    <a:pt x="34925" y="0"/>
                  </a:moveTo>
                  <a:lnTo>
                    <a:pt x="0" y="36830"/>
                  </a:lnTo>
                  <a:lnTo>
                    <a:pt x="18415" y="54610"/>
                  </a:lnTo>
                  <a:lnTo>
                    <a:pt x="170815" y="198755"/>
                  </a:lnTo>
                  <a:lnTo>
                    <a:pt x="189230" y="215900"/>
                  </a:lnTo>
                  <a:lnTo>
                    <a:pt x="224155" y="179070"/>
                  </a:lnTo>
                  <a:lnTo>
                    <a:pt x="205740" y="161925"/>
                  </a:lnTo>
                  <a:lnTo>
                    <a:pt x="53340" y="1714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355" name="Google Shape;355;p14"/>
            <p:cNvSpPr/>
            <p:nvPr/>
          </p:nvSpPr>
          <p:spPr>
            <a:xfrm>
              <a:off x="5910579" y="3199129"/>
              <a:ext cx="224154" cy="215900"/>
            </a:xfrm>
            <a:custGeom>
              <a:avLst/>
              <a:gdLst/>
              <a:ahLst/>
              <a:cxnLst/>
              <a:rect l="l" t="t" r="r" b="b"/>
              <a:pathLst>
                <a:path w="224154" h="215900" extrusionOk="0">
                  <a:moveTo>
                    <a:pt x="34925" y="0"/>
                  </a:moveTo>
                  <a:lnTo>
                    <a:pt x="0" y="36830"/>
                  </a:lnTo>
                  <a:lnTo>
                    <a:pt x="18415" y="54610"/>
                  </a:lnTo>
                  <a:lnTo>
                    <a:pt x="170815" y="198755"/>
                  </a:lnTo>
                  <a:lnTo>
                    <a:pt x="189230" y="215900"/>
                  </a:lnTo>
                  <a:lnTo>
                    <a:pt x="224155" y="179070"/>
                  </a:lnTo>
                  <a:lnTo>
                    <a:pt x="205740" y="161925"/>
                  </a:lnTo>
                  <a:lnTo>
                    <a:pt x="53340" y="1714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356" name="Google Shape;356;p14"/>
            <p:cNvSpPr/>
            <p:nvPr/>
          </p:nvSpPr>
          <p:spPr>
            <a:xfrm>
              <a:off x="6545580" y="3561079"/>
              <a:ext cx="224154" cy="215900"/>
            </a:xfrm>
            <a:custGeom>
              <a:avLst/>
              <a:gdLst/>
              <a:ahLst/>
              <a:cxnLst/>
              <a:rect l="l" t="t" r="r" b="b"/>
              <a:pathLst>
                <a:path w="224154" h="215900" extrusionOk="0">
                  <a:moveTo>
                    <a:pt x="34925" y="0"/>
                  </a:moveTo>
                  <a:lnTo>
                    <a:pt x="0" y="36830"/>
                  </a:lnTo>
                  <a:lnTo>
                    <a:pt x="18414" y="54610"/>
                  </a:lnTo>
                  <a:lnTo>
                    <a:pt x="170814" y="198755"/>
                  </a:lnTo>
                  <a:lnTo>
                    <a:pt x="189230" y="215900"/>
                  </a:lnTo>
                  <a:lnTo>
                    <a:pt x="224155" y="179070"/>
                  </a:lnTo>
                  <a:lnTo>
                    <a:pt x="205739" y="161925"/>
                  </a:lnTo>
                  <a:lnTo>
                    <a:pt x="53339" y="1714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357" name="Google Shape;357;p14"/>
            <p:cNvSpPr/>
            <p:nvPr/>
          </p:nvSpPr>
          <p:spPr>
            <a:xfrm>
              <a:off x="7180580" y="3923029"/>
              <a:ext cx="224154" cy="215900"/>
            </a:xfrm>
            <a:custGeom>
              <a:avLst/>
              <a:gdLst/>
              <a:ahLst/>
              <a:cxnLst/>
              <a:rect l="l" t="t" r="r" b="b"/>
              <a:pathLst>
                <a:path w="224154" h="215900" extrusionOk="0">
                  <a:moveTo>
                    <a:pt x="170814" y="198755"/>
                  </a:moveTo>
                  <a:lnTo>
                    <a:pt x="189230" y="215900"/>
                  </a:lnTo>
                  <a:lnTo>
                    <a:pt x="224155" y="179070"/>
                  </a:lnTo>
                  <a:lnTo>
                    <a:pt x="205739" y="161925"/>
                  </a:lnTo>
                  <a:lnTo>
                    <a:pt x="53339" y="17145"/>
                  </a:lnTo>
                  <a:lnTo>
                    <a:pt x="34925" y="0"/>
                  </a:lnTo>
                  <a:lnTo>
                    <a:pt x="0" y="36830"/>
                  </a:lnTo>
                  <a:lnTo>
                    <a:pt x="18414" y="5461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358" name="Google Shape;358;p14"/>
            <p:cNvSpPr/>
            <p:nvPr/>
          </p:nvSpPr>
          <p:spPr>
            <a:xfrm>
              <a:off x="7815580" y="4284979"/>
              <a:ext cx="224154" cy="215900"/>
            </a:xfrm>
            <a:custGeom>
              <a:avLst/>
              <a:gdLst/>
              <a:ahLst/>
              <a:cxnLst/>
              <a:rect l="l" t="t" r="r" b="b"/>
              <a:pathLst>
                <a:path w="224154" h="215900" extrusionOk="0">
                  <a:moveTo>
                    <a:pt x="170814" y="198755"/>
                  </a:moveTo>
                  <a:lnTo>
                    <a:pt x="189230" y="215900"/>
                  </a:lnTo>
                  <a:lnTo>
                    <a:pt x="224155" y="179070"/>
                  </a:lnTo>
                  <a:lnTo>
                    <a:pt x="205739" y="161925"/>
                  </a:lnTo>
                  <a:lnTo>
                    <a:pt x="53339" y="17145"/>
                  </a:lnTo>
                  <a:lnTo>
                    <a:pt x="34925" y="0"/>
                  </a:lnTo>
                  <a:lnTo>
                    <a:pt x="0" y="36830"/>
                  </a:lnTo>
                  <a:lnTo>
                    <a:pt x="18414" y="5461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359" name="Google Shape;359;p14"/>
            <p:cNvSpPr/>
            <p:nvPr/>
          </p:nvSpPr>
          <p:spPr>
            <a:xfrm>
              <a:off x="8450580" y="4646929"/>
              <a:ext cx="224154" cy="215900"/>
            </a:xfrm>
            <a:custGeom>
              <a:avLst/>
              <a:gdLst/>
              <a:ahLst/>
              <a:cxnLst/>
              <a:rect l="l" t="t" r="r" b="b"/>
              <a:pathLst>
                <a:path w="224154" h="215900" extrusionOk="0">
                  <a:moveTo>
                    <a:pt x="170814" y="198755"/>
                  </a:moveTo>
                  <a:lnTo>
                    <a:pt x="189230" y="215900"/>
                  </a:lnTo>
                  <a:lnTo>
                    <a:pt x="224155" y="179070"/>
                  </a:lnTo>
                  <a:lnTo>
                    <a:pt x="205739" y="161925"/>
                  </a:lnTo>
                  <a:lnTo>
                    <a:pt x="53339" y="17145"/>
                  </a:lnTo>
                  <a:lnTo>
                    <a:pt x="34925" y="0"/>
                  </a:lnTo>
                  <a:lnTo>
                    <a:pt x="0" y="36830"/>
                  </a:lnTo>
                  <a:lnTo>
                    <a:pt x="18414" y="5461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360" name="Google Shape;360;p14"/>
            <p:cNvSpPr/>
            <p:nvPr/>
          </p:nvSpPr>
          <p:spPr>
            <a:xfrm>
              <a:off x="9085580" y="5008879"/>
              <a:ext cx="224154" cy="215900"/>
            </a:xfrm>
            <a:custGeom>
              <a:avLst/>
              <a:gdLst/>
              <a:ahLst/>
              <a:cxnLst/>
              <a:rect l="l" t="t" r="r" b="b"/>
              <a:pathLst>
                <a:path w="224154" h="215900" extrusionOk="0">
                  <a:moveTo>
                    <a:pt x="170814" y="198755"/>
                  </a:moveTo>
                  <a:lnTo>
                    <a:pt x="189230" y="215900"/>
                  </a:lnTo>
                  <a:lnTo>
                    <a:pt x="224155" y="179070"/>
                  </a:lnTo>
                  <a:lnTo>
                    <a:pt x="205739" y="161925"/>
                  </a:lnTo>
                  <a:lnTo>
                    <a:pt x="53339" y="17145"/>
                  </a:lnTo>
                  <a:lnTo>
                    <a:pt x="34925" y="0"/>
                  </a:lnTo>
                  <a:lnTo>
                    <a:pt x="0" y="36830"/>
                  </a:lnTo>
                  <a:lnTo>
                    <a:pt x="18414" y="5461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361" name="Google Shape;361;p14"/>
            <p:cNvSpPr/>
            <p:nvPr/>
          </p:nvSpPr>
          <p:spPr>
            <a:xfrm>
              <a:off x="9720580" y="5370829"/>
              <a:ext cx="224154" cy="215900"/>
            </a:xfrm>
            <a:custGeom>
              <a:avLst/>
              <a:gdLst/>
              <a:ahLst/>
              <a:cxnLst/>
              <a:rect l="l" t="t" r="r" b="b"/>
              <a:pathLst>
                <a:path w="224154" h="215900" extrusionOk="0">
                  <a:moveTo>
                    <a:pt x="205739" y="161925"/>
                  </a:moveTo>
                  <a:lnTo>
                    <a:pt x="53339" y="17145"/>
                  </a:lnTo>
                  <a:lnTo>
                    <a:pt x="34925" y="0"/>
                  </a:lnTo>
                  <a:lnTo>
                    <a:pt x="0" y="36830"/>
                  </a:lnTo>
                  <a:lnTo>
                    <a:pt x="18414" y="54610"/>
                  </a:lnTo>
                  <a:lnTo>
                    <a:pt x="170814" y="198755"/>
                  </a:lnTo>
                  <a:lnTo>
                    <a:pt x="189230" y="215900"/>
                  </a:lnTo>
                  <a:lnTo>
                    <a:pt x="224155" y="17907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362" name="Google Shape;362;p14"/>
            <p:cNvSpPr/>
            <p:nvPr/>
          </p:nvSpPr>
          <p:spPr>
            <a:xfrm>
              <a:off x="10355580" y="5732779"/>
              <a:ext cx="224154" cy="215900"/>
            </a:xfrm>
            <a:custGeom>
              <a:avLst/>
              <a:gdLst/>
              <a:ahLst/>
              <a:cxnLst/>
              <a:rect l="l" t="t" r="r" b="b"/>
              <a:pathLst>
                <a:path w="224154" h="215900" extrusionOk="0">
                  <a:moveTo>
                    <a:pt x="205739" y="161925"/>
                  </a:moveTo>
                  <a:lnTo>
                    <a:pt x="53339" y="17145"/>
                  </a:lnTo>
                  <a:lnTo>
                    <a:pt x="34925" y="0"/>
                  </a:lnTo>
                  <a:lnTo>
                    <a:pt x="0" y="36830"/>
                  </a:lnTo>
                  <a:lnTo>
                    <a:pt x="18414" y="54610"/>
                  </a:lnTo>
                  <a:lnTo>
                    <a:pt x="170814" y="198755"/>
                  </a:lnTo>
                  <a:lnTo>
                    <a:pt x="189230" y="215900"/>
                  </a:lnTo>
                  <a:lnTo>
                    <a:pt x="224155" y="17907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363" name="Google Shape;363;p14"/>
            <p:cNvSpPr/>
            <p:nvPr/>
          </p:nvSpPr>
          <p:spPr>
            <a:xfrm>
              <a:off x="10990580" y="6094729"/>
              <a:ext cx="224154" cy="215900"/>
            </a:xfrm>
            <a:custGeom>
              <a:avLst/>
              <a:gdLst/>
              <a:ahLst/>
              <a:cxnLst/>
              <a:rect l="l" t="t" r="r" b="b"/>
              <a:pathLst>
                <a:path w="224154" h="215900" extrusionOk="0">
                  <a:moveTo>
                    <a:pt x="205739" y="161925"/>
                  </a:moveTo>
                  <a:lnTo>
                    <a:pt x="53339" y="17145"/>
                  </a:lnTo>
                  <a:lnTo>
                    <a:pt x="34925" y="0"/>
                  </a:lnTo>
                  <a:lnTo>
                    <a:pt x="0" y="36830"/>
                  </a:lnTo>
                  <a:lnTo>
                    <a:pt x="18414" y="54610"/>
                  </a:lnTo>
                  <a:lnTo>
                    <a:pt x="170814" y="198755"/>
                  </a:lnTo>
                  <a:lnTo>
                    <a:pt x="189230" y="215900"/>
                  </a:lnTo>
                  <a:lnTo>
                    <a:pt x="224155" y="17907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364" name="Google Shape;364;p14"/>
            <p:cNvSpPr/>
            <p:nvPr/>
          </p:nvSpPr>
          <p:spPr>
            <a:xfrm>
              <a:off x="11625580" y="6456679"/>
              <a:ext cx="224154" cy="215900"/>
            </a:xfrm>
            <a:custGeom>
              <a:avLst/>
              <a:gdLst/>
              <a:ahLst/>
              <a:cxnLst/>
              <a:rect l="l" t="t" r="r" b="b"/>
              <a:pathLst>
                <a:path w="224154" h="215900" extrusionOk="0">
                  <a:moveTo>
                    <a:pt x="205739" y="161925"/>
                  </a:moveTo>
                  <a:lnTo>
                    <a:pt x="53339" y="17145"/>
                  </a:lnTo>
                  <a:lnTo>
                    <a:pt x="34925" y="0"/>
                  </a:lnTo>
                  <a:lnTo>
                    <a:pt x="0" y="36830"/>
                  </a:lnTo>
                  <a:lnTo>
                    <a:pt x="18414" y="54610"/>
                  </a:lnTo>
                  <a:lnTo>
                    <a:pt x="170814" y="198755"/>
                  </a:lnTo>
                  <a:lnTo>
                    <a:pt x="189230" y="215900"/>
                  </a:lnTo>
                  <a:lnTo>
                    <a:pt x="224155" y="17907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365" name="Google Shape;365;p14"/>
            <p:cNvSpPr/>
            <p:nvPr/>
          </p:nvSpPr>
          <p:spPr>
            <a:xfrm>
              <a:off x="642619" y="0"/>
              <a:ext cx="196850" cy="162560"/>
            </a:xfrm>
            <a:custGeom>
              <a:avLst/>
              <a:gdLst/>
              <a:ahLst/>
              <a:cxnLst/>
              <a:rect l="l" t="t" r="r" b="b"/>
              <a:pathLst>
                <a:path w="196850" h="162560" extrusionOk="0">
                  <a:moveTo>
                    <a:pt x="160655" y="162560"/>
                  </a:moveTo>
                  <a:lnTo>
                    <a:pt x="196850" y="127000"/>
                  </a:lnTo>
                  <a:lnTo>
                    <a:pt x="178435" y="109220"/>
                  </a:lnTo>
                  <a:lnTo>
                    <a:pt x="71120" y="0"/>
                  </a:lnTo>
                  <a:lnTo>
                    <a:pt x="0" y="0"/>
                  </a:lnTo>
                  <a:lnTo>
                    <a:pt x="142875" y="1447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366" name="Google Shape;366;p14"/>
            <p:cNvSpPr/>
            <p:nvPr/>
          </p:nvSpPr>
          <p:spPr>
            <a:xfrm>
              <a:off x="1249680" y="298450"/>
              <a:ext cx="224789" cy="226059"/>
            </a:xfrm>
            <a:custGeom>
              <a:avLst/>
              <a:gdLst/>
              <a:ahLst/>
              <a:cxnLst/>
              <a:rect l="l" t="t" r="r" b="b"/>
              <a:pathLst>
                <a:path w="224789" h="226059" extrusionOk="0">
                  <a:moveTo>
                    <a:pt x="170815" y="208280"/>
                  </a:moveTo>
                  <a:lnTo>
                    <a:pt x="188595" y="226060"/>
                  </a:lnTo>
                  <a:lnTo>
                    <a:pt x="224790" y="190500"/>
                  </a:lnTo>
                  <a:lnTo>
                    <a:pt x="206375" y="172720"/>
                  </a:lnTo>
                  <a:lnTo>
                    <a:pt x="53975" y="17780"/>
                  </a:lnTo>
                  <a:lnTo>
                    <a:pt x="36195" y="0"/>
                  </a:lnTo>
                  <a:lnTo>
                    <a:pt x="0" y="35560"/>
                  </a:lnTo>
                  <a:lnTo>
                    <a:pt x="18415" y="5397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367" name="Google Shape;367;p14"/>
            <p:cNvSpPr/>
            <p:nvPr/>
          </p:nvSpPr>
          <p:spPr>
            <a:xfrm>
              <a:off x="1884679" y="660400"/>
              <a:ext cx="224790" cy="226060"/>
            </a:xfrm>
            <a:custGeom>
              <a:avLst/>
              <a:gdLst/>
              <a:ahLst/>
              <a:cxnLst/>
              <a:rect l="l" t="t" r="r" b="b"/>
              <a:pathLst>
                <a:path w="224790" h="226060" extrusionOk="0">
                  <a:moveTo>
                    <a:pt x="53975" y="17780"/>
                  </a:moveTo>
                  <a:lnTo>
                    <a:pt x="36195" y="0"/>
                  </a:lnTo>
                  <a:lnTo>
                    <a:pt x="0" y="35560"/>
                  </a:lnTo>
                  <a:lnTo>
                    <a:pt x="18415" y="53975"/>
                  </a:lnTo>
                  <a:lnTo>
                    <a:pt x="170815" y="208280"/>
                  </a:lnTo>
                  <a:lnTo>
                    <a:pt x="188595" y="226060"/>
                  </a:lnTo>
                  <a:lnTo>
                    <a:pt x="224790" y="190500"/>
                  </a:lnTo>
                  <a:lnTo>
                    <a:pt x="206375" y="17272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368" name="Google Shape;368;p14"/>
            <p:cNvSpPr/>
            <p:nvPr/>
          </p:nvSpPr>
          <p:spPr>
            <a:xfrm>
              <a:off x="2519679" y="1022350"/>
              <a:ext cx="224790" cy="226060"/>
            </a:xfrm>
            <a:custGeom>
              <a:avLst/>
              <a:gdLst/>
              <a:ahLst/>
              <a:cxnLst/>
              <a:rect l="l" t="t" r="r" b="b"/>
              <a:pathLst>
                <a:path w="224790" h="226060" extrusionOk="0">
                  <a:moveTo>
                    <a:pt x="36195" y="0"/>
                  </a:moveTo>
                  <a:lnTo>
                    <a:pt x="0" y="35560"/>
                  </a:lnTo>
                  <a:lnTo>
                    <a:pt x="18415" y="53975"/>
                  </a:lnTo>
                  <a:lnTo>
                    <a:pt x="170815" y="208280"/>
                  </a:lnTo>
                  <a:lnTo>
                    <a:pt x="188595" y="226060"/>
                  </a:lnTo>
                  <a:lnTo>
                    <a:pt x="224790" y="190500"/>
                  </a:lnTo>
                  <a:lnTo>
                    <a:pt x="206375" y="172720"/>
                  </a:lnTo>
                  <a:lnTo>
                    <a:pt x="53975" y="177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369" name="Google Shape;369;p14"/>
            <p:cNvSpPr/>
            <p:nvPr/>
          </p:nvSpPr>
          <p:spPr>
            <a:xfrm>
              <a:off x="3154679" y="1384300"/>
              <a:ext cx="224790" cy="226060"/>
            </a:xfrm>
            <a:custGeom>
              <a:avLst/>
              <a:gdLst/>
              <a:ahLst/>
              <a:cxnLst/>
              <a:rect l="l" t="t" r="r" b="b"/>
              <a:pathLst>
                <a:path w="224790" h="226060" extrusionOk="0">
                  <a:moveTo>
                    <a:pt x="36195" y="0"/>
                  </a:moveTo>
                  <a:lnTo>
                    <a:pt x="0" y="35560"/>
                  </a:lnTo>
                  <a:lnTo>
                    <a:pt x="18415" y="53975"/>
                  </a:lnTo>
                  <a:lnTo>
                    <a:pt x="170815" y="208280"/>
                  </a:lnTo>
                  <a:lnTo>
                    <a:pt x="188595" y="226060"/>
                  </a:lnTo>
                  <a:lnTo>
                    <a:pt x="224790" y="190500"/>
                  </a:lnTo>
                  <a:lnTo>
                    <a:pt x="206375" y="172720"/>
                  </a:lnTo>
                  <a:lnTo>
                    <a:pt x="53975" y="177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370" name="Google Shape;370;p14"/>
            <p:cNvSpPr/>
            <p:nvPr/>
          </p:nvSpPr>
          <p:spPr>
            <a:xfrm>
              <a:off x="3789679" y="1746250"/>
              <a:ext cx="224790" cy="226060"/>
            </a:xfrm>
            <a:custGeom>
              <a:avLst/>
              <a:gdLst/>
              <a:ahLst/>
              <a:cxnLst/>
              <a:rect l="l" t="t" r="r" b="b"/>
              <a:pathLst>
                <a:path w="224790" h="226060" extrusionOk="0">
                  <a:moveTo>
                    <a:pt x="206375" y="172720"/>
                  </a:moveTo>
                  <a:lnTo>
                    <a:pt x="53975" y="17780"/>
                  </a:lnTo>
                  <a:lnTo>
                    <a:pt x="36195" y="0"/>
                  </a:lnTo>
                  <a:lnTo>
                    <a:pt x="0" y="35560"/>
                  </a:lnTo>
                  <a:lnTo>
                    <a:pt x="18415" y="53975"/>
                  </a:lnTo>
                  <a:lnTo>
                    <a:pt x="170815" y="208280"/>
                  </a:lnTo>
                  <a:lnTo>
                    <a:pt x="188595" y="226060"/>
                  </a:lnTo>
                  <a:lnTo>
                    <a:pt x="224790" y="19050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371" name="Google Shape;371;p14"/>
            <p:cNvSpPr/>
            <p:nvPr/>
          </p:nvSpPr>
          <p:spPr>
            <a:xfrm>
              <a:off x="4424679" y="2108200"/>
              <a:ext cx="224790" cy="226060"/>
            </a:xfrm>
            <a:custGeom>
              <a:avLst/>
              <a:gdLst/>
              <a:ahLst/>
              <a:cxnLst/>
              <a:rect l="l" t="t" r="r" b="b"/>
              <a:pathLst>
                <a:path w="224790" h="226060" extrusionOk="0">
                  <a:moveTo>
                    <a:pt x="53975" y="17780"/>
                  </a:moveTo>
                  <a:lnTo>
                    <a:pt x="36195" y="0"/>
                  </a:lnTo>
                  <a:lnTo>
                    <a:pt x="0" y="35560"/>
                  </a:lnTo>
                  <a:lnTo>
                    <a:pt x="18415" y="53975"/>
                  </a:lnTo>
                  <a:lnTo>
                    <a:pt x="170815" y="208280"/>
                  </a:lnTo>
                  <a:lnTo>
                    <a:pt x="188595" y="226060"/>
                  </a:lnTo>
                  <a:lnTo>
                    <a:pt x="224790" y="190500"/>
                  </a:lnTo>
                  <a:lnTo>
                    <a:pt x="206375" y="17272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372" name="Google Shape;372;p14"/>
            <p:cNvSpPr/>
            <p:nvPr/>
          </p:nvSpPr>
          <p:spPr>
            <a:xfrm>
              <a:off x="5059679" y="2470150"/>
              <a:ext cx="224790" cy="226060"/>
            </a:xfrm>
            <a:custGeom>
              <a:avLst/>
              <a:gdLst/>
              <a:ahLst/>
              <a:cxnLst/>
              <a:rect l="l" t="t" r="r" b="b"/>
              <a:pathLst>
                <a:path w="224790" h="226060" extrusionOk="0">
                  <a:moveTo>
                    <a:pt x="53975" y="17780"/>
                  </a:moveTo>
                  <a:lnTo>
                    <a:pt x="36195" y="0"/>
                  </a:lnTo>
                  <a:lnTo>
                    <a:pt x="0" y="35560"/>
                  </a:lnTo>
                  <a:lnTo>
                    <a:pt x="18415" y="53975"/>
                  </a:lnTo>
                  <a:lnTo>
                    <a:pt x="170815" y="208280"/>
                  </a:lnTo>
                  <a:lnTo>
                    <a:pt x="188595" y="226060"/>
                  </a:lnTo>
                  <a:lnTo>
                    <a:pt x="224790" y="190500"/>
                  </a:lnTo>
                  <a:lnTo>
                    <a:pt x="206375" y="17272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373" name="Google Shape;373;p14"/>
            <p:cNvSpPr/>
            <p:nvPr/>
          </p:nvSpPr>
          <p:spPr>
            <a:xfrm>
              <a:off x="5694679" y="2832100"/>
              <a:ext cx="224790" cy="226060"/>
            </a:xfrm>
            <a:custGeom>
              <a:avLst/>
              <a:gdLst/>
              <a:ahLst/>
              <a:cxnLst/>
              <a:rect l="l" t="t" r="r" b="b"/>
              <a:pathLst>
                <a:path w="224790" h="226060" extrusionOk="0">
                  <a:moveTo>
                    <a:pt x="53975" y="17780"/>
                  </a:moveTo>
                  <a:lnTo>
                    <a:pt x="36195" y="0"/>
                  </a:lnTo>
                  <a:lnTo>
                    <a:pt x="0" y="35560"/>
                  </a:lnTo>
                  <a:lnTo>
                    <a:pt x="18415" y="53340"/>
                  </a:lnTo>
                  <a:lnTo>
                    <a:pt x="170815" y="208280"/>
                  </a:lnTo>
                  <a:lnTo>
                    <a:pt x="188595" y="226060"/>
                  </a:lnTo>
                  <a:lnTo>
                    <a:pt x="224790" y="190500"/>
                  </a:lnTo>
                  <a:lnTo>
                    <a:pt x="206375" y="17272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374" name="Google Shape;374;p14"/>
            <p:cNvSpPr/>
            <p:nvPr/>
          </p:nvSpPr>
          <p:spPr>
            <a:xfrm>
              <a:off x="6329679" y="3194050"/>
              <a:ext cx="224789" cy="226059"/>
            </a:xfrm>
            <a:custGeom>
              <a:avLst/>
              <a:gdLst/>
              <a:ahLst/>
              <a:cxnLst/>
              <a:rect l="l" t="t" r="r" b="b"/>
              <a:pathLst>
                <a:path w="224789" h="226059" extrusionOk="0">
                  <a:moveTo>
                    <a:pt x="170815" y="208280"/>
                  </a:moveTo>
                  <a:lnTo>
                    <a:pt x="188595" y="226060"/>
                  </a:lnTo>
                  <a:lnTo>
                    <a:pt x="224790" y="190500"/>
                  </a:lnTo>
                  <a:lnTo>
                    <a:pt x="206375" y="172720"/>
                  </a:lnTo>
                  <a:lnTo>
                    <a:pt x="53975" y="17780"/>
                  </a:lnTo>
                  <a:lnTo>
                    <a:pt x="36195" y="0"/>
                  </a:lnTo>
                  <a:lnTo>
                    <a:pt x="0" y="35560"/>
                  </a:lnTo>
                  <a:lnTo>
                    <a:pt x="18415" y="533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375" name="Google Shape;375;p14"/>
            <p:cNvSpPr/>
            <p:nvPr/>
          </p:nvSpPr>
          <p:spPr>
            <a:xfrm>
              <a:off x="6964680" y="3556000"/>
              <a:ext cx="224789" cy="226059"/>
            </a:xfrm>
            <a:custGeom>
              <a:avLst/>
              <a:gdLst/>
              <a:ahLst/>
              <a:cxnLst/>
              <a:rect l="l" t="t" r="r" b="b"/>
              <a:pathLst>
                <a:path w="224789" h="226059" extrusionOk="0">
                  <a:moveTo>
                    <a:pt x="170814" y="208280"/>
                  </a:moveTo>
                  <a:lnTo>
                    <a:pt x="188595" y="226060"/>
                  </a:lnTo>
                  <a:lnTo>
                    <a:pt x="224789" y="190500"/>
                  </a:lnTo>
                  <a:lnTo>
                    <a:pt x="206375" y="172720"/>
                  </a:lnTo>
                  <a:lnTo>
                    <a:pt x="53975" y="17780"/>
                  </a:lnTo>
                  <a:lnTo>
                    <a:pt x="36195" y="0"/>
                  </a:lnTo>
                  <a:lnTo>
                    <a:pt x="0" y="35560"/>
                  </a:lnTo>
                  <a:lnTo>
                    <a:pt x="18414" y="533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376" name="Google Shape;376;p14"/>
            <p:cNvSpPr/>
            <p:nvPr/>
          </p:nvSpPr>
          <p:spPr>
            <a:xfrm>
              <a:off x="7599680" y="3917950"/>
              <a:ext cx="224789" cy="226059"/>
            </a:xfrm>
            <a:custGeom>
              <a:avLst/>
              <a:gdLst/>
              <a:ahLst/>
              <a:cxnLst/>
              <a:rect l="l" t="t" r="r" b="b"/>
              <a:pathLst>
                <a:path w="224789" h="226059" extrusionOk="0">
                  <a:moveTo>
                    <a:pt x="170814" y="208280"/>
                  </a:moveTo>
                  <a:lnTo>
                    <a:pt x="188595" y="226060"/>
                  </a:lnTo>
                  <a:lnTo>
                    <a:pt x="224789" y="190500"/>
                  </a:lnTo>
                  <a:lnTo>
                    <a:pt x="206375" y="172720"/>
                  </a:lnTo>
                  <a:lnTo>
                    <a:pt x="53975" y="17780"/>
                  </a:lnTo>
                  <a:lnTo>
                    <a:pt x="36195" y="0"/>
                  </a:lnTo>
                  <a:lnTo>
                    <a:pt x="0" y="35560"/>
                  </a:lnTo>
                  <a:lnTo>
                    <a:pt x="18414" y="533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377" name="Google Shape;377;p14"/>
            <p:cNvSpPr/>
            <p:nvPr/>
          </p:nvSpPr>
          <p:spPr>
            <a:xfrm>
              <a:off x="8234680" y="4279900"/>
              <a:ext cx="224789" cy="226059"/>
            </a:xfrm>
            <a:custGeom>
              <a:avLst/>
              <a:gdLst/>
              <a:ahLst/>
              <a:cxnLst/>
              <a:rect l="l" t="t" r="r" b="b"/>
              <a:pathLst>
                <a:path w="224789" h="226059" extrusionOk="0">
                  <a:moveTo>
                    <a:pt x="170814" y="208280"/>
                  </a:moveTo>
                  <a:lnTo>
                    <a:pt x="188595" y="226060"/>
                  </a:lnTo>
                  <a:lnTo>
                    <a:pt x="224789" y="190500"/>
                  </a:lnTo>
                  <a:lnTo>
                    <a:pt x="206375" y="172720"/>
                  </a:lnTo>
                  <a:lnTo>
                    <a:pt x="53975" y="17780"/>
                  </a:lnTo>
                  <a:lnTo>
                    <a:pt x="36195" y="0"/>
                  </a:lnTo>
                  <a:lnTo>
                    <a:pt x="0" y="35560"/>
                  </a:lnTo>
                  <a:lnTo>
                    <a:pt x="18414" y="533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378" name="Google Shape;378;p14"/>
            <p:cNvSpPr/>
            <p:nvPr/>
          </p:nvSpPr>
          <p:spPr>
            <a:xfrm>
              <a:off x="8869680" y="4641850"/>
              <a:ext cx="224789" cy="226059"/>
            </a:xfrm>
            <a:custGeom>
              <a:avLst/>
              <a:gdLst/>
              <a:ahLst/>
              <a:cxnLst/>
              <a:rect l="l" t="t" r="r" b="b"/>
              <a:pathLst>
                <a:path w="224789" h="226059" extrusionOk="0">
                  <a:moveTo>
                    <a:pt x="170814" y="208280"/>
                  </a:moveTo>
                  <a:lnTo>
                    <a:pt x="188595" y="226060"/>
                  </a:lnTo>
                  <a:lnTo>
                    <a:pt x="224789" y="190500"/>
                  </a:lnTo>
                  <a:lnTo>
                    <a:pt x="206375" y="172720"/>
                  </a:lnTo>
                  <a:lnTo>
                    <a:pt x="53975" y="17780"/>
                  </a:lnTo>
                  <a:lnTo>
                    <a:pt x="36195" y="0"/>
                  </a:lnTo>
                  <a:lnTo>
                    <a:pt x="0" y="35560"/>
                  </a:lnTo>
                  <a:lnTo>
                    <a:pt x="18414" y="533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379" name="Google Shape;379;p14"/>
            <p:cNvSpPr/>
            <p:nvPr/>
          </p:nvSpPr>
          <p:spPr>
            <a:xfrm>
              <a:off x="9504680" y="5003800"/>
              <a:ext cx="224789" cy="226059"/>
            </a:xfrm>
            <a:custGeom>
              <a:avLst/>
              <a:gdLst/>
              <a:ahLst/>
              <a:cxnLst/>
              <a:rect l="l" t="t" r="r" b="b"/>
              <a:pathLst>
                <a:path w="224789" h="226059" extrusionOk="0">
                  <a:moveTo>
                    <a:pt x="170814" y="208280"/>
                  </a:moveTo>
                  <a:lnTo>
                    <a:pt x="188595" y="226060"/>
                  </a:lnTo>
                  <a:lnTo>
                    <a:pt x="224789" y="190500"/>
                  </a:lnTo>
                  <a:lnTo>
                    <a:pt x="206375" y="172720"/>
                  </a:lnTo>
                  <a:lnTo>
                    <a:pt x="53975" y="17780"/>
                  </a:lnTo>
                  <a:lnTo>
                    <a:pt x="36195" y="0"/>
                  </a:lnTo>
                  <a:lnTo>
                    <a:pt x="0" y="35560"/>
                  </a:lnTo>
                  <a:lnTo>
                    <a:pt x="18414" y="533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380" name="Google Shape;380;p14"/>
            <p:cNvSpPr/>
            <p:nvPr/>
          </p:nvSpPr>
          <p:spPr>
            <a:xfrm>
              <a:off x="10139680" y="5365750"/>
              <a:ext cx="224789" cy="226059"/>
            </a:xfrm>
            <a:custGeom>
              <a:avLst/>
              <a:gdLst/>
              <a:ahLst/>
              <a:cxnLst/>
              <a:rect l="l" t="t" r="r" b="b"/>
              <a:pathLst>
                <a:path w="224789" h="226059" extrusionOk="0">
                  <a:moveTo>
                    <a:pt x="170814" y="208280"/>
                  </a:moveTo>
                  <a:lnTo>
                    <a:pt x="188595" y="226060"/>
                  </a:lnTo>
                  <a:lnTo>
                    <a:pt x="224789" y="190500"/>
                  </a:lnTo>
                  <a:lnTo>
                    <a:pt x="206375" y="172720"/>
                  </a:lnTo>
                  <a:lnTo>
                    <a:pt x="53975" y="17780"/>
                  </a:lnTo>
                  <a:lnTo>
                    <a:pt x="36195" y="0"/>
                  </a:lnTo>
                  <a:lnTo>
                    <a:pt x="0" y="35560"/>
                  </a:lnTo>
                  <a:lnTo>
                    <a:pt x="18414" y="533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381" name="Google Shape;381;p14"/>
            <p:cNvSpPr/>
            <p:nvPr/>
          </p:nvSpPr>
          <p:spPr>
            <a:xfrm>
              <a:off x="10774680" y="5727700"/>
              <a:ext cx="224789" cy="226059"/>
            </a:xfrm>
            <a:custGeom>
              <a:avLst/>
              <a:gdLst/>
              <a:ahLst/>
              <a:cxnLst/>
              <a:rect l="l" t="t" r="r" b="b"/>
              <a:pathLst>
                <a:path w="224789" h="226059" extrusionOk="0">
                  <a:moveTo>
                    <a:pt x="206375" y="172720"/>
                  </a:moveTo>
                  <a:lnTo>
                    <a:pt x="53975" y="17780"/>
                  </a:lnTo>
                  <a:lnTo>
                    <a:pt x="36195" y="0"/>
                  </a:lnTo>
                  <a:lnTo>
                    <a:pt x="0" y="35560"/>
                  </a:lnTo>
                  <a:lnTo>
                    <a:pt x="18414" y="53340"/>
                  </a:lnTo>
                  <a:lnTo>
                    <a:pt x="170814" y="208280"/>
                  </a:lnTo>
                  <a:lnTo>
                    <a:pt x="188595" y="226060"/>
                  </a:lnTo>
                  <a:lnTo>
                    <a:pt x="224789" y="19050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382" name="Google Shape;382;p14"/>
            <p:cNvSpPr/>
            <p:nvPr/>
          </p:nvSpPr>
          <p:spPr>
            <a:xfrm>
              <a:off x="11409680" y="6089650"/>
              <a:ext cx="224789" cy="226059"/>
            </a:xfrm>
            <a:custGeom>
              <a:avLst/>
              <a:gdLst/>
              <a:ahLst/>
              <a:cxnLst/>
              <a:rect l="l" t="t" r="r" b="b"/>
              <a:pathLst>
                <a:path w="224789" h="226059" extrusionOk="0">
                  <a:moveTo>
                    <a:pt x="206375" y="172720"/>
                  </a:moveTo>
                  <a:lnTo>
                    <a:pt x="53975" y="17780"/>
                  </a:lnTo>
                  <a:lnTo>
                    <a:pt x="36195" y="0"/>
                  </a:lnTo>
                  <a:lnTo>
                    <a:pt x="0" y="35560"/>
                  </a:lnTo>
                  <a:lnTo>
                    <a:pt x="18414" y="53340"/>
                  </a:lnTo>
                  <a:lnTo>
                    <a:pt x="170814" y="208280"/>
                  </a:lnTo>
                  <a:lnTo>
                    <a:pt x="188595" y="226060"/>
                  </a:lnTo>
                  <a:lnTo>
                    <a:pt x="224789" y="19050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383" name="Google Shape;383;p14"/>
            <p:cNvSpPr/>
            <p:nvPr/>
          </p:nvSpPr>
          <p:spPr>
            <a:xfrm>
              <a:off x="12044680" y="6451600"/>
              <a:ext cx="147319" cy="184784"/>
            </a:xfrm>
            <a:custGeom>
              <a:avLst/>
              <a:gdLst/>
              <a:ahLst/>
              <a:cxnLst/>
              <a:rect l="l" t="t" r="r" b="b"/>
              <a:pathLst>
                <a:path w="147319" h="184784" extrusionOk="0">
                  <a:moveTo>
                    <a:pt x="36195" y="0"/>
                  </a:moveTo>
                  <a:lnTo>
                    <a:pt x="0" y="35560"/>
                  </a:lnTo>
                  <a:lnTo>
                    <a:pt x="18414" y="53340"/>
                  </a:lnTo>
                  <a:lnTo>
                    <a:pt x="147320" y="184785"/>
                  </a:lnTo>
                  <a:lnTo>
                    <a:pt x="147320" y="112395"/>
                  </a:lnTo>
                  <a:lnTo>
                    <a:pt x="53975" y="177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384" name="Google Shape;384;p14"/>
            <p:cNvSpPr/>
            <p:nvPr/>
          </p:nvSpPr>
          <p:spPr>
            <a:xfrm>
              <a:off x="1052830" y="0"/>
              <a:ext cx="194944" cy="165100"/>
            </a:xfrm>
            <a:custGeom>
              <a:avLst/>
              <a:gdLst/>
              <a:ahLst/>
              <a:cxnLst/>
              <a:rect l="l" t="t" r="r" b="b"/>
              <a:pathLst>
                <a:path w="194944" h="165100" extrusionOk="0">
                  <a:moveTo>
                    <a:pt x="158750" y="165100"/>
                  </a:moveTo>
                  <a:lnTo>
                    <a:pt x="194945" y="129540"/>
                  </a:lnTo>
                  <a:lnTo>
                    <a:pt x="177800" y="111125"/>
                  </a:lnTo>
                  <a:lnTo>
                    <a:pt x="70485" y="0"/>
                  </a:lnTo>
                  <a:lnTo>
                    <a:pt x="0" y="0"/>
                  </a:lnTo>
                  <a:lnTo>
                    <a:pt x="140970" y="14668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385" name="Google Shape;385;p14"/>
            <p:cNvSpPr/>
            <p:nvPr/>
          </p:nvSpPr>
          <p:spPr>
            <a:xfrm>
              <a:off x="1658620" y="296545"/>
              <a:ext cx="224154" cy="230504"/>
            </a:xfrm>
            <a:custGeom>
              <a:avLst/>
              <a:gdLst/>
              <a:ahLst/>
              <a:cxnLst/>
              <a:rect l="l" t="t" r="r" b="b"/>
              <a:pathLst>
                <a:path w="224154" h="230504" extrusionOk="0">
                  <a:moveTo>
                    <a:pt x="170180" y="212090"/>
                  </a:moveTo>
                  <a:lnTo>
                    <a:pt x="187960" y="230505"/>
                  </a:lnTo>
                  <a:lnTo>
                    <a:pt x="224155" y="194945"/>
                  </a:lnTo>
                  <a:lnTo>
                    <a:pt x="207010" y="176530"/>
                  </a:lnTo>
                  <a:lnTo>
                    <a:pt x="54610" y="17780"/>
                  </a:lnTo>
                  <a:lnTo>
                    <a:pt x="36830" y="0"/>
                  </a:lnTo>
                  <a:lnTo>
                    <a:pt x="0" y="34925"/>
                  </a:lnTo>
                  <a:lnTo>
                    <a:pt x="17780" y="533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386" name="Google Shape;386;p14"/>
            <p:cNvSpPr/>
            <p:nvPr/>
          </p:nvSpPr>
          <p:spPr>
            <a:xfrm>
              <a:off x="2293620" y="658494"/>
              <a:ext cx="224154" cy="230505"/>
            </a:xfrm>
            <a:custGeom>
              <a:avLst/>
              <a:gdLst/>
              <a:ahLst/>
              <a:cxnLst/>
              <a:rect l="l" t="t" r="r" b="b"/>
              <a:pathLst>
                <a:path w="224154" h="230505" extrusionOk="0">
                  <a:moveTo>
                    <a:pt x="170180" y="212090"/>
                  </a:moveTo>
                  <a:lnTo>
                    <a:pt x="187960" y="230505"/>
                  </a:lnTo>
                  <a:lnTo>
                    <a:pt x="224155" y="194945"/>
                  </a:lnTo>
                  <a:lnTo>
                    <a:pt x="207010" y="176530"/>
                  </a:lnTo>
                  <a:lnTo>
                    <a:pt x="54610" y="17780"/>
                  </a:lnTo>
                  <a:lnTo>
                    <a:pt x="36830" y="0"/>
                  </a:lnTo>
                  <a:lnTo>
                    <a:pt x="0" y="34925"/>
                  </a:lnTo>
                  <a:lnTo>
                    <a:pt x="17780" y="533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387" name="Google Shape;387;p14"/>
            <p:cNvSpPr/>
            <p:nvPr/>
          </p:nvSpPr>
          <p:spPr>
            <a:xfrm>
              <a:off x="2928620" y="1020444"/>
              <a:ext cx="224154" cy="230505"/>
            </a:xfrm>
            <a:custGeom>
              <a:avLst/>
              <a:gdLst/>
              <a:ahLst/>
              <a:cxnLst/>
              <a:rect l="l" t="t" r="r" b="b"/>
              <a:pathLst>
                <a:path w="224154" h="230505" extrusionOk="0">
                  <a:moveTo>
                    <a:pt x="170180" y="212090"/>
                  </a:moveTo>
                  <a:lnTo>
                    <a:pt x="187960" y="230505"/>
                  </a:lnTo>
                  <a:lnTo>
                    <a:pt x="224155" y="194945"/>
                  </a:lnTo>
                  <a:lnTo>
                    <a:pt x="207010" y="176530"/>
                  </a:lnTo>
                  <a:lnTo>
                    <a:pt x="54610" y="17780"/>
                  </a:lnTo>
                  <a:lnTo>
                    <a:pt x="36830" y="0"/>
                  </a:lnTo>
                  <a:lnTo>
                    <a:pt x="0" y="34925"/>
                  </a:lnTo>
                  <a:lnTo>
                    <a:pt x="17780" y="533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388" name="Google Shape;388;p14"/>
            <p:cNvSpPr/>
            <p:nvPr/>
          </p:nvSpPr>
          <p:spPr>
            <a:xfrm>
              <a:off x="3563620" y="1382394"/>
              <a:ext cx="224154" cy="230505"/>
            </a:xfrm>
            <a:custGeom>
              <a:avLst/>
              <a:gdLst/>
              <a:ahLst/>
              <a:cxnLst/>
              <a:rect l="l" t="t" r="r" b="b"/>
              <a:pathLst>
                <a:path w="224154" h="230505" extrusionOk="0">
                  <a:moveTo>
                    <a:pt x="36830" y="0"/>
                  </a:moveTo>
                  <a:lnTo>
                    <a:pt x="0" y="34925"/>
                  </a:lnTo>
                  <a:lnTo>
                    <a:pt x="17780" y="53340"/>
                  </a:lnTo>
                  <a:lnTo>
                    <a:pt x="170180" y="212090"/>
                  </a:lnTo>
                  <a:lnTo>
                    <a:pt x="187960" y="230505"/>
                  </a:lnTo>
                  <a:lnTo>
                    <a:pt x="224155" y="194945"/>
                  </a:lnTo>
                  <a:lnTo>
                    <a:pt x="207010" y="176530"/>
                  </a:lnTo>
                  <a:lnTo>
                    <a:pt x="54610" y="177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389" name="Google Shape;389;p14"/>
            <p:cNvSpPr/>
            <p:nvPr/>
          </p:nvSpPr>
          <p:spPr>
            <a:xfrm>
              <a:off x="4198620" y="1744345"/>
              <a:ext cx="224154" cy="230504"/>
            </a:xfrm>
            <a:custGeom>
              <a:avLst/>
              <a:gdLst/>
              <a:ahLst/>
              <a:cxnLst/>
              <a:rect l="l" t="t" r="r" b="b"/>
              <a:pathLst>
                <a:path w="224154" h="230504" extrusionOk="0">
                  <a:moveTo>
                    <a:pt x="36830" y="0"/>
                  </a:moveTo>
                  <a:lnTo>
                    <a:pt x="0" y="34925"/>
                  </a:lnTo>
                  <a:lnTo>
                    <a:pt x="17780" y="53340"/>
                  </a:lnTo>
                  <a:lnTo>
                    <a:pt x="170180" y="212090"/>
                  </a:lnTo>
                  <a:lnTo>
                    <a:pt x="187960" y="230505"/>
                  </a:lnTo>
                  <a:lnTo>
                    <a:pt x="224155" y="194945"/>
                  </a:lnTo>
                  <a:lnTo>
                    <a:pt x="207010" y="176530"/>
                  </a:lnTo>
                  <a:lnTo>
                    <a:pt x="54610" y="177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390" name="Google Shape;390;p14"/>
            <p:cNvSpPr/>
            <p:nvPr/>
          </p:nvSpPr>
          <p:spPr>
            <a:xfrm>
              <a:off x="4833620" y="2106295"/>
              <a:ext cx="224154" cy="230504"/>
            </a:xfrm>
            <a:custGeom>
              <a:avLst/>
              <a:gdLst/>
              <a:ahLst/>
              <a:cxnLst/>
              <a:rect l="l" t="t" r="r" b="b"/>
              <a:pathLst>
                <a:path w="224154" h="230504" extrusionOk="0">
                  <a:moveTo>
                    <a:pt x="36830" y="0"/>
                  </a:moveTo>
                  <a:lnTo>
                    <a:pt x="0" y="34925"/>
                  </a:lnTo>
                  <a:lnTo>
                    <a:pt x="17780" y="53340"/>
                  </a:lnTo>
                  <a:lnTo>
                    <a:pt x="170180" y="212090"/>
                  </a:lnTo>
                  <a:lnTo>
                    <a:pt x="187960" y="230505"/>
                  </a:lnTo>
                  <a:lnTo>
                    <a:pt x="224155" y="194945"/>
                  </a:lnTo>
                  <a:lnTo>
                    <a:pt x="207010" y="176530"/>
                  </a:lnTo>
                  <a:lnTo>
                    <a:pt x="54610" y="177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391" name="Google Shape;391;p14"/>
            <p:cNvSpPr/>
            <p:nvPr/>
          </p:nvSpPr>
          <p:spPr>
            <a:xfrm>
              <a:off x="5468620" y="2468245"/>
              <a:ext cx="224154" cy="230504"/>
            </a:xfrm>
            <a:custGeom>
              <a:avLst/>
              <a:gdLst/>
              <a:ahLst/>
              <a:cxnLst/>
              <a:rect l="l" t="t" r="r" b="b"/>
              <a:pathLst>
                <a:path w="224154" h="230504" extrusionOk="0">
                  <a:moveTo>
                    <a:pt x="36830" y="0"/>
                  </a:moveTo>
                  <a:lnTo>
                    <a:pt x="0" y="34925"/>
                  </a:lnTo>
                  <a:lnTo>
                    <a:pt x="17780" y="53340"/>
                  </a:lnTo>
                  <a:lnTo>
                    <a:pt x="170180" y="212090"/>
                  </a:lnTo>
                  <a:lnTo>
                    <a:pt x="187960" y="230505"/>
                  </a:lnTo>
                  <a:lnTo>
                    <a:pt x="224155" y="194945"/>
                  </a:lnTo>
                  <a:lnTo>
                    <a:pt x="207010" y="176530"/>
                  </a:lnTo>
                  <a:lnTo>
                    <a:pt x="54610" y="177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392" name="Google Shape;392;p14"/>
            <p:cNvSpPr/>
            <p:nvPr/>
          </p:nvSpPr>
          <p:spPr>
            <a:xfrm>
              <a:off x="6103620" y="2830195"/>
              <a:ext cx="224154" cy="230504"/>
            </a:xfrm>
            <a:custGeom>
              <a:avLst/>
              <a:gdLst/>
              <a:ahLst/>
              <a:cxnLst/>
              <a:rect l="l" t="t" r="r" b="b"/>
              <a:pathLst>
                <a:path w="224154" h="230504" extrusionOk="0">
                  <a:moveTo>
                    <a:pt x="36830" y="0"/>
                  </a:moveTo>
                  <a:lnTo>
                    <a:pt x="0" y="34925"/>
                  </a:lnTo>
                  <a:lnTo>
                    <a:pt x="17780" y="53340"/>
                  </a:lnTo>
                  <a:lnTo>
                    <a:pt x="170180" y="212090"/>
                  </a:lnTo>
                  <a:lnTo>
                    <a:pt x="187960" y="230505"/>
                  </a:lnTo>
                  <a:lnTo>
                    <a:pt x="224155" y="194945"/>
                  </a:lnTo>
                  <a:lnTo>
                    <a:pt x="207010" y="176530"/>
                  </a:lnTo>
                  <a:lnTo>
                    <a:pt x="54610" y="177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393" name="Google Shape;393;p14"/>
            <p:cNvSpPr/>
            <p:nvPr/>
          </p:nvSpPr>
          <p:spPr>
            <a:xfrm>
              <a:off x="6738619" y="3192145"/>
              <a:ext cx="224155" cy="230504"/>
            </a:xfrm>
            <a:custGeom>
              <a:avLst/>
              <a:gdLst/>
              <a:ahLst/>
              <a:cxnLst/>
              <a:rect l="l" t="t" r="r" b="b"/>
              <a:pathLst>
                <a:path w="224155" h="230504" extrusionOk="0">
                  <a:moveTo>
                    <a:pt x="36830" y="0"/>
                  </a:moveTo>
                  <a:lnTo>
                    <a:pt x="0" y="34925"/>
                  </a:lnTo>
                  <a:lnTo>
                    <a:pt x="17780" y="53340"/>
                  </a:lnTo>
                  <a:lnTo>
                    <a:pt x="170180" y="212090"/>
                  </a:lnTo>
                  <a:lnTo>
                    <a:pt x="187961" y="230505"/>
                  </a:lnTo>
                  <a:lnTo>
                    <a:pt x="224155" y="194945"/>
                  </a:lnTo>
                  <a:lnTo>
                    <a:pt x="207011" y="176530"/>
                  </a:lnTo>
                  <a:lnTo>
                    <a:pt x="54611" y="177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394" name="Google Shape;394;p14"/>
            <p:cNvSpPr/>
            <p:nvPr/>
          </p:nvSpPr>
          <p:spPr>
            <a:xfrm>
              <a:off x="7373619" y="3554095"/>
              <a:ext cx="224155" cy="230504"/>
            </a:xfrm>
            <a:custGeom>
              <a:avLst/>
              <a:gdLst/>
              <a:ahLst/>
              <a:cxnLst/>
              <a:rect l="l" t="t" r="r" b="b"/>
              <a:pathLst>
                <a:path w="224155" h="230504" extrusionOk="0">
                  <a:moveTo>
                    <a:pt x="36830" y="0"/>
                  </a:moveTo>
                  <a:lnTo>
                    <a:pt x="0" y="34925"/>
                  </a:lnTo>
                  <a:lnTo>
                    <a:pt x="17780" y="53340"/>
                  </a:lnTo>
                  <a:lnTo>
                    <a:pt x="170180" y="212090"/>
                  </a:lnTo>
                  <a:lnTo>
                    <a:pt x="187961" y="230505"/>
                  </a:lnTo>
                  <a:lnTo>
                    <a:pt x="224155" y="194945"/>
                  </a:lnTo>
                  <a:lnTo>
                    <a:pt x="207011" y="176530"/>
                  </a:lnTo>
                  <a:lnTo>
                    <a:pt x="54611" y="177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395" name="Google Shape;395;p14"/>
            <p:cNvSpPr/>
            <p:nvPr/>
          </p:nvSpPr>
          <p:spPr>
            <a:xfrm>
              <a:off x="8008619" y="3916045"/>
              <a:ext cx="224155" cy="230504"/>
            </a:xfrm>
            <a:custGeom>
              <a:avLst/>
              <a:gdLst/>
              <a:ahLst/>
              <a:cxnLst/>
              <a:rect l="l" t="t" r="r" b="b"/>
              <a:pathLst>
                <a:path w="224155" h="230504" extrusionOk="0">
                  <a:moveTo>
                    <a:pt x="36830" y="0"/>
                  </a:moveTo>
                  <a:lnTo>
                    <a:pt x="0" y="34925"/>
                  </a:lnTo>
                  <a:lnTo>
                    <a:pt x="17780" y="53340"/>
                  </a:lnTo>
                  <a:lnTo>
                    <a:pt x="170180" y="212090"/>
                  </a:lnTo>
                  <a:lnTo>
                    <a:pt x="187961" y="230505"/>
                  </a:lnTo>
                  <a:lnTo>
                    <a:pt x="224155" y="194945"/>
                  </a:lnTo>
                  <a:lnTo>
                    <a:pt x="207011" y="176530"/>
                  </a:lnTo>
                  <a:lnTo>
                    <a:pt x="54611" y="177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396" name="Google Shape;396;p14"/>
            <p:cNvSpPr/>
            <p:nvPr/>
          </p:nvSpPr>
          <p:spPr>
            <a:xfrm>
              <a:off x="8643619" y="4277995"/>
              <a:ext cx="224155" cy="230504"/>
            </a:xfrm>
            <a:custGeom>
              <a:avLst/>
              <a:gdLst/>
              <a:ahLst/>
              <a:cxnLst/>
              <a:rect l="l" t="t" r="r" b="b"/>
              <a:pathLst>
                <a:path w="224155" h="230504" extrusionOk="0">
                  <a:moveTo>
                    <a:pt x="36830" y="0"/>
                  </a:moveTo>
                  <a:lnTo>
                    <a:pt x="0" y="34925"/>
                  </a:lnTo>
                  <a:lnTo>
                    <a:pt x="17780" y="53340"/>
                  </a:lnTo>
                  <a:lnTo>
                    <a:pt x="170180" y="212090"/>
                  </a:lnTo>
                  <a:lnTo>
                    <a:pt x="187961" y="230505"/>
                  </a:lnTo>
                  <a:lnTo>
                    <a:pt x="224155" y="194945"/>
                  </a:lnTo>
                  <a:lnTo>
                    <a:pt x="207011" y="176530"/>
                  </a:lnTo>
                  <a:lnTo>
                    <a:pt x="54611" y="177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397" name="Google Shape;397;p14"/>
            <p:cNvSpPr/>
            <p:nvPr/>
          </p:nvSpPr>
          <p:spPr>
            <a:xfrm>
              <a:off x="9278619" y="4639945"/>
              <a:ext cx="224155" cy="230504"/>
            </a:xfrm>
            <a:custGeom>
              <a:avLst/>
              <a:gdLst/>
              <a:ahLst/>
              <a:cxnLst/>
              <a:rect l="l" t="t" r="r" b="b"/>
              <a:pathLst>
                <a:path w="224155" h="230504" extrusionOk="0">
                  <a:moveTo>
                    <a:pt x="36830" y="0"/>
                  </a:moveTo>
                  <a:lnTo>
                    <a:pt x="0" y="34925"/>
                  </a:lnTo>
                  <a:lnTo>
                    <a:pt x="17780" y="53340"/>
                  </a:lnTo>
                  <a:lnTo>
                    <a:pt x="170180" y="212090"/>
                  </a:lnTo>
                  <a:lnTo>
                    <a:pt x="187961" y="230505"/>
                  </a:lnTo>
                  <a:lnTo>
                    <a:pt x="224155" y="194945"/>
                  </a:lnTo>
                  <a:lnTo>
                    <a:pt x="207011" y="176530"/>
                  </a:lnTo>
                  <a:lnTo>
                    <a:pt x="54611" y="177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398" name="Google Shape;398;p14"/>
            <p:cNvSpPr/>
            <p:nvPr/>
          </p:nvSpPr>
          <p:spPr>
            <a:xfrm>
              <a:off x="9913619" y="5001895"/>
              <a:ext cx="224155" cy="230504"/>
            </a:xfrm>
            <a:custGeom>
              <a:avLst/>
              <a:gdLst/>
              <a:ahLst/>
              <a:cxnLst/>
              <a:rect l="l" t="t" r="r" b="b"/>
              <a:pathLst>
                <a:path w="224155" h="230504" extrusionOk="0">
                  <a:moveTo>
                    <a:pt x="170180" y="212090"/>
                  </a:moveTo>
                  <a:lnTo>
                    <a:pt x="187961" y="230505"/>
                  </a:lnTo>
                  <a:lnTo>
                    <a:pt x="224155" y="194945"/>
                  </a:lnTo>
                  <a:lnTo>
                    <a:pt x="207011" y="176530"/>
                  </a:lnTo>
                  <a:lnTo>
                    <a:pt x="54611" y="17780"/>
                  </a:lnTo>
                  <a:lnTo>
                    <a:pt x="36830" y="0"/>
                  </a:lnTo>
                  <a:lnTo>
                    <a:pt x="0" y="34925"/>
                  </a:lnTo>
                  <a:lnTo>
                    <a:pt x="17780" y="533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399" name="Google Shape;399;p14"/>
            <p:cNvSpPr/>
            <p:nvPr/>
          </p:nvSpPr>
          <p:spPr>
            <a:xfrm>
              <a:off x="10548619" y="5363845"/>
              <a:ext cx="224155" cy="230504"/>
            </a:xfrm>
            <a:custGeom>
              <a:avLst/>
              <a:gdLst/>
              <a:ahLst/>
              <a:cxnLst/>
              <a:rect l="l" t="t" r="r" b="b"/>
              <a:pathLst>
                <a:path w="224155" h="230504" extrusionOk="0">
                  <a:moveTo>
                    <a:pt x="170180" y="212090"/>
                  </a:moveTo>
                  <a:lnTo>
                    <a:pt x="187961" y="230505"/>
                  </a:lnTo>
                  <a:lnTo>
                    <a:pt x="224155" y="194945"/>
                  </a:lnTo>
                  <a:lnTo>
                    <a:pt x="207011" y="176530"/>
                  </a:lnTo>
                  <a:lnTo>
                    <a:pt x="54611" y="17780"/>
                  </a:lnTo>
                  <a:lnTo>
                    <a:pt x="36830" y="0"/>
                  </a:lnTo>
                  <a:lnTo>
                    <a:pt x="0" y="34925"/>
                  </a:lnTo>
                  <a:lnTo>
                    <a:pt x="17780" y="533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400" name="Google Shape;400;p14"/>
            <p:cNvSpPr/>
            <p:nvPr/>
          </p:nvSpPr>
          <p:spPr>
            <a:xfrm>
              <a:off x="11183619" y="5725795"/>
              <a:ext cx="224155" cy="230504"/>
            </a:xfrm>
            <a:custGeom>
              <a:avLst/>
              <a:gdLst/>
              <a:ahLst/>
              <a:cxnLst/>
              <a:rect l="l" t="t" r="r" b="b"/>
              <a:pathLst>
                <a:path w="224155" h="230504" extrusionOk="0">
                  <a:moveTo>
                    <a:pt x="170180" y="212090"/>
                  </a:moveTo>
                  <a:lnTo>
                    <a:pt x="187961" y="230505"/>
                  </a:lnTo>
                  <a:lnTo>
                    <a:pt x="224155" y="194945"/>
                  </a:lnTo>
                  <a:lnTo>
                    <a:pt x="207011" y="176530"/>
                  </a:lnTo>
                  <a:lnTo>
                    <a:pt x="54611" y="17780"/>
                  </a:lnTo>
                  <a:lnTo>
                    <a:pt x="36830" y="0"/>
                  </a:lnTo>
                  <a:lnTo>
                    <a:pt x="0" y="34925"/>
                  </a:lnTo>
                  <a:lnTo>
                    <a:pt x="17780" y="533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401" name="Google Shape;401;p14"/>
            <p:cNvSpPr/>
            <p:nvPr/>
          </p:nvSpPr>
          <p:spPr>
            <a:xfrm>
              <a:off x="11818619" y="6087745"/>
              <a:ext cx="224155" cy="230504"/>
            </a:xfrm>
            <a:custGeom>
              <a:avLst/>
              <a:gdLst/>
              <a:ahLst/>
              <a:cxnLst/>
              <a:rect l="l" t="t" r="r" b="b"/>
              <a:pathLst>
                <a:path w="224155" h="230504" extrusionOk="0">
                  <a:moveTo>
                    <a:pt x="54611" y="17780"/>
                  </a:moveTo>
                  <a:lnTo>
                    <a:pt x="36830" y="0"/>
                  </a:lnTo>
                  <a:lnTo>
                    <a:pt x="0" y="34925"/>
                  </a:lnTo>
                  <a:lnTo>
                    <a:pt x="17780" y="53340"/>
                  </a:lnTo>
                  <a:lnTo>
                    <a:pt x="170180" y="212090"/>
                  </a:lnTo>
                  <a:lnTo>
                    <a:pt x="187961" y="230505"/>
                  </a:lnTo>
                  <a:lnTo>
                    <a:pt x="224155" y="194945"/>
                  </a:lnTo>
                  <a:lnTo>
                    <a:pt x="207011" y="17653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402" name="Google Shape;402;p14"/>
            <p:cNvSpPr/>
            <p:nvPr/>
          </p:nvSpPr>
          <p:spPr>
            <a:xfrm>
              <a:off x="1459230" y="0"/>
              <a:ext cx="196215" cy="163829"/>
            </a:xfrm>
            <a:custGeom>
              <a:avLst/>
              <a:gdLst/>
              <a:ahLst/>
              <a:cxnLst/>
              <a:rect l="l" t="t" r="r" b="b"/>
              <a:pathLst>
                <a:path w="196215" h="163829" extrusionOk="0">
                  <a:moveTo>
                    <a:pt x="159385" y="163830"/>
                  </a:moveTo>
                  <a:lnTo>
                    <a:pt x="196215" y="128270"/>
                  </a:lnTo>
                  <a:lnTo>
                    <a:pt x="178435" y="109855"/>
                  </a:lnTo>
                  <a:lnTo>
                    <a:pt x="71120" y="0"/>
                  </a:lnTo>
                  <a:lnTo>
                    <a:pt x="0" y="0"/>
                  </a:lnTo>
                  <a:lnTo>
                    <a:pt x="141605" y="1454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403" name="Google Shape;403;p14"/>
            <p:cNvSpPr/>
            <p:nvPr/>
          </p:nvSpPr>
          <p:spPr>
            <a:xfrm>
              <a:off x="2066289" y="297179"/>
              <a:ext cx="224155" cy="228600"/>
            </a:xfrm>
            <a:custGeom>
              <a:avLst/>
              <a:gdLst/>
              <a:ahLst/>
              <a:cxnLst/>
              <a:rect l="l" t="t" r="r" b="b"/>
              <a:pathLst>
                <a:path w="224155" h="228600" extrusionOk="0">
                  <a:moveTo>
                    <a:pt x="17145" y="53975"/>
                  </a:moveTo>
                  <a:lnTo>
                    <a:pt x="169545" y="210185"/>
                  </a:lnTo>
                  <a:lnTo>
                    <a:pt x="187325" y="228600"/>
                  </a:lnTo>
                  <a:lnTo>
                    <a:pt x="224155" y="193040"/>
                  </a:lnTo>
                  <a:lnTo>
                    <a:pt x="206375" y="174625"/>
                  </a:lnTo>
                  <a:lnTo>
                    <a:pt x="53975" y="18415"/>
                  </a:lnTo>
                  <a:lnTo>
                    <a:pt x="36195" y="0"/>
                  </a:lnTo>
                  <a:lnTo>
                    <a:pt x="0" y="3556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404" name="Google Shape;404;p14"/>
            <p:cNvSpPr/>
            <p:nvPr/>
          </p:nvSpPr>
          <p:spPr>
            <a:xfrm>
              <a:off x="2701289" y="659130"/>
              <a:ext cx="224155" cy="228600"/>
            </a:xfrm>
            <a:custGeom>
              <a:avLst/>
              <a:gdLst/>
              <a:ahLst/>
              <a:cxnLst/>
              <a:rect l="l" t="t" r="r" b="b"/>
              <a:pathLst>
                <a:path w="224155" h="228600" extrusionOk="0">
                  <a:moveTo>
                    <a:pt x="53975" y="18415"/>
                  </a:moveTo>
                  <a:lnTo>
                    <a:pt x="36195" y="0"/>
                  </a:lnTo>
                  <a:lnTo>
                    <a:pt x="0" y="35560"/>
                  </a:lnTo>
                  <a:lnTo>
                    <a:pt x="17145" y="53975"/>
                  </a:lnTo>
                  <a:lnTo>
                    <a:pt x="169545" y="210185"/>
                  </a:lnTo>
                  <a:lnTo>
                    <a:pt x="187325" y="228600"/>
                  </a:lnTo>
                  <a:lnTo>
                    <a:pt x="224155" y="193040"/>
                  </a:lnTo>
                  <a:lnTo>
                    <a:pt x="206375" y="17462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405" name="Google Shape;405;p14"/>
            <p:cNvSpPr/>
            <p:nvPr/>
          </p:nvSpPr>
          <p:spPr>
            <a:xfrm>
              <a:off x="3336290" y="1021080"/>
              <a:ext cx="224154" cy="228600"/>
            </a:xfrm>
            <a:custGeom>
              <a:avLst/>
              <a:gdLst/>
              <a:ahLst/>
              <a:cxnLst/>
              <a:rect l="l" t="t" r="r" b="b"/>
              <a:pathLst>
                <a:path w="224154" h="228600" extrusionOk="0">
                  <a:moveTo>
                    <a:pt x="53975" y="18415"/>
                  </a:moveTo>
                  <a:lnTo>
                    <a:pt x="36195" y="0"/>
                  </a:lnTo>
                  <a:lnTo>
                    <a:pt x="0" y="35560"/>
                  </a:lnTo>
                  <a:lnTo>
                    <a:pt x="17145" y="53975"/>
                  </a:lnTo>
                  <a:lnTo>
                    <a:pt x="169545" y="210185"/>
                  </a:lnTo>
                  <a:lnTo>
                    <a:pt x="187325" y="228600"/>
                  </a:lnTo>
                  <a:lnTo>
                    <a:pt x="224155" y="193040"/>
                  </a:lnTo>
                  <a:lnTo>
                    <a:pt x="206375" y="17462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406" name="Google Shape;406;p14"/>
            <p:cNvSpPr/>
            <p:nvPr/>
          </p:nvSpPr>
          <p:spPr>
            <a:xfrm>
              <a:off x="3971290" y="1383030"/>
              <a:ext cx="224154" cy="228600"/>
            </a:xfrm>
            <a:custGeom>
              <a:avLst/>
              <a:gdLst/>
              <a:ahLst/>
              <a:cxnLst/>
              <a:rect l="l" t="t" r="r" b="b"/>
              <a:pathLst>
                <a:path w="224154" h="228600" extrusionOk="0">
                  <a:moveTo>
                    <a:pt x="53975" y="18415"/>
                  </a:moveTo>
                  <a:lnTo>
                    <a:pt x="36195" y="0"/>
                  </a:lnTo>
                  <a:lnTo>
                    <a:pt x="0" y="35560"/>
                  </a:lnTo>
                  <a:lnTo>
                    <a:pt x="17145" y="53975"/>
                  </a:lnTo>
                  <a:lnTo>
                    <a:pt x="169545" y="210185"/>
                  </a:lnTo>
                  <a:lnTo>
                    <a:pt x="187325" y="228600"/>
                  </a:lnTo>
                  <a:lnTo>
                    <a:pt x="224155" y="193040"/>
                  </a:lnTo>
                  <a:lnTo>
                    <a:pt x="206375" y="17462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407" name="Google Shape;407;p14"/>
            <p:cNvSpPr/>
            <p:nvPr/>
          </p:nvSpPr>
          <p:spPr>
            <a:xfrm>
              <a:off x="4606290" y="1744979"/>
              <a:ext cx="224154" cy="228600"/>
            </a:xfrm>
            <a:custGeom>
              <a:avLst/>
              <a:gdLst/>
              <a:ahLst/>
              <a:cxnLst/>
              <a:rect l="l" t="t" r="r" b="b"/>
              <a:pathLst>
                <a:path w="224154" h="228600" extrusionOk="0">
                  <a:moveTo>
                    <a:pt x="53975" y="18415"/>
                  </a:moveTo>
                  <a:lnTo>
                    <a:pt x="36195" y="0"/>
                  </a:lnTo>
                  <a:lnTo>
                    <a:pt x="0" y="35560"/>
                  </a:lnTo>
                  <a:lnTo>
                    <a:pt x="17145" y="53975"/>
                  </a:lnTo>
                  <a:lnTo>
                    <a:pt x="169545" y="210185"/>
                  </a:lnTo>
                  <a:lnTo>
                    <a:pt x="187325" y="228600"/>
                  </a:lnTo>
                  <a:lnTo>
                    <a:pt x="224155" y="193040"/>
                  </a:lnTo>
                  <a:lnTo>
                    <a:pt x="206375" y="17462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408" name="Google Shape;408;p14"/>
            <p:cNvSpPr/>
            <p:nvPr/>
          </p:nvSpPr>
          <p:spPr>
            <a:xfrm>
              <a:off x="5241290" y="2106929"/>
              <a:ext cx="224154" cy="228600"/>
            </a:xfrm>
            <a:custGeom>
              <a:avLst/>
              <a:gdLst/>
              <a:ahLst/>
              <a:cxnLst/>
              <a:rect l="l" t="t" r="r" b="b"/>
              <a:pathLst>
                <a:path w="224154" h="228600" extrusionOk="0">
                  <a:moveTo>
                    <a:pt x="53975" y="18415"/>
                  </a:moveTo>
                  <a:lnTo>
                    <a:pt x="36195" y="0"/>
                  </a:lnTo>
                  <a:lnTo>
                    <a:pt x="0" y="35560"/>
                  </a:lnTo>
                  <a:lnTo>
                    <a:pt x="17145" y="53975"/>
                  </a:lnTo>
                  <a:lnTo>
                    <a:pt x="169545" y="210185"/>
                  </a:lnTo>
                  <a:lnTo>
                    <a:pt x="187325" y="228600"/>
                  </a:lnTo>
                  <a:lnTo>
                    <a:pt x="224155" y="193040"/>
                  </a:lnTo>
                  <a:lnTo>
                    <a:pt x="206375" y="17462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409" name="Google Shape;409;p14"/>
            <p:cNvSpPr/>
            <p:nvPr/>
          </p:nvSpPr>
          <p:spPr>
            <a:xfrm>
              <a:off x="5876290" y="2468879"/>
              <a:ext cx="224154" cy="228600"/>
            </a:xfrm>
            <a:custGeom>
              <a:avLst/>
              <a:gdLst/>
              <a:ahLst/>
              <a:cxnLst/>
              <a:rect l="l" t="t" r="r" b="b"/>
              <a:pathLst>
                <a:path w="224154" h="228600" extrusionOk="0">
                  <a:moveTo>
                    <a:pt x="53975" y="18415"/>
                  </a:moveTo>
                  <a:lnTo>
                    <a:pt x="36195" y="0"/>
                  </a:lnTo>
                  <a:lnTo>
                    <a:pt x="0" y="35560"/>
                  </a:lnTo>
                  <a:lnTo>
                    <a:pt x="17145" y="53975"/>
                  </a:lnTo>
                  <a:lnTo>
                    <a:pt x="169545" y="210185"/>
                  </a:lnTo>
                  <a:lnTo>
                    <a:pt x="187325" y="228600"/>
                  </a:lnTo>
                  <a:lnTo>
                    <a:pt x="224155" y="193040"/>
                  </a:lnTo>
                  <a:lnTo>
                    <a:pt x="206375" y="17462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410" name="Google Shape;410;p14"/>
            <p:cNvSpPr/>
            <p:nvPr/>
          </p:nvSpPr>
          <p:spPr>
            <a:xfrm>
              <a:off x="6511290" y="2830829"/>
              <a:ext cx="224154" cy="228600"/>
            </a:xfrm>
            <a:custGeom>
              <a:avLst/>
              <a:gdLst/>
              <a:ahLst/>
              <a:cxnLst/>
              <a:rect l="l" t="t" r="r" b="b"/>
              <a:pathLst>
                <a:path w="224154" h="228600" extrusionOk="0">
                  <a:moveTo>
                    <a:pt x="53975" y="18415"/>
                  </a:moveTo>
                  <a:lnTo>
                    <a:pt x="36195" y="0"/>
                  </a:lnTo>
                  <a:lnTo>
                    <a:pt x="0" y="35560"/>
                  </a:lnTo>
                  <a:lnTo>
                    <a:pt x="17145" y="53975"/>
                  </a:lnTo>
                  <a:lnTo>
                    <a:pt x="169545" y="210185"/>
                  </a:lnTo>
                  <a:lnTo>
                    <a:pt x="187325" y="228600"/>
                  </a:lnTo>
                  <a:lnTo>
                    <a:pt x="224155" y="193040"/>
                  </a:lnTo>
                  <a:lnTo>
                    <a:pt x="206375" y="17462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411" name="Google Shape;411;p14"/>
            <p:cNvSpPr/>
            <p:nvPr/>
          </p:nvSpPr>
          <p:spPr>
            <a:xfrm>
              <a:off x="7146290" y="3192779"/>
              <a:ext cx="224154" cy="228600"/>
            </a:xfrm>
            <a:custGeom>
              <a:avLst/>
              <a:gdLst/>
              <a:ahLst/>
              <a:cxnLst/>
              <a:rect l="l" t="t" r="r" b="b"/>
              <a:pathLst>
                <a:path w="224154" h="228600" extrusionOk="0">
                  <a:moveTo>
                    <a:pt x="169545" y="210185"/>
                  </a:moveTo>
                  <a:lnTo>
                    <a:pt x="187325" y="228600"/>
                  </a:lnTo>
                  <a:lnTo>
                    <a:pt x="224155" y="193040"/>
                  </a:lnTo>
                  <a:lnTo>
                    <a:pt x="206375" y="174625"/>
                  </a:lnTo>
                  <a:lnTo>
                    <a:pt x="53975" y="18415"/>
                  </a:lnTo>
                  <a:lnTo>
                    <a:pt x="36195" y="0"/>
                  </a:lnTo>
                  <a:lnTo>
                    <a:pt x="0" y="35560"/>
                  </a:lnTo>
                  <a:lnTo>
                    <a:pt x="17145" y="5397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412" name="Google Shape;412;p14"/>
            <p:cNvSpPr/>
            <p:nvPr/>
          </p:nvSpPr>
          <p:spPr>
            <a:xfrm>
              <a:off x="7781290" y="3554729"/>
              <a:ext cx="224154" cy="228600"/>
            </a:xfrm>
            <a:custGeom>
              <a:avLst/>
              <a:gdLst/>
              <a:ahLst/>
              <a:cxnLst/>
              <a:rect l="l" t="t" r="r" b="b"/>
              <a:pathLst>
                <a:path w="224154" h="228600" extrusionOk="0">
                  <a:moveTo>
                    <a:pt x="169545" y="210185"/>
                  </a:moveTo>
                  <a:lnTo>
                    <a:pt x="187325" y="228600"/>
                  </a:lnTo>
                  <a:lnTo>
                    <a:pt x="224155" y="193040"/>
                  </a:lnTo>
                  <a:lnTo>
                    <a:pt x="206375" y="174625"/>
                  </a:lnTo>
                  <a:lnTo>
                    <a:pt x="53975" y="18415"/>
                  </a:lnTo>
                  <a:lnTo>
                    <a:pt x="36195" y="0"/>
                  </a:lnTo>
                  <a:lnTo>
                    <a:pt x="0" y="35560"/>
                  </a:lnTo>
                  <a:lnTo>
                    <a:pt x="17145" y="5397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413" name="Google Shape;413;p14"/>
            <p:cNvSpPr/>
            <p:nvPr/>
          </p:nvSpPr>
          <p:spPr>
            <a:xfrm>
              <a:off x="8416290" y="3916679"/>
              <a:ext cx="224154" cy="228600"/>
            </a:xfrm>
            <a:custGeom>
              <a:avLst/>
              <a:gdLst/>
              <a:ahLst/>
              <a:cxnLst/>
              <a:rect l="l" t="t" r="r" b="b"/>
              <a:pathLst>
                <a:path w="224154" h="228600" extrusionOk="0">
                  <a:moveTo>
                    <a:pt x="53975" y="18415"/>
                  </a:moveTo>
                  <a:lnTo>
                    <a:pt x="36195" y="0"/>
                  </a:lnTo>
                  <a:lnTo>
                    <a:pt x="0" y="35560"/>
                  </a:lnTo>
                  <a:lnTo>
                    <a:pt x="17145" y="53975"/>
                  </a:lnTo>
                  <a:lnTo>
                    <a:pt x="169545" y="210185"/>
                  </a:lnTo>
                  <a:lnTo>
                    <a:pt x="187325" y="228600"/>
                  </a:lnTo>
                  <a:lnTo>
                    <a:pt x="224155" y="193040"/>
                  </a:lnTo>
                  <a:lnTo>
                    <a:pt x="206375" y="17462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414" name="Google Shape;414;p14"/>
            <p:cNvSpPr/>
            <p:nvPr/>
          </p:nvSpPr>
          <p:spPr>
            <a:xfrm>
              <a:off x="9051290" y="4278629"/>
              <a:ext cx="224154" cy="228600"/>
            </a:xfrm>
            <a:custGeom>
              <a:avLst/>
              <a:gdLst/>
              <a:ahLst/>
              <a:cxnLst/>
              <a:rect l="l" t="t" r="r" b="b"/>
              <a:pathLst>
                <a:path w="224154" h="228600" extrusionOk="0">
                  <a:moveTo>
                    <a:pt x="169545" y="210185"/>
                  </a:moveTo>
                  <a:lnTo>
                    <a:pt x="187325" y="228600"/>
                  </a:lnTo>
                  <a:lnTo>
                    <a:pt x="224155" y="193040"/>
                  </a:lnTo>
                  <a:lnTo>
                    <a:pt x="206375" y="174625"/>
                  </a:lnTo>
                  <a:lnTo>
                    <a:pt x="53975" y="18415"/>
                  </a:lnTo>
                  <a:lnTo>
                    <a:pt x="36195" y="0"/>
                  </a:lnTo>
                  <a:lnTo>
                    <a:pt x="0" y="35560"/>
                  </a:lnTo>
                  <a:lnTo>
                    <a:pt x="17145" y="5397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415" name="Google Shape;415;p14"/>
            <p:cNvSpPr/>
            <p:nvPr/>
          </p:nvSpPr>
          <p:spPr>
            <a:xfrm>
              <a:off x="9686290" y="4640579"/>
              <a:ext cx="224154" cy="228600"/>
            </a:xfrm>
            <a:custGeom>
              <a:avLst/>
              <a:gdLst/>
              <a:ahLst/>
              <a:cxnLst/>
              <a:rect l="l" t="t" r="r" b="b"/>
              <a:pathLst>
                <a:path w="224154" h="228600" extrusionOk="0">
                  <a:moveTo>
                    <a:pt x="187325" y="228600"/>
                  </a:moveTo>
                  <a:lnTo>
                    <a:pt x="224155" y="193040"/>
                  </a:lnTo>
                  <a:lnTo>
                    <a:pt x="206375" y="174625"/>
                  </a:lnTo>
                  <a:lnTo>
                    <a:pt x="53975" y="18415"/>
                  </a:lnTo>
                  <a:lnTo>
                    <a:pt x="36195" y="0"/>
                  </a:lnTo>
                  <a:lnTo>
                    <a:pt x="0" y="35560"/>
                  </a:lnTo>
                  <a:lnTo>
                    <a:pt x="17145" y="53975"/>
                  </a:lnTo>
                  <a:lnTo>
                    <a:pt x="169545" y="21018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416" name="Google Shape;416;p14"/>
            <p:cNvSpPr/>
            <p:nvPr/>
          </p:nvSpPr>
          <p:spPr>
            <a:xfrm>
              <a:off x="10321290" y="5002529"/>
              <a:ext cx="224154" cy="228600"/>
            </a:xfrm>
            <a:custGeom>
              <a:avLst/>
              <a:gdLst/>
              <a:ahLst/>
              <a:cxnLst/>
              <a:rect l="l" t="t" r="r" b="b"/>
              <a:pathLst>
                <a:path w="224154" h="228600" extrusionOk="0">
                  <a:moveTo>
                    <a:pt x="187325" y="228600"/>
                  </a:moveTo>
                  <a:lnTo>
                    <a:pt x="224155" y="193040"/>
                  </a:lnTo>
                  <a:lnTo>
                    <a:pt x="206375" y="174625"/>
                  </a:lnTo>
                  <a:lnTo>
                    <a:pt x="53975" y="18415"/>
                  </a:lnTo>
                  <a:lnTo>
                    <a:pt x="36195" y="0"/>
                  </a:lnTo>
                  <a:lnTo>
                    <a:pt x="0" y="35560"/>
                  </a:lnTo>
                  <a:lnTo>
                    <a:pt x="17780" y="53975"/>
                  </a:lnTo>
                  <a:lnTo>
                    <a:pt x="170180" y="21018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417" name="Google Shape;417;p14"/>
            <p:cNvSpPr/>
            <p:nvPr/>
          </p:nvSpPr>
          <p:spPr>
            <a:xfrm>
              <a:off x="10956290" y="5364479"/>
              <a:ext cx="224154" cy="228600"/>
            </a:xfrm>
            <a:custGeom>
              <a:avLst/>
              <a:gdLst/>
              <a:ahLst/>
              <a:cxnLst/>
              <a:rect l="l" t="t" r="r" b="b"/>
              <a:pathLst>
                <a:path w="224154" h="228600" extrusionOk="0">
                  <a:moveTo>
                    <a:pt x="170180" y="210185"/>
                  </a:moveTo>
                  <a:lnTo>
                    <a:pt x="187325" y="228600"/>
                  </a:lnTo>
                  <a:lnTo>
                    <a:pt x="224155" y="193040"/>
                  </a:lnTo>
                  <a:lnTo>
                    <a:pt x="206375" y="174625"/>
                  </a:lnTo>
                  <a:lnTo>
                    <a:pt x="53975" y="18415"/>
                  </a:lnTo>
                  <a:lnTo>
                    <a:pt x="36195" y="0"/>
                  </a:lnTo>
                  <a:lnTo>
                    <a:pt x="0" y="35560"/>
                  </a:lnTo>
                  <a:lnTo>
                    <a:pt x="17780" y="5397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418" name="Google Shape;418;p14"/>
            <p:cNvSpPr/>
            <p:nvPr/>
          </p:nvSpPr>
          <p:spPr>
            <a:xfrm>
              <a:off x="11591290" y="5726429"/>
              <a:ext cx="224154" cy="228600"/>
            </a:xfrm>
            <a:custGeom>
              <a:avLst/>
              <a:gdLst/>
              <a:ahLst/>
              <a:cxnLst/>
              <a:rect l="l" t="t" r="r" b="b"/>
              <a:pathLst>
                <a:path w="224154" h="228600" extrusionOk="0">
                  <a:moveTo>
                    <a:pt x="170180" y="210185"/>
                  </a:moveTo>
                  <a:lnTo>
                    <a:pt x="187325" y="228600"/>
                  </a:lnTo>
                  <a:lnTo>
                    <a:pt x="224155" y="193040"/>
                  </a:lnTo>
                  <a:lnTo>
                    <a:pt x="206375" y="174625"/>
                  </a:lnTo>
                  <a:lnTo>
                    <a:pt x="53975" y="18415"/>
                  </a:lnTo>
                  <a:lnTo>
                    <a:pt x="36195" y="0"/>
                  </a:lnTo>
                  <a:lnTo>
                    <a:pt x="0" y="35560"/>
                  </a:lnTo>
                  <a:lnTo>
                    <a:pt x="17780" y="5397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419" name="Google Shape;419;p14"/>
            <p:cNvSpPr/>
            <p:nvPr/>
          </p:nvSpPr>
          <p:spPr>
            <a:xfrm>
              <a:off x="1870710" y="0"/>
              <a:ext cx="199389" cy="159385"/>
            </a:xfrm>
            <a:custGeom>
              <a:avLst/>
              <a:gdLst/>
              <a:ahLst/>
              <a:cxnLst/>
              <a:rect l="l" t="t" r="r" b="b"/>
              <a:pathLst>
                <a:path w="199389" h="159385" extrusionOk="0">
                  <a:moveTo>
                    <a:pt x="164465" y="159385"/>
                  </a:moveTo>
                  <a:lnTo>
                    <a:pt x="199390" y="123190"/>
                  </a:lnTo>
                  <a:lnTo>
                    <a:pt x="181610" y="105410"/>
                  </a:lnTo>
                  <a:lnTo>
                    <a:pt x="73025" y="0"/>
                  </a:lnTo>
                  <a:lnTo>
                    <a:pt x="0" y="0"/>
                  </a:lnTo>
                  <a:lnTo>
                    <a:pt x="146050" y="14160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420" name="Google Shape;420;p14"/>
            <p:cNvSpPr/>
            <p:nvPr/>
          </p:nvSpPr>
          <p:spPr>
            <a:xfrm>
              <a:off x="2480945" y="301625"/>
              <a:ext cx="224154" cy="219709"/>
            </a:xfrm>
            <a:custGeom>
              <a:avLst/>
              <a:gdLst/>
              <a:ahLst/>
              <a:cxnLst/>
              <a:rect l="l" t="t" r="r" b="b"/>
              <a:pathLst>
                <a:path w="224154" h="219709" extrusionOk="0">
                  <a:moveTo>
                    <a:pt x="18415" y="53975"/>
                  </a:moveTo>
                  <a:lnTo>
                    <a:pt x="170815" y="201930"/>
                  </a:lnTo>
                  <a:lnTo>
                    <a:pt x="189230" y="219710"/>
                  </a:lnTo>
                  <a:lnTo>
                    <a:pt x="224155" y="183515"/>
                  </a:lnTo>
                  <a:lnTo>
                    <a:pt x="206375" y="165735"/>
                  </a:lnTo>
                  <a:lnTo>
                    <a:pt x="53975" y="17780"/>
                  </a:lnTo>
                  <a:lnTo>
                    <a:pt x="35560" y="0"/>
                  </a:lnTo>
                  <a:lnTo>
                    <a:pt x="0" y="3619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421" name="Google Shape;421;p14"/>
            <p:cNvSpPr/>
            <p:nvPr/>
          </p:nvSpPr>
          <p:spPr>
            <a:xfrm>
              <a:off x="3115945" y="663575"/>
              <a:ext cx="224154" cy="219710"/>
            </a:xfrm>
            <a:custGeom>
              <a:avLst/>
              <a:gdLst/>
              <a:ahLst/>
              <a:cxnLst/>
              <a:rect l="l" t="t" r="r" b="b"/>
              <a:pathLst>
                <a:path w="224154" h="219710" extrusionOk="0">
                  <a:moveTo>
                    <a:pt x="18415" y="53975"/>
                  </a:moveTo>
                  <a:lnTo>
                    <a:pt x="170815" y="201930"/>
                  </a:lnTo>
                  <a:lnTo>
                    <a:pt x="189230" y="219710"/>
                  </a:lnTo>
                  <a:lnTo>
                    <a:pt x="224155" y="183515"/>
                  </a:lnTo>
                  <a:lnTo>
                    <a:pt x="206375" y="165735"/>
                  </a:lnTo>
                  <a:lnTo>
                    <a:pt x="53975" y="17780"/>
                  </a:lnTo>
                  <a:lnTo>
                    <a:pt x="35560" y="0"/>
                  </a:lnTo>
                  <a:lnTo>
                    <a:pt x="0" y="3619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422" name="Google Shape;422;p14"/>
            <p:cNvSpPr/>
            <p:nvPr/>
          </p:nvSpPr>
          <p:spPr>
            <a:xfrm>
              <a:off x="3750945" y="1025525"/>
              <a:ext cx="224154" cy="219710"/>
            </a:xfrm>
            <a:custGeom>
              <a:avLst/>
              <a:gdLst/>
              <a:ahLst/>
              <a:cxnLst/>
              <a:rect l="l" t="t" r="r" b="b"/>
              <a:pathLst>
                <a:path w="224154" h="219710" extrusionOk="0">
                  <a:moveTo>
                    <a:pt x="53975" y="17780"/>
                  </a:moveTo>
                  <a:lnTo>
                    <a:pt x="35560" y="0"/>
                  </a:lnTo>
                  <a:lnTo>
                    <a:pt x="0" y="36195"/>
                  </a:lnTo>
                  <a:lnTo>
                    <a:pt x="18415" y="53975"/>
                  </a:lnTo>
                  <a:lnTo>
                    <a:pt x="170815" y="201930"/>
                  </a:lnTo>
                  <a:lnTo>
                    <a:pt x="189230" y="219710"/>
                  </a:lnTo>
                  <a:lnTo>
                    <a:pt x="224155" y="183515"/>
                  </a:lnTo>
                  <a:lnTo>
                    <a:pt x="206375" y="16573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423" name="Google Shape;423;p14"/>
            <p:cNvSpPr/>
            <p:nvPr/>
          </p:nvSpPr>
          <p:spPr>
            <a:xfrm>
              <a:off x="4385945" y="1387475"/>
              <a:ext cx="224154" cy="219710"/>
            </a:xfrm>
            <a:custGeom>
              <a:avLst/>
              <a:gdLst/>
              <a:ahLst/>
              <a:cxnLst/>
              <a:rect l="l" t="t" r="r" b="b"/>
              <a:pathLst>
                <a:path w="224154" h="219710" extrusionOk="0">
                  <a:moveTo>
                    <a:pt x="53975" y="17780"/>
                  </a:moveTo>
                  <a:lnTo>
                    <a:pt x="35560" y="0"/>
                  </a:lnTo>
                  <a:lnTo>
                    <a:pt x="0" y="36195"/>
                  </a:lnTo>
                  <a:lnTo>
                    <a:pt x="18415" y="53975"/>
                  </a:lnTo>
                  <a:lnTo>
                    <a:pt x="170815" y="201930"/>
                  </a:lnTo>
                  <a:lnTo>
                    <a:pt x="189230" y="219710"/>
                  </a:lnTo>
                  <a:lnTo>
                    <a:pt x="224155" y="183515"/>
                  </a:lnTo>
                  <a:lnTo>
                    <a:pt x="206375" y="16573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424" name="Google Shape;424;p14"/>
            <p:cNvSpPr/>
            <p:nvPr/>
          </p:nvSpPr>
          <p:spPr>
            <a:xfrm>
              <a:off x="5020945" y="1749425"/>
              <a:ext cx="224154" cy="219710"/>
            </a:xfrm>
            <a:custGeom>
              <a:avLst/>
              <a:gdLst/>
              <a:ahLst/>
              <a:cxnLst/>
              <a:rect l="l" t="t" r="r" b="b"/>
              <a:pathLst>
                <a:path w="224154" h="219710" extrusionOk="0">
                  <a:moveTo>
                    <a:pt x="53975" y="17780"/>
                  </a:moveTo>
                  <a:lnTo>
                    <a:pt x="35560" y="0"/>
                  </a:lnTo>
                  <a:lnTo>
                    <a:pt x="0" y="36195"/>
                  </a:lnTo>
                  <a:lnTo>
                    <a:pt x="18415" y="53975"/>
                  </a:lnTo>
                  <a:lnTo>
                    <a:pt x="170815" y="201930"/>
                  </a:lnTo>
                  <a:lnTo>
                    <a:pt x="189230" y="219710"/>
                  </a:lnTo>
                  <a:lnTo>
                    <a:pt x="224155" y="183515"/>
                  </a:lnTo>
                  <a:lnTo>
                    <a:pt x="206375" y="16573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425" name="Google Shape;425;p14"/>
            <p:cNvSpPr/>
            <p:nvPr/>
          </p:nvSpPr>
          <p:spPr>
            <a:xfrm>
              <a:off x="5655945" y="2111375"/>
              <a:ext cx="224154" cy="219710"/>
            </a:xfrm>
            <a:custGeom>
              <a:avLst/>
              <a:gdLst/>
              <a:ahLst/>
              <a:cxnLst/>
              <a:rect l="l" t="t" r="r" b="b"/>
              <a:pathLst>
                <a:path w="224154" h="219710" extrusionOk="0">
                  <a:moveTo>
                    <a:pt x="53975" y="17780"/>
                  </a:moveTo>
                  <a:lnTo>
                    <a:pt x="35560" y="0"/>
                  </a:lnTo>
                  <a:lnTo>
                    <a:pt x="0" y="36195"/>
                  </a:lnTo>
                  <a:lnTo>
                    <a:pt x="18415" y="53975"/>
                  </a:lnTo>
                  <a:lnTo>
                    <a:pt x="170815" y="201930"/>
                  </a:lnTo>
                  <a:lnTo>
                    <a:pt x="189230" y="219710"/>
                  </a:lnTo>
                  <a:lnTo>
                    <a:pt x="224155" y="183515"/>
                  </a:lnTo>
                  <a:lnTo>
                    <a:pt x="206375" y="16573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426" name="Google Shape;426;p14"/>
            <p:cNvSpPr/>
            <p:nvPr/>
          </p:nvSpPr>
          <p:spPr>
            <a:xfrm>
              <a:off x="6290945" y="2473325"/>
              <a:ext cx="224154" cy="219710"/>
            </a:xfrm>
            <a:custGeom>
              <a:avLst/>
              <a:gdLst/>
              <a:ahLst/>
              <a:cxnLst/>
              <a:rect l="l" t="t" r="r" b="b"/>
              <a:pathLst>
                <a:path w="224154" h="219710" extrusionOk="0">
                  <a:moveTo>
                    <a:pt x="53975" y="17780"/>
                  </a:moveTo>
                  <a:lnTo>
                    <a:pt x="35560" y="0"/>
                  </a:lnTo>
                  <a:lnTo>
                    <a:pt x="0" y="36195"/>
                  </a:lnTo>
                  <a:lnTo>
                    <a:pt x="18415" y="53975"/>
                  </a:lnTo>
                  <a:lnTo>
                    <a:pt x="170815" y="201930"/>
                  </a:lnTo>
                  <a:lnTo>
                    <a:pt x="189230" y="219710"/>
                  </a:lnTo>
                  <a:lnTo>
                    <a:pt x="224155" y="183515"/>
                  </a:lnTo>
                  <a:lnTo>
                    <a:pt x="206375" y="16573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427" name="Google Shape;427;p14"/>
            <p:cNvSpPr/>
            <p:nvPr/>
          </p:nvSpPr>
          <p:spPr>
            <a:xfrm>
              <a:off x="6925944" y="2835275"/>
              <a:ext cx="224155" cy="219710"/>
            </a:xfrm>
            <a:custGeom>
              <a:avLst/>
              <a:gdLst/>
              <a:ahLst/>
              <a:cxnLst/>
              <a:rect l="l" t="t" r="r" b="b"/>
              <a:pathLst>
                <a:path w="224155" h="219710" extrusionOk="0">
                  <a:moveTo>
                    <a:pt x="18415" y="53975"/>
                  </a:moveTo>
                  <a:lnTo>
                    <a:pt x="170815" y="201930"/>
                  </a:lnTo>
                  <a:lnTo>
                    <a:pt x="189230" y="219710"/>
                  </a:lnTo>
                  <a:lnTo>
                    <a:pt x="224155" y="183515"/>
                  </a:lnTo>
                  <a:lnTo>
                    <a:pt x="206375" y="165735"/>
                  </a:lnTo>
                  <a:lnTo>
                    <a:pt x="53975" y="17780"/>
                  </a:lnTo>
                  <a:lnTo>
                    <a:pt x="35561" y="0"/>
                  </a:lnTo>
                  <a:lnTo>
                    <a:pt x="0" y="3619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428" name="Google Shape;428;p14"/>
            <p:cNvSpPr/>
            <p:nvPr/>
          </p:nvSpPr>
          <p:spPr>
            <a:xfrm>
              <a:off x="7560944" y="3197225"/>
              <a:ext cx="224155" cy="219709"/>
            </a:xfrm>
            <a:custGeom>
              <a:avLst/>
              <a:gdLst/>
              <a:ahLst/>
              <a:cxnLst/>
              <a:rect l="l" t="t" r="r" b="b"/>
              <a:pathLst>
                <a:path w="224155" h="219709" extrusionOk="0">
                  <a:moveTo>
                    <a:pt x="18415" y="53975"/>
                  </a:moveTo>
                  <a:lnTo>
                    <a:pt x="170815" y="201930"/>
                  </a:lnTo>
                  <a:lnTo>
                    <a:pt x="189230" y="219710"/>
                  </a:lnTo>
                  <a:lnTo>
                    <a:pt x="224155" y="183515"/>
                  </a:lnTo>
                  <a:lnTo>
                    <a:pt x="206375" y="165735"/>
                  </a:lnTo>
                  <a:lnTo>
                    <a:pt x="53975" y="17780"/>
                  </a:lnTo>
                  <a:lnTo>
                    <a:pt x="35561" y="0"/>
                  </a:lnTo>
                  <a:lnTo>
                    <a:pt x="0" y="3619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429" name="Google Shape;429;p14"/>
            <p:cNvSpPr/>
            <p:nvPr/>
          </p:nvSpPr>
          <p:spPr>
            <a:xfrm>
              <a:off x="8195944" y="3559175"/>
              <a:ext cx="224155" cy="219709"/>
            </a:xfrm>
            <a:custGeom>
              <a:avLst/>
              <a:gdLst/>
              <a:ahLst/>
              <a:cxnLst/>
              <a:rect l="l" t="t" r="r" b="b"/>
              <a:pathLst>
                <a:path w="224155" h="219709" extrusionOk="0">
                  <a:moveTo>
                    <a:pt x="18415" y="53975"/>
                  </a:moveTo>
                  <a:lnTo>
                    <a:pt x="170815" y="201930"/>
                  </a:lnTo>
                  <a:lnTo>
                    <a:pt x="189230" y="219710"/>
                  </a:lnTo>
                  <a:lnTo>
                    <a:pt x="224155" y="183515"/>
                  </a:lnTo>
                  <a:lnTo>
                    <a:pt x="206375" y="165735"/>
                  </a:lnTo>
                  <a:lnTo>
                    <a:pt x="53975" y="17780"/>
                  </a:lnTo>
                  <a:lnTo>
                    <a:pt x="35561" y="0"/>
                  </a:lnTo>
                  <a:lnTo>
                    <a:pt x="0" y="3619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430" name="Google Shape;430;p14"/>
            <p:cNvSpPr/>
            <p:nvPr/>
          </p:nvSpPr>
          <p:spPr>
            <a:xfrm>
              <a:off x="8830944" y="3921125"/>
              <a:ext cx="224155" cy="219709"/>
            </a:xfrm>
            <a:custGeom>
              <a:avLst/>
              <a:gdLst/>
              <a:ahLst/>
              <a:cxnLst/>
              <a:rect l="l" t="t" r="r" b="b"/>
              <a:pathLst>
                <a:path w="224155" h="219709" extrusionOk="0">
                  <a:moveTo>
                    <a:pt x="189230" y="219710"/>
                  </a:moveTo>
                  <a:lnTo>
                    <a:pt x="224155" y="183515"/>
                  </a:lnTo>
                  <a:lnTo>
                    <a:pt x="206375" y="165735"/>
                  </a:lnTo>
                  <a:lnTo>
                    <a:pt x="53975" y="17780"/>
                  </a:lnTo>
                  <a:lnTo>
                    <a:pt x="35561" y="0"/>
                  </a:lnTo>
                  <a:lnTo>
                    <a:pt x="0" y="36195"/>
                  </a:lnTo>
                  <a:lnTo>
                    <a:pt x="18415" y="53975"/>
                  </a:lnTo>
                  <a:lnTo>
                    <a:pt x="170815" y="20193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431" name="Google Shape;431;p14"/>
            <p:cNvSpPr/>
            <p:nvPr/>
          </p:nvSpPr>
          <p:spPr>
            <a:xfrm>
              <a:off x="9465944" y="4283075"/>
              <a:ext cx="224155" cy="219709"/>
            </a:xfrm>
            <a:custGeom>
              <a:avLst/>
              <a:gdLst/>
              <a:ahLst/>
              <a:cxnLst/>
              <a:rect l="l" t="t" r="r" b="b"/>
              <a:pathLst>
                <a:path w="224155" h="219709" extrusionOk="0">
                  <a:moveTo>
                    <a:pt x="189230" y="219710"/>
                  </a:moveTo>
                  <a:lnTo>
                    <a:pt x="224155" y="183515"/>
                  </a:lnTo>
                  <a:lnTo>
                    <a:pt x="206375" y="165735"/>
                  </a:lnTo>
                  <a:lnTo>
                    <a:pt x="53975" y="17780"/>
                  </a:lnTo>
                  <a:lnTo>
                    <a:pt x="35561" y="0"/>
                  </a:lnTo>
                  <a:lnTo>
                    <a:pt x="0" y="36195"/>
                  </a:lnTo>
                  <a:lnTo>
                    <a:pt x="18415" y="53975"/>
                  </a:lnTo>
                  <a:lnTo>
                    <a:pt x="170815" y="20193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432" name="Google Shape;432;p14"/>
            <p:cNvSpPr/>
            <p:nvPr/>
          </p:nvSpPr>
          <p:spPr>
            <a:xfrm>
              <a:off x="10100944" y="4645025"/>
              <a:ext cx="224155" cy="219709"/>
            </a:xfrm>
            <a:custGeom>
              <a:avLst/>
              <a:gdLst/>
              <a:ahLst/>
              <a:cxnLst/>
              <a:rect l="l" t="t" r="r" b="b"/>
              <a:pathLst>
                <a:path w="224155" h="219709" extrusionOk="0">
                  <a:moveTo>
                    <a:pt x="189230" y="219710"/>
                  </a:moveTo>
                  <a:lnTo>
                    <a:pt x="224155" y="183515"/>
                  </a:lnTo>
                  <a:lnTo>
                    <a:pt x="206375" y="165735"/>
                  </a:lnTo>
                  <a:lnTo>
                    <a:pt x="53975" y="17780"/>
                  </a:lnTo>
                  <a:lnTo>
                    <a:pt x="35561" y="0"/>
                  </a:lnTo>
                  <a:lnTo>
                    <a:pt x="0" y="36195"/>
                  </a:lnTo>
                  <a:lnTo>
                    <a:pt x="18415" y="53975"/>
                  </a:lnTo>
                  <a:lnTo>
                    <a:pt x="170815" y="20193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433" name="Google Shape;433;p14"/>
            <p:cNvSpPr/>
            <p:nvPr/>
          </p:nvSpPr>
          <p:spPr>
            <a:xfrm>
              <a:off x="10735944" y="5006975"/>
              <a:ext cx="224155" cy="219709"/>
            </a:xfrm>
            <a:custGeom>
              <a:avLst/>
              <a:gdLst/>
              <a:ahLst/>
              <a:cxnLst/>
              <a:rect l="l" t="t" r="r" b="b"/>
              <a:pathLst>
                <a:path w="224155" h="219709" extrusionOk="0">
                  <a:moveTo>
                    <a:pt x="189230" y="219710"/>
                  </a:moveTo>
                  <a:lnTo>
                    <a:pt x="224155" y="183515"/>
                  </a:lnTo>
                  <a:lnTo>
                    <a:pt x="206375" y="165735"/>
                  </a:lnTo>
                  <a:lnTo>
                    <a:pt x="53975" y="17780"/>
                  </a:lnTo>
                  <a:lnTo>
                    <a:pt x="35561" y="0"/>
                  </a:lnTo>
                  <a:lnTo>
                    <a:pt x="0" y="36195"/>
                  </a:lnTo>
                  <a:lnTo>
                    <a:pt x="18415" y="53975"/>
                  </a:lnTo>
                  <a:lnTo>
                    <a:pt x="170815" y="20193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434" name="Google Shape;434;p14"/>
            <p:cNvSpPr/>
            <p:nvPr/>
          </p:nvSpPr>
          <p:spPr>
            <a:xfrm>
              <a:off x="11370944" y="5368925"/>
              <a:ext cx="224155" cy="219709"/>
            </a:xfrm>
            <a:custGeom>
              <a:avLst/>
              <a:gdLst/>
              <a:ahLst/>
              <a:cxnLst/>
              <a:rect l="l" t="t" r="r" b="b"/>
              <a:pathLst>
                <a:path w="224155" h="219709" extrusionOk="0">
                  <a:moveTo>
                    <a:pt x="189230" y="219710"/>
                  </a:moveTo>
                  <a:lnTo>
                    <a:pt x="224155" y="183515"/>
                  </a:lnTo>
                  <a:lnTo>
                    <a:pt x="206375" y="165735"/>
                  </a:lnTo>
                  <a:lnTo>
                    <a:pt x="53975" y="17780"/>
                  </a:lnTo>
                  <a:lnTo>
                    <a:pt x="35561" y="0"/>
                  </a:lnTo>
                  <a:lnTo>
                    <a:pt x="0" y="36195"/>
                  </a:lnTo>
                  <a:lnTo>
                    <a:pt x="18415" y="53975"/>
                  </a:lnTo>
                  <a:lnTo>
                    <a:pt x="170815" y="20193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435" name="Google Shape;435;p14"/>
            <p:cNvSpPr/>
            <p:nvPr/>
          </p:nvSpPr>
          <p:spPr>
            <a:xfrm>
              <a:off x="12005944" y="5730875"/>
              <a:ext cx="186055" cy="217170"/>
            </a:xfrm>
            <a:custGeom>
              <a:avLst/>
              <a:gdLst/>
              <a:ahLst/>
              <a:cxnLst/>
              <a:rect l="l" t="t" r="r" b="b"/>
              <a:pathLst>
                <a:path w="186055" h="217170" extrusionOk="0">
                  <a:moveTo>
                    <a:pt x="35561" y="0"/>
                  </a:moveTo>
                  <a:lnTo>
                    <a:pt x="0" y="36195"/>
                  </a:lnTo>
                  <a:lnTo>
                    <a:pt x="18415" y="53975"/>
                  </a:lnTo>
                  <a:lnTo>
                    <a:pt x="170815" y="201930"/>
                  </a:lnTo>
                  <a:lnTo>
                    <a:pt x="186055" y="217170"/>
                  </a:lnTo>
                  <a:lnTo>
                    <a:pt x="186055" y="146050"/>
                  </a:lnTo>
                  <a:lnTo>
                    <a:pt x="53975" y="177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436" name="Google Shape;436;p14"/>
            <p:cNvSpPr/>
            <p:nvPr/>
          </p:nvSpPr>
          <p:spPr>
            <a:xfrm>
              <a:off x="2294254" y="0"/>
              <a:ext cx="207010" cy="152400"/>
            </a:xfrm>
            <a:custGeom>
              <a:avLst/>
              <a:gdLst/>
              <a:ahLst/>
              <a:cxnLst/>
              <a:rect l="l" t="t" r="r" b="b"/>
              <a:pathLst>
                <a:path w="207010" h="152400" extrusionOk="0">
                  <a:moveTo>
                    <a:pt x="154940" y="135255"/>
                  </a:moveTo>
                  <a:lnTo>
                    <a:pt x="173990" y="152400"/>
                  </a:lnTo>
                  <a:lnTo>
                    <a:pt x="207010" y="114300"/>
                  </a:lnTo>
                  <a:lnTo>
                    <a:pt x="187960" y="97155"/>
                  </a:lnTo>
                  <a:lnTo>
                    <a:pt x="77470" y="0"/>
                  </a:lnTo>
                  <a:lnTo>
                    <a:pt x="0" y="0"/>
                  </a:lnTo>
                  <a:lnTo>
                    <a:pt x="2540" y="190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437" name="Google Shape;437;p14"/>
            <p:cNvSpPr/>
            <p:nvPr/>
          </p:nvSpPr>
          <p:spPr>
            <a:xfrm>
              <a:off x="2912745" y="308609"/>
              <a:ext cx="223519" cy="205740"/>
            </a:xfrm>
            <a:custGeom>
              <a:avLst/>
              <a:gdLst/>
              <a:ahLst/>
              <a:cxnLst/>
              <a:rect l="l" t="t" r="r" b="b"/>
              <a:pathLst>
                <a:path w="223519" h="205740" extrusionOk="0">
                  <a:moveTo>
                    <a:pt x="0" y="38100"/>
                  </a:moveTo>
                  <a:lnTo>
                    <a:pt x="19050" y="55245"/>
                  </a:lnTo>
                  <a:lnTo>
                    <a:pt x="171450" y="188595"/>
                  </a:lnTo>
                  <a:lnTo>
                    <a:pt x="190500" y="205740"/>
                  </a:lnTo>
                  <a:lnTo>
                    <a:pt x="223520" y="167640"/>
                  </a:lnTo>
                  <a:lnTo>
                    <a:pt x="204470" y="150495"/>
                  </a:lnTo>
                  <a:lnTo>
                    <a:pt x="52070" y="17145"/>
                  </a:lnTo>
                  <a:lnTo>
                    <a:pt x="3302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438" name="Google Shape;438;p14"/>
            <p:cNvSpPr/>
            <p:nvPr/>
          </p:nvSpPr>
          <p:spPr>
            <a:xfrm>
              <a:off x="3547745" y="670559"/>
              <a:ext cx="223520" cy="205740"/>
            </a:xfrm>
            <a:custGeom>
              <a:avLst/>
              <a:gdLst/>
              <a:ahLst/>
              <a:cxnLst/>
              <a:rect l="l" t="t" r="r" b="b"/>
              <a:pathLst>
                <a:path w="223520" h="205740" extrusionOk="0">
                  <a:moveTo>
                    <a:pt x="0" y="38100"/>
                  </a:moveTo>
                  <a:lnTo>
                    <a:pt x="19050" y="55245"/>
                  </a:lnTo>
                  <a:lnTo>
                    <a:pt x="171450" y="188595"/>
                  </a:lnTo>
                  <a:lnTo>
                    <a:pt x="190500" y="205740"/>
                  </a:lnTo>
                  <a:lnTo>
                    <a:pt x="223520" y="167640"/>
                  </a:lnTo>
                  <a:lnTo>
                    <a:pt x="204470" y="150495"/>
                  </a:lnTo>
                  <a:lnTo>
                    <a:pt x="52070" y="17145"/>
                  </a:lnTo>
                  <a:lnTo>
                    <a:pt x="3302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439" name="Google Shape;439;p14"/>
            <p:cNvSpPr/>
            <p:nvPr/>
          </p:nvSpPr>
          <p:spPr>
            <a:xfrm>
              <a:off x="4182745" y="1032510"/>
              <a:ext cx="223520" cy="205739"/>
            </a:xfrm>
            <a:custGeom>
              <a:avLst/>
              <a:gdLst/>
              <a:ahLst/>
              <a:cxnLst/>
              <a:rect l="l" t="t" r="r" b="b"/>
              <a:pathLst>
                <a:path w="223520" h="205739" extrusionOk="0">
                  <a:moveTo>
                    <a:pt x="0" y="38100"/>
                  </a:moveTo>
                  <a:lnTo>
                    <a:pt x="19050" y="55245"/>
                  </a:lnTo>
                  <a:lnTo>
                    <a:pt x="171450" y="188595"/>
                  </a:lnTo>
                  <a:lnTo>
                    <a:pt x="190500" y="205740"/>
                  </a:lnTo>
                  <a:lnTo>
                    <a:pt x="223520" y="167640"/>
                  </a:lnTo>
                  <a:lnTo>
                    <a:pt x="204470" y="150495"/>
                  </a:lnTo>
                  <a:lnTo>
                    <a:pt x="52070" y="17145"/>
                  </a:lnTo>
                  <a:lnTo>
                    <a:pt x="3302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440" name="Google Shape;440;p14"/>
            <p:cNvSpPr/>
            <p:nvPr/>
          </p:nvSpPr>
          <p:spPr>
            <a:xfrm>
              <a:off x="4817745" y="1394460"/>
              <a:ext cx="223520" cy="205739"/>
            </a:xfrm>
            <a:custGeom>
              <a:avLst/>
              <a:gdLst/>
              <a:ahLst/>
              <a:cxnLst/>
              <a:rect l="l" t="t" r="r" b="b"/>
              <a:pathLst>
                <a:path w="223520" h="205739" extrusionOk="0">
                  <a:moveTo>
                    <a:pt x="0" y="38100"/>
                  </a:moveTo>
                  <a:lnTo>
                    <a:pt x="19050" y="55245"/>
                  </a:lnTo>
                  <a:lnTo>
                    <a:pt x="171450" y="188595"/>
                  </a:lnTo>
                  <a:lnTo>
                    <a:pt x="190500" y="205740"/>
                  </a:lnTo>
                  <a:lnTo>
                    <a:pt x="223520" y="167640"/>
                  </a:lnTo>
                  <a:lnTo>
                    <a:pt x="204470" y="150495"/>
                  </a:lnTo>
                  <a:lnTo>
                    <a:pt x="52070" y="17145"/>
                  </a:lnTo>
                  <a:lnTo>
                    <a:pt x="3302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441" name="Google Shape;441;p14"/>
            <p:cNvSpPr/>
            <p:nvPr/>
          </p:nvSpPr>
          <p:spPr>
            <a:xfrm>
              <a:off x="5452745" y="1756410"/>
              <a:ext cx="223520" cy="205739"/>
            </a:xfrm>
            <a:custGeom>
              <a:avLst/>
              <a:gdLst/>
              <a:ahLst/>
              <a:cxnLst/>
              <a:rect l="l" t="t" r="r" b="b"/>
              <a:pathLst>
                <a:path w="223520" h="205739" extrusionOk="0">
                  <a:moveTo>
                    <a:pt x="0" y="38100"/>
                  </a:moveTo>
                  <a:lnTo>
                    <a:pt x="19050" y="55245"/>
                  </a:lnTo>
                  <a:lnTo>
                    <a:pt x="171450" y="188595"/>
                  </a:lnTo>
                  <a:lnTo>
                    <a:pt x="190500" y="205740"/>
                  </a:lnTo>
                  <a:lnTo>
                    <a:pt x="223520" y="167640"/>
                  </a:lnTo>
                  <a:lnTo>
                    <a:pt x="204470" y="150495"/>
                  </a:lnTo>
                  <a:lnTo>
                    <a:pt x="52070" y="17145"/>
                  </a:lnTo>
                  <a:lnTo>
                    <a:pt x="3302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442" name="Google Shape;442;p14"/>
            <p:cNvSpPr/>
            <p:nvPr/>
          </p:nvSpPr>
          <p:spPr>
            <a:xfrm>
              <a:off x="6087745" y="2118360"/>
              <a:ext cx="223520" cy="205739"/>
            </a:xfrm>
            <a:custGeom>
              <a:avLst/>
              <a:gdLst/>
              <a:ahLst/>
              <a:cxnLst/>
              <a:rect l="l" t="t" r="r" b="b"/>
              <a:pathLst>
                <a:path w="223520" h="205739" extrusionOk="0">
                  <a:moveTo>
                    <a:pt x="0" y="38100"/>
                  </a:moveTo>
                  <a:lnTo>
                    <a:pt x="19050" y="55245"/>
                  </a:lnTo>
                  <a:lnTo>
                    <a:pt x="171450" y="188595"/>
                  </a:lnTo>
                  <a:lnTo>
                    <a:pt x="190500" y="205740"/>
                  </a:lnTo>
                  <a:lnTo>
                    <a:pt x="223520" y="167640"/>
                  </a:lnTo>
                  <a:lnTo>
                    <a:pt x="204470" y="150495"/>
                  </a:lnTo>
                  <a:lnTo>
                    <a:pt x="52070" y="17145"/>
                  </a:lnTo>
                  <a:lnTo>
                    <a:pt x="3302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443" name="Google Shape;443;p14"/>
            <p:cNvSpPr/>
            <p:nvPr/>
          </p:nvSpPr>
          <p:spPr>
            <a:xfrm>
              <a:off x="6722744" y="2480310"/>
              <a:ext cx="223520" cy="205739"/>
            </a:xfrm>
            <a:custGeom>
              <a:avLst/>
              <a:gdLst/>
              <a:ahLst/>
              <a:cxnLst/>
              <a:rect l="l" t="t" r="r" b="b"/>
              <a:pathLst>
                <a:path w="223520" h="205739" extrusionOk="0">
                  <a:moveTo>
                    <a:pt x="0" y="38100"/>
                  </a:moveTo>
                  <a:lnTo>
                    <a:pt x="19050" y="55245"/>
                  </a:lnTo>
                  <a:lnTo>
                    <a:pt x="171450" y="188595"/>
                  </a:lnTo>
                  <a:lnTo>
                    <a:pt x="190500" y="205740"/>
                  </a:lnTo>
                  <a:lnTo>
                    <a:pt x="223520" y="167640"/>
                  </a:lnTo>
                  <a:lnTo>
                    <a:pt x="204470" y="150495"/>
                  </a:lnTo>
                  <a:lnTo>
                    <a:pt x="52070" y="17145"/>
                  </a:lnTo>
                  <a:lnTo>
                    <a:pt x="3302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444" name="Google Shape;444;p14"/>
            <p:cNvSpPr/>
            <p:nvPr/>
          </p:nvSpPr>
          <p:spPr>
            <a:xfrm>
              <a:off x="7357744" y="2842260"/>
              <a:ext cx="223520" cy="205739"/>
            </a:xfrm>
            <a:custGeom>
              <a:avLst/>
              <a:gdLst/>
              <a:ahLst/>
              <a:cxnLst/>
              <a:rect l="l" t="t" r="r" b="b"/>
              <a:pathLst>
                <a:path w="223520" h="205739" extrusionOk="0">
                  <a:moveTo>
                    <a:pt x="0" y="38100"/>
                  </a:moveTo>
                  <a:lnTo>
                    <a:pt x="19050" y="55245"/>
                  </a:lnTo>
                  <a:lnTo>
                    <a:pt x="171450" y="188595"/>
                  </a:lnTo>
                  <a:lnTo>
                    <a:pt x="190500" y="205740"/>
                  </a:lnTo>
                  <a:lnTo>
                    <a:pt x="223520" y="167640"/>
                  </a:lnTo>
                  <a:lnTo>
                    <a:pt x="204470" y="150495"/>
                  </a:lnTo>
                  <a:lnTo>
                    <a:pt x="52070" y="17145"/>
                  </a:lnTo>
                  <a:lnTo>
                    <a:pt x="3302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445" name="Google Shape;445;p14"/>
            <p:cNvSpPr/>
            <p:nvPr/>
          </p:nvSpPr>
          <p:spPr>
            <a:xfrm>
              <a:off x="7992744" y="3204210"/>
              <a:ext cx="223520" cy="205739"/>
            </a:xfrm>
            <a:custGeom>
              <a:avLst/>
              <a:gdLst/>
              <a:ahLst/>
              <a:cxnLst/>
              <a:rect l="l" t="t" r="r" b="b"/>
              <a:pathLst>
                <a:path w="223520" h="205739" extrusionOk="0">
                  <a:moveTo>
                    <a:pt x="0" y="38100"/>
                  </a:moveTo>
                  <a:lnTo>
                    <a:pt x="19050" y="55245"/>
                  </a:lnTo>
                  <a:lnTo>
                    <a:pt x="171450" y="188595"/>
                  </a:lnTo>
                  <a:lnTo>
                    <a:pt x="190500" y="205740"/>
                  </a:lnTo>
                  <a:lnTo>
                    <a:pt x="223520" y="167640"/>
                  </a:lnTo>
                  <a:lnTo>
                    <a:pt x="204470" y="150495"/>
                  </a:lnTo>
                  <a:lnTo>
                    <a:pt x="52070" y="17145"/>
                  </a:lnTo>
                  <a:lnTo>
                    <a:pt x="3302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446" name="Google Shape;446;p14"/>
            <p:cNvSpPr/>
            <p:nvPr/>
          </p:nvSpPr>
          <p:spPr>
            <a:xfrm>
              <a:off x="8627744" y="3566159"/>
              <a:ext cx="223520" cy="205740"/>
            </a:xfrm>
            <a:custGeom>
              <a:avLst/>
              <a:gdLst/>
              <a:ahLst/>
              <a:cxnLst/>
              <a:rect l="l" t="t" r="r" b="b"/>
              <a:pathLst>
                <a:path w="223520" h="205740" extrusionOk="0">
                  <a:moveTo>
                    <a:pt x="33020" y="0"/>
                  </a:moveTo>
                  <a:lnTo>
                    <a:pt x="0" y="38100"/>
                  </a:lnTo>
                  <a:lnTo>
                    <a:pt x="19050" y="55245"/>
                  </a:lnTo>
                  <a:lnTo>
                    <a:pt x="171450" y="188595"/>
                  </a:lnTo>
                  <a:lnTo>
                    <a:pt x="190500" y="205740"/>
                  </a:lnTo>
                  <a:lnTo>
                    <a:pt x="223520" y="167640"/>
                  </a:lnTo>
                  <a:lnTo>
                    <a:pt x="204470" y="150495"/>
                  </a:lnTo>
                  <a:lnTo>
                    <a:pt x="52070" y="1714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447" name="Google Shape;447;p14"/>
            <p:cNvSpPr/>
            <p:nvPr/>
          </p:nvSpPr>
          <p:spPr>
            <a:xfrm>
              <a:off x="9262744" y="3928109"/>
              <a:ext cx="223520" cy="205740"/>
            </a:xfrm>
            <a:custGeom>
              <a:avLst/>
              <a:gdLst/>
              <a:ahLst/>
              <a:cxnLst/>
              <a:rect l="l" t="t" r="r" b="b"/>
              <a:pathLst>
                <a:path w="223520" h="205740" extrusionOk="0">
                  <a:moveTo>
                    <a:pt x="33020" y="0"/>
                  </a:moveTo>
                  <a:lnTo>
                    <a:pt x="0" y="38100"/>
                  </a:lnTo>
                  <a:lnTo>
                    <a:pt x="19050" y="55245"/>
                  </a:lnTo>
                  <a:lnTo>
                    <a:pt x="171450" y="188595"/>
                  </a:lnTo>
                  <a:lnTo>
                    <a:pt x="190500" y="205740"/>
                  </a:lnTo>
                  <a:lnTo>
                    <a:pt x="223520" y="167640"/>
                  </a:lnTo>
                  <a:lnTo>
                    <a:pt x="204470" y="150495"/>
                  </a:lnTo>
                  <a:lnTo>
                    <a:pt x="52070" y="1714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448" name="Google Shape;448;p14"/>
            <p:cNvSpPr/>
            <p:nvPr/>
          </p:nvSpPr>
          <p:spPr>
            <a:xfrm>
              <a:off x="9897744" y="4290059"/>
              <a:ext cx="223520" cy="205740"/>
            </a:xfrm>
            <a:custGeom>
              <a:avLst/>
              <a:gdLst/>
              <a:ahLst/>
              <a:cxnLst/>
              <a:rect l="l" t="t" r="r" b="b"/>
              <a:pathLst>
                <a:path w="223520" h="205740" extrusionOk="0">
                  <a:moveTo>
                    <a:pt x="171450" y="188595"/>
                  </a:moveTo>
                  <a:lnTo>
                    <a:pt x="190500" y="205740"/>
                  </a:lnTo>
                  <a:lnTo>
                    <a:pt x="223520" y="167640"/>
                  </a:lnTo>
                  <a:lnTo>
                    <a:pt x="204470" y="150495"/>
                  </a:lnTo>
                  <a:lnTo>
                    <a:pt x="52070" y="17145"/>
                  </a:lnTo>
                  <a:lnTo>
                    <a:pt x="33020" y="0"/>
                  </a:lnTo>
                  <a:lnTo>
                    <a:pt x="0" y="38100"/>
                  </a:lnTo>
                  <a:lnTo>
                    <a:pt x="19050" y="5524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449" name="Google Shape;449;p14"/>
            <p:cNvSpPr/>
            <p:nvPr/>
          </p:nvSpPr>
          <p:spPr>
            <a:xfrm>
              <a:off x="10532744" y="4652009"/>
              <a:ext cx="223520" cy="205740"/>
            </a:xfrm>
            <a:custGeom>
              <a:avLst/>
              <a:gdLst/>
              <a:ahLst/>
              <a:cxnLst/>
              <a:rect l="l" t="t" r="r" b="b"/>
              <a:pathLst>
                <a:path w="223520" h="205740" extrusionOk="0">
                  <a:moveTo>
                    <a:pt x="171450" y="188595"/>
                  </a:moveTo>
                  <a:lnTo>
                    <a:pt x="190500" y="205740"/>
                  </a:lnTo>
                  <a:lnTo>
                    <a:pt x="223520" y="167640"/>
                  </a:lnTo>
                  <a:lnTo>
                    <a:pt x="204470" y="150495"/>
                  </a:lnTo>
                  <a:lnTo>
                    <a:pt x="52070" y="17145"/>
                  </a:lnTo>
                  <a:lnTo>
                    <a:pt x="33020" y="0"/>
                  </a:lnTo>
                  <a:lnTo>
                    <a:pt x="0" y="38100"/>
                  </a:lnTo>
                  <a:lnTo>
                    <a:pt x="19050" y="5524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450" name="Google Shape;450;p14"/>
            <p:cNvSpPr/>
            <p:nvPr/>
          </p:nvSpPr>
          <p:spPr>
            <a:xfrm>
              <a:off x="11167744" y="5013959"/>
              <a:ext cx="223520" cy="205740"/>
            </a:xfrm>
            <a:custGeom>
              <a:avLst/>
              <a:gdLst/>
              <a:ahLst/>
              <a:cxnLst/>
              <a:rect l="l" t="t" r="r" b="b"/>
              <a:pathLst>
                <a:path w="223520" h="205740" extrusionOk="0">
                  <a:moveTo>
                    <a:pt x="171450" y="188595"/>
                  </a:moveTo>
                  <a:lnTo>
                    <a:pt x="190500" y="205740"/>
                  </a:lnTo>
                  <a:lnTo>
                    <a:pt x="223520" y="167640"/>
                  </a:lnTo>
                  <a:lnTo>
                    <a:pt x="204470" y="150495"/>
                  </a:lnTo>
                  <a:lnTo>
                    <a:pt x="52070" y="17145"/>
                  </a:lnTo>
                  <a:lnTo>
                    <a:pt x="33020" y="0"/>
                  </a:lnTo>
                  <a:lnTo>
                    <a:pt x="0" y="38100"/>
                  </a:lnTo>
                  <a:lnTo>
                    <a:pt x="19050" y="5524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451" name="Google Shape;451;p14"/>
            <p:cNvSpPr/>
            <p:nvPr/>
          </p:nvSpPr>
          <p:spPr>
            <a:xfrm>
              <a:off x="11802744" y="5375909"/>
              <a:ext cx="223520" cy="205740"/>
            </a:xfrm>
            <a:custGeom>
              <a:avLst/>
              <a:gdLst/>
              <a:ahLst/>
              <a:cxnLst/>
              <a:rect l="l" t="t" r="r" b="b"/>
              <a:pathLst>
                <a:path w="223520" h="205740" extrusionOk="0">
                  <a:moveTo>
                    <a:pt x="171450" y="188595"/>
                  </a:moveTo>
                  <a:lnTo>
                    <a:pt x="190500" y="205740"/>
                  </a:lnTo>
                  <a:lnTo>
                    <a:pt x="223520" y="167640"/>
                  </a:lnTo>
                  <a:lnTo>
                    <a:pt x="204470" y="150495"/>
                  </a:lnTo>
                  <a:lnTo>
                    <a:pt x="52070" y="17145"/>
                  </a:lnTo>
                  <a:lnTo>
                    <a:pt x="33020" y="0"/>
                  </a:lnTo>
                  <a:lnTo>
                    <a:pt x="0" y="38100"/>
                  </a:lnTo>
                  <a:lnTo>
                    <a:pt x="19050" y="5524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452" name="Google Shape;452;p14"/>
            <p:cNvSpPr/>
            <p:nvPr/>
          </p:nvSpPr>
          <p:spPr>
            <a:xfrm>
              <a:off x="2736850" y="0"/>
              <a:ext cx="220345" cy="142239"/>
            </a:xfrm>
            <a:custGeom>
              <a:avLst/>
              <a:gdLst/>
              <a:ahLst/>
              <a:cxnLst/>
              <a:rect l="l" t="t" r="r" b="b"/>
              <a:pathLst>
                <a:path w="220345" h="142239" extrusionOk="0">
                  <a:moveTo>
                    <a:pt x="169545" y="127000"/>
                  </a:moveTo>
                  <a:lnTo>
                    <a:pt x="189865" y="142240"/>
                  </a:lnTo>
                  <a:lnTo>
                    <a:pt x="220345" y="101600"/>
                  </a:lnTo>
                  <a:lnTo>
                    <a:pt x="200025" y="86360"/>
                  </a:lnTo>
                  <a:lnTo>
                    <a:pt x="84455" y="0"/>
                  </a:lnTo>
                  <a:lnTo>
                    <a:pt x="0" y="0"/>
                  </a:lnTo>
                  <a:lnTo>
                    <a:pt x="17145" y="1270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453" name="Google Shape;453;p14"/>
            <p:cNvSpPr/>
            <p:nvPr/>
          </p:nvSpPr>
          <p:spPr>
            <a:xfrm>
              <a:off x="3368675" y="318770"/>
              <a:ext cx="223520" cy="185420"/>
            </a:xfrm>
            <a:custGeom>
              <a:avLst/>
              <a:gdLst/>
              <a:ahLst/>
              <a:cxnLst/>
              <a:rect l="l" t="t" r="r" b="b"/>
              <a:pathLst>
                <a:path w="223520" h="185420" extrusionOk="0">
                  <a:moveTo>
                    <a:pt x="30480" y="0"/>
                  </a:moveTo>
                  <a:lnTo>
                    <a:pt x="0" y="40640"/>
                  </a:lnTo>
                  <a:lnTo>
                    <a:pt x="20320" y="55880"/>
                  </a:lnTo>
                  <a:lnTo>
                    <a:pt x="172720" y="170180"/>
                  </a:lnTo>
                  <a:lnTo>
                    <a:pt x="193040" y="185420"/>
                  </a:lnTo>
                  <a:lnTo>
                    <a:pt x="223520" y="144780"/>
                  </a:lnTo>
                  <a:lnTo>
                    <a:pt x="203200" y="129540"/>
                  </a:lnTo>
                  <a:lnTo>
                    <a:pt x="50800" y="152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454" name="Google Shape;454;p14"/>
            <p:cNvSpPr/>
            <p:nvPr/>
          </p:nvSpPr>
          <p:spPr>
            <a:xfrm>
              <a:off x="4003675" y="680719"/>
              <a:ext cx="223520" cy="185419"/>
            </a:xfrm>
            <a:custGeom>
              <a:avLst/>
              <a:gdLst/>
              <a:ahLst/>
              <a:cxnLst/>
              <a:rect l="l" t="t" r="r" b="b"/>
              <a:pathLst>
                <a:path w="223520" h="185419" extrusionOk="0">
                  <a:moveTo>
                    <a:pt x="30480" y="0"/>
                  </a:moveTo>
                  <a:lnTo>
                    <a:pt x="0" y="40640"/>
                  </a:lnTo>
                  <a:lnTo>
                    <a:pt x="20320" y="55880"/>
                  </a:lnTo>
                  <a:lnTo>
                    <a:pt x="172720" y="170180"/>
                  </a:lnTo>
                  <a:lnTo>
                    <a:pt x="193040" y="185420"/>
                  </a:lnTo>
                  <a:lnTo>
                    <a:pt x="223520" y="144780"/>
                  </a:lnTo>
                  <a:lnTo>
                    <a:pt x="203200" y="129540"/>
                  </a:lnTo>
                  <a:lnTo>
                    <a:pt x="50800" y="152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455" name="Google Shape;455;p14"/>
            <p:cNvSpPr/>
            <p:nvPr/>
          </p:nvSpPr>
          <p:spPr>
            <a:xfrm>
              <a:off x="4638675" y="1042669"/>
              <a:ext cx="223520" cy="185419"/>
            </a:xfrm>
            <a:custGeom>
              <a:avLst/>
              <a:gdLst/>
              <a:ahLst/>
              <a:cxnLst/>
              <a:rect l="l" t="t" r="r" b="b"/>
              <a:pathLst>
                <a:path w="223520" h="185419" extrusionOk="0">
                  <a:moveTo>
                    <a:pt x="30480" y="0"/>
                  </a:moveTo>
                  <a:lnTo>
                    <a:pt x="0" y="40640"/>
                  </a:lnTo>
                  <a:lnTo>
                    <a:pt x="20320" y="55880"/>
                  </a:lnTo>
                  <a:lnTo>
                    <a:pt x="172720" y="170180"/>
                  </a:lnTo>
                  <a:lnTo>
                    <a:pt x="193040" y="185420"/>
                  </a:lnTo>
                  <a:lnTo>
                    <a:pt x="223520" y="144780"/>
                  </a:lnTo>
                  <a:lnTo>
                    <a:pt x="203200" y="129540"/>
                  </a:lnTo>
                  <a:lnTo>
                    <a:pt x="50800" y="152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456" name="Google Shape;456;p14"/>
            <p:cNvSpPr/>
            <p:nvPr/>
          </p:nvSpPr>
          <p:spPr>
            <a:xfrm>
              <a:off x="5273675" y="1404619"/>
              <a:ext cx="223520" cy="185419"/>
            </a:xfrm>
            <a:custGeom>
              <a:avLst/>
              <a:gdLst/>
              <a:ahLst/>
              <a:cxnLst/>
              <a:rect l="l" t="t" r="r" b="b"/>
              <a:pathLst>
                <a:path w="223520" h="185419" extrusionOk="0">
                  <a:moveTo>
                    <a:pt x="30480" y="0"/>
                  </a:moveTo>
                  <a:lnTo>
                    <a:pt x="0" y="40640"/>
                  </a:lnTo>
                  <a:lnTo>
                    <a:pt x="20320" y="55880"/>
                  </a:lnTo>
                  <a:lnTo>
                    <a:pt x="172720" y="170180"/>
                  </a:lnTo>
                  <a:lnTo>
                    <a:pt x="193040" y="185420"/>
                  </a:lnTo>
                  <a:lnTo>
                    <a:pt x="223520" y="144780"/>
                  </a:lnTo>
                  <a:lnTo>
                    <a:pt x="203200" y="129540"/>
                  </a:lnTo>
                  <a:lnTo>
                    <a:pt x="50800" y="152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457" name="Google Shape;457;p14"/>
            <p:cNvSpPr/>
            <p:nvPr/>
          </p:nvSpPr>
          <p:spPr>
            <a:xfrm>
              <a:off x="5908675" y="1766570"/>
              <a:ext cx="223520" cy="185419"/>
            </a:xfrm>
            <a:custGeom>
              <a:avLst/>
              <a:gdLst/>
              <a:ahLst/>
              <a:cxnLst/>
              <a:rect l="l" t="t" r="r" b="b"/>
              <a:pathLst>
                <a:path w="223520" h="185419" extrusionOk="0">
                  <a:moveTo>
                    <a:pt x="30480" y="0"/>
                  </a:moveTo>
                  <a:lnTo>
                    <a:pt x="0" y="40640"/>
                  </a:lnTo>
                  <a:lnTo>
                    <a:pt x="20320" y="55880"/>
                  </a:lnTo>
                  <a:lnTo>
                    <a:pt x="172720" y="170180"/>
                  </a:lnTo>
                  <a:lnTo>
                    <a:pt x="193040" y="185420"/>
                  </a:lnTo>
                  <a:lnTo>
                    <a:pt x="223520" y="144780"/>
                  </a:lnTo>
                  <a:lnTo>
                    <a:pt x="203200" y="129540"/>
                  </a:lnTo>
                  <a:lnTo>
                    <a:pt x="50800" y="152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458" name="Google Shape;458;p14"/>
            <p:cNvSpPr/>
            <p:nvPr/>
          </p:nvSpPr>
          <p:spPr>
            <a:xfrm>
              <a:off x="6543675" y="2128520"/>
              <a:ext cx="223519" cy="185419"/>
            </a:xfrm>
            <a:custGeom>
              <a:avLst/>
              <a:gdLst/>
              <a:ahLst/>
              <a:cxnLst/>
              <a:rect l="l" t="t" r="r" b="b"/>
              <a:pathLst>
                <a:path w="223519" h="185419" extrusionOk="0">
                  <a:moveTo>
                    <a:pt x="30480" y="0"/>
                  </a:moveTo>
                  <a:lnTo>
                    <a:pt x="0" y="40640"/>
                  </a:lnTo>
                  <a:lnTo>
                    <a:pt x="20320" y="55880"/>
                  </a:lnTo>
                  <a:lnTo>
                    <a:pt x="172720" y="170180"/>
                  </a:lnTo>
                  <a:lnTo>
                    <a:pt x="193040" y="185420"/>
                  </a:lnTo>
                  <a:lnTo>
                    <a:pt x="223520" y="144780"/>
                  </a:lnTo>
                  <a:lnTo>
                    <a:pt x="203200" y="129540"/>
                  </a:lnTo>
                  <a:lnTo>
                    <a:pt x="50800" y="152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459" name="Google Shape;459;p14"/>
            <p:cNvSpPr/>
            <p:nvPr/>
          </p:nvSpPr>
          <p:spPr>
            <a:xfrm>
              <a:off x="7178675" y="2490470"/>
              <a:ext cx="223519" cy="185419"/>
            </a:xfrm>
            <a:custGeom>
              <a:avLst/>
              <a:gdLst/>
              <a:ahLst/>
              <a:cxnLst/>
              <a:rect l="l" t="t" r="r" b="b"/>
              <a:pathLst>
                <a:path w="223519" h="185419" extrusionOk="0">
                  <a:moveTo>
                    <a:pt x="30480" y="0"/>
                  </a:moveTo>
                  <a:lnTo>
                    <a:pt x="0" y="40640"/>
                  </a:lnTo>
                  <a:lnTo>
                    <a:pt x="20320" y="55880"/>
                  </a:lnTo>
                  <a:lnTo>
                    <a:pt x="172720" y="170180"/>
                  </a:lnTo>
                  <a:lnTo>
                    <a:pt x="193040" y="185420"/>
                  </a:lnTo>
                  <a:lnTo>
                    <a:pt x="223520" y="144780"/>
                  </a:lnTo>
                  <a:lnTo>
                    <a:pt x="203200" y="129540"/>
                  </a:lnTo>
                  <a:lnTo>
                    <a:pt x="50800" y="152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460" name="Google Shape;460;p14"/>
            <p:cNvSpPr/>
            <p:nvPr/>
          </p:nvSpPr>
          <p:spPr>
            <a:xfrm>
              <a:off x="7813675" y="2852420"/>
              <a:ext cx="223519" cy="185419"/>
            </a:xfrm>
            <a:custGeom>
              <a:avLst/>
              <a:gdLst/>
              <a:ahLst/>
              <a:cxnLst/>
              <a:rect l="l" t="t" r="r" b="b"/>
              <a:pathLst>
                <a:path w="223519" h="185419" extrusionOk="0">
                  <a:moveTo>
                    <a:pt x="50800" y="15240"/>
                  </a:moveTo>
                  <a:lnTo>
                    <a:pt x="30480" y="0"/>
                  </a:lnTo>
                  <a:lnTo>
                    <a:pt x="0" y="40640"/>
                  </a:lnTo>
                  <a:lnTo>
                    <a:pt x="20320" y="55880"/>
                  </a:lnTo>
                  <a:lnTo>
                    <a:pt x="172720" y="170180"/>
                  </a:lnTo>
                  <a:lnTo>
                    <a:pt x="193040" y="185420"/>
                  </a:lnTo>
                  <a:lnTo>
                    <a:pt x="223520" y="144780"/>
                  </a:lnTo>
                  <a:lnTo>
                    <a:pt x="203200" y="1295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461" name="Google Shape;461;p14"/>
            <p:cNvSpPr/>
            <p:nvPr/>
          </p:nvSpPr>
          <p:spPr>
            <a:xfrm>
              <a:off x="8448675" y="3214370"/>
              <a:ext cx="223519" cy="185420"/>
            </a:xfrm>
            <a:custGeom>
              <a:avLst/>
              <a:gdLst/>
              <a:ahLst/>
              <a:cxnLst/>
              <a:rect l="l" t="t" r="r" b="b"/>
              <a:pathLst>
                <a:path w="223519" h="185420" extrusionOk="0">
                  <a:moveTo>
                    <a:pt x="50800" y="15240"/>
                  </a:moveTo>
                  <a:lnTo>
                    <a:pt x="30480" y="0"/>
                  </a:lnTo>
                  <a:lnTo>
                    <a:pt x="0" y="40640"/>
                  </a:lnTo>
                  <a:lnTo>
                    <a:pt x="20320" y="55880"/>
                  </a:lnTo>
                  <a:lnTo>
                    <a:pt x="172720" y="170180"/>
                  </a:lnTo>
                  <a:lnTo>
                    <a:pt x="193040" y="185420"/>
                  </a:lnTo>
                  <a:lnTo>
                    <a:pt x="223520" y="144780"/>
                  </a:lnTo>
                  <a:lnTo>
                    <a:pt x="203200" y="1295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462" name="Google Shape;462;p14"/>
            <p:cNvSpPr/>
            <p:nvPr/>
          </p:nvSpPr>
          <p:spPr>
            <a:xfrm>
              <a:off x="9083675" y="3576320"/>
              <a:ext cx="223519" cy="185420"/>
            </a:xfrm>
            <a:custGeom>
              <a:avLst/>
              <a:gdLst/>
              <a:ahLst/>
              <a:cxnLst/>
              <a:rect l="l" t="t" r="r" b="b"/>
              <a:pathLst>
                <a:path w="223519" h="185420" extrusionOk="0">
                  <a:moveTo>
                    <a:pt x="50800" y="15240"/>
                  </a:moveTo>
                  <a:lnTo>
                    <a:pt x="30480" y="0"/>
                  </a:lnTo>
                  <a:lnTo>
                    <a:pt x="0" y="40640"/>
                  </a:lnTo>
                  <a:lnTo>
                    <a:pt x="20320" y="55880"/>
                  </a:lnTo>
                  <a:lnTo>
                    <a:pt x="172720" y="170180"/>
                  </a:lnTo>
                  <a:lnTo>
                    <a:pt x="193040" y="185420"/>
                  </a:lnTo>
                  <a:lnTo>
                    <a:pt x="223520" y="144780"/>
                  </a:lnTo>
                  <a:lnTo>
                    <a:pt x="203200" y="1295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463" name="Google Shape;463;p14"/>
            <p:cNvSpPr/>
            <p:nvPr/>
          </p:nvSpPr>
          <p:spPr>
            <a:xfrm>
              <a:off x="9718675" y="3938270"/>
              <a:ext cx="223519" cy="185420"/>
            </a:xfrm>
            <a:custGeom>
              <a:avLst/>
              <a:gdLst/>
              <a:ahLst/>
              <a:cxnLst/>
              <a:rect l="l" t="t" r="r" b="b"/>
              <a:pathLst>
                <a:path w="223519" h="185420" extrusionOk="0">
                  <a:moveTo>
                    <a:pt x="0" y="40640"/>
                  </a:moveTo>
                  <a:lnTo>
                    <a:pt x="20320" y="55880"/>
                  </a:lnTo>
                  <a:lnTo>
                    <a:pt x="172720" y="170180"/>
                  </a:lnTo>
                  <a:lnTo>
                    <a:pt x="193040" y="185420"/>
                  </a:lnTo>
                  <a:lnTo>
                    <a:pt x="223520" y="144780"/>
                  </a:lnTo>
                  <a:lnTo>
                    <a:pt x="203200" y="129540"/>
                  </a:lnTo>
                  <a:lnTo>
                    <a:pt x="50800" y="15240"/>
                  </a:lnTo>
                  <a:lnTo>
                    <a:pt x="3048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464" name="Google Shape;464;p14"/>
            <p:cNvSpPr/>
            <p:nvPr/>
          </p:nvSpPr>
          <p:spPr>
            <a:xfrm>
              <a:off x="10353675" y="4300220"/>
              <a:ext cx="223519" cy="185420"/>
            </a:xfrm>
            <a:custGeom>
              <a:avLst/>
              <a:gdLst/>
              <a:ahLst/>
              <a:cxnLst/>
              <a:rect l="l" t="t" r="r" b="b"/>
              <a:pathLst>
                <a:path w="223519" h="185420" extrusionOk="0">
                  <a:moveTo>
                    <a:pt x="0" y="40640"/>
                  </a:moveTo>
                  <a:lnTo>
                    <a:pt x="20320" y="55880"/>
                  </a:lnTo>
                  <a:lnTo>
                    <a:pt x="172720" y="170180"/>
                  </a:lnTo>
                  <a:lnTo>
                    <a:pt x="193040" y="185420"/>
                  </a:lnTo>
                  <a:lnTo>
                    <a:pt x="223520" y="144780"/>
                  </a:lnTo>
                  <a:lnTo>
                    <a:pt x="203200" y="129540"/>
                  </a:lnTo>
                  <a:lnTo>
                    <a:pt x="50800" y="15240"/>
                  </a:lnTo>
                  <a:lnTo>
                    <a:pt x="3048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465" name="Google Shape;465;p14"/>
            <p:cNvSpPr/>
            <p:nvPr/>
          </p:nvSpPr>
          <p:spPr>
            <a:xfrm>
              <a:off x="10988675" y="4662170"/>
              <a:ext cx="223519" cy="185420"/>
            </a:xfrm>
            <a:custGeom>
              <a:avLst/>
              <a:gdLst/>
              <a:ahLst/>
              <a:cxnLst/>
              <a:rect l="l" t="t" r="r" b="b"/>
              <a:pathLst>
                <a:path w="223519" h="185420" extrusionOk="0">
                  <a:moveTo>
                    <a:pt x="172720" y="170180"/>
                  </a:moveTo>
                  <a:lnTo>
                    <a:pt x="193040" y="185420"/>
                  </a:lnTo>
                  <a:lnTo>
                    <a:pt x="223520" y="144780"/>
                  </a:lnTo>
                  <a:lnTo>
                    <a:pt x="203200" y="129540"/>
                  </a:lnTo>
                  <a:lnTo>
                    <a:pt x="50800" y="15240"/>
                  </a:lnTo>
                  <a:lnTo>
                    <a:pt x="30480" y="0"/>
                  </a:lnTo>
                  <a:lnTo>
                    <a:pt x="0" y="40640"/>
                  </a:lnTo>
                  <a:lnTo>
                    <a:pt x="20320" y="558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466" name="Google Shape;466;p14"/>
            <p:cNvSpPr/>
            <p:nvPr/>
          </p:nvSpPr>
          <p:spPr>
            <a:xfrm>
              <a:off x="11623675" y="5024120"/>
              <a:ext cx="223519" cy="185420"/>
            </a:xfrm>
            <a:custGeom>
              <a:avLst/>
              <a:gdLst/>
              <a:ahLst/>
              <a:cxnLst/>
              <a:rect l="l" t="t" r="r" b="b"/>
              <a:pathLst>
                <a:path w="223519" h="185420" extrusionOk="0">
                  <a:moveTo>
                    <a:pt x="172720" y="170180"/>
                  </a:moveTo>
                  <a:lnTo>
                    <a:pt x="193040" y="185420"/>
                  </a:lnTo>
                  <a:lnTo>
                    <a:pt x="223520" y="144780"/>
                  </a:lnTo>
                  <a:lnTo>
                    <a:pt x="203200" y="129540"/>
                  </a:lnTo>
                  <a:lnTo>
                    <a:pt x="50800" y="15240"/>
                  </a:lnTo>
                  <a:lnTo>
                    <a:pt x="30480" y="0"/>
                  </a:lnTo>
                  <a:lnTo>
                    <a:pt x="0" y="40640"/>
                  </a:lnTo>
                  <a:lnTo>
                    <a:pt x="20320" y="558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467" name="Google Shape;467;p14"/>
            <p:cNvSpPr/>
            <p:nvPr/>
          </p:nvSpPr>
          <p:spPr>
            <a:xfrm>
              <a:off x="3221989" y="0"/>
              <a:ext cx="222250" cy="129539"/>
            </a:xfrm>
            <a:custGeom>
              <a:avLst/>
              <a:gdLst/>
              <a:ahLst/>
              <a:cxnLst/>
              <a:rect l="l" t="t" r="r" b="b"/>
              <a:pathLst>
                <a:path w="222250" h="129539" extrusionOk="0">
                  <a:moveTo>
                    <a:pt x="174625" y="116205"/>
                  </a:moveTo>
                  <a:lnTo>
                    <a:pt x="196215" y="129540"/>
                  </a:lnTo>
                  <a:lnTo>
                    <a:pt x="222250" y="85725"/>
                  </a:lnTo>
                  <a:lnTo>
                    <a:pt x="200025" y="72390"/>
                  </a:lnTo>
                  <a:lnTo>
                    <a:pt x="76835" y="0"/>
                  </a:lnTo>
                  <a:lnTo>
                    <a:pt x="8255" y="0"/>
                  </a:lnTo>
                  <a:lnTo>
                    <a:pt x="0" y="13335"/>
                  </a:lnTo>
                  <a:lnTo>
                    <a:pt x="22225" y="2667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468" name="Google Shape;468;p14"/>
            <p:cNvSpPr/>
            <p:nvPr/>
          </p:nvSpPr>
          <p:spPr>
            <a:xfrm>
              <a:off x="3856990" y="332104"/>
              <a:ext cx="222250" cy="159385"/>
            </a:xfrm>
            <a:custGeom>
              <a:avLst/>
              <a:gdLst/>
              <a:ahLst/>
              <a:cxnLst/>
              <a:rect l="l" t="t" r="r" b="b"/>
              <a:pathLst>
                <a:path w="222250" h="159385" extrusionOk="0">
                  <a:moveTo>
                    <a:pt x="26035" y="0"/>
                  </a:moveTo>
                  <a:lnTo>
                    <a:pt x="0" y="43180"/>
                  </a:lnTo>
                  <a:lnTo>
                    <a:pt x="22225" y="56515"/>
                  </a:lnTo>
                  <a:lnTo>
                    <a:pt x="174625" y="146050"/>
                  </a:lnTo>
                  <a:lnTo>
                    <a:pt x="196215" y="159385"/>
                  </a:lnTo>
                  <a:lnTo>
                    <a:pt x="222250" y="115570"/>
                  </a:lnTo>
                  <a:lnTo>
                    <a:pt x="200025" y="102235"/>
                  </a:lnTo>
                  <a:lnTo>
                    <a:pt x="47625" y="1270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469" name="Google Shape;469;p14"/>
            <p:cNvSpPr/>
            <p:nvPr/>
          </p:nvSpPr>
          <p:spPr>
            <a:xfrm>
              <a:off x="4491990" y="694055"/>
              <a:ext cx="222250" cy="159384"/>
            </a:xfrm>
            <a:custGeom>
              <a:avLst/>
              <a:gdLst/>
              <a:ahLst/>
              <a:cxnLst/>
              <a:rect l="l" t="t" r="r" b="b"/>
              <a:pathLst>
                <a:path w="222250" h="159384" extrusionOk="0">
                  <a:moveTo>
                    <a:pt x="26035" y="0"/>
                  </a:moveTo>
                  <a:lnTo>
                    <a:pt x="0" y="43180"/>
                  </a:lnTo>
                  <a:lnTo>
                    <a:pt x="22225" y="56515"/>
                  </a:lnTo>
                  <a:lnTo>
                    <a:pt x="174625" y="146050"/>
                  </a:lnTo>
                  <a:lnTo>
                    <a:pt x="196215" y="159385"/>
                  </a:lnTo>
                  <a:lnTo>
                    <a:pt x="222250" y="115570"/>
                  </a:lnTo>
                  <a:lnTo>
                    <a:pt x="200025" y="102235"/>
                  </a:lnTo>
                  <a:lnTo>
                    <a:pt x="47625" y="1270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470" name="Google Shape;470;p14"/>
            <p:cNvSpPr/>
            <p:nvPr/>
          </p:nvSpPr>
          <p:spPr>
            <a:xfrm>
              <a:off x="5126990" y="1056005"/>
              <a:ext cx="222250" cy="159384"/>
            </a:xfrm>
            <a:custGeom>
              <a:avLst/>
              <a:gdLst/>
              <a:ahLst/>
              <a:cxnLst/>
              <a:rect l="l" t="t" r="r" b="b"/>
              <a:pathLst>
                <a:path w="222250" h="159384" extrusionOk="0">
                  <a:moveTo>
                    <a:pt x="26035" y="0"/>
                  </a:moveTo>
                  <a:lnTo>
                    <a:pt x="0" y="43180"/>
                  </a:lnTo>
                  <a:lnTo>
                    <a:pt x="22225" y="56515"/>
                  </a:lnTo>
                  <a:lnTo>
                    <a:pt x="174625" y="146050"/>
                  </a:lnTo>
                  <a:lnTo>
                    <a:pt x="196215" y="159385"/>
                  </a:lnTo>
                  <a:lnTo>
                    <a:pt x="222250" y="115570"/>
                  </a:lnTo>
                  <a:lnTo>
                    <a:pt x="200025" y="102235"/>
                  </a:lnTo>
                  <a:lnTo>
                    <a:pt x="47625" y="1270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471" name="Google Shape;471;p14"/>
            <p:cNvSpPr/>
            <p:nvPr/>
          </p:nvSpPr>
          <p:spPr>
            <a:xfrm>
              <a:off x="5761990" y="1417955"/>
              <a:ext cx="222250" cy="159384"/>
            </a:xfrm>
            <a:custGeom>
              <a:avLst/>
              <a:gdLst/>
              <a:ahLst/>
              <a:cxnLst/>
              <a:rect l="l" t="t" r="r" b="b"/>
              <a:pathLst>
                <a:path w="222250" h="159384" extrusionOk="0">
                  <a:moveTo>
                    <a:pt x="26035" y="0"/>
                  </a:moveTo>
                  <a:lnTo>
                    <a:pt x="0" y="43180"/>
                  </a:lnTo>
                  <a:lnTo>
                    <a:pt x="22225" y="56515"/>
                  </a:lnTo>
                  <a:lnTo>
                    <a:pt x="174625" y="146050"/>
                  </a:lnTo>
                  <a:lnTo>
                    <a:pt x="196215" y="159385"/>
                  </a:lnTo>
                  <a:lnTo>
                    <a:pt x="222250" y="115570"/>
                  </a:lnTo>
                  <a:lnTo>
                    <a:pt x="200025" y="102235"/>
                  </a:lnTo>
                  <a:lnTo>
                    <a:pt x="47625" y="1270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472" name="Google Shape;472;p14"/>
            <p:cNvSpPr/>
            <p:nvPr/>
          </p:nvSpPr>
          <p:spPr>
            <a:xfrm>
              <a:off x="6396990" y="1779904"/>
              <a:ext cx="222250" cy="159385"/>
            </a:xfrm>
            <a:custGeom>
              <a:avLst/>
              <a:gdLst/>
              <a:ahLst/>
              <a:cxnLst/>
              <a:rect l="l" t="t" r="r" b="b"/>
              <a:pathLst>
                <a:path w="222250" h="159385" extrusionOk="0">
                  <a:moveTo>
                    <a:pt x="26035" y="0"/>
                  </a:moveTo>
                  <a:lnTo>
                    <a:pt x="0" y="43180"/>
                  </a:lnTo>
                  <a:lnTo>
                    <a:pt x="22225" y="56515"/>
                  </a:lnTo>
                  <a:lnTo>
                    <a:pt x="174625" y="146050"/>
                  </a:lnTo>
                  <a:lnTo>
                    <a:pt x="196215" y="159385"/>
                  </a:lnTo>
                  <a:lnTo>
                    <a:pt x="222250" y="115570"/>
                  </a:lnTo>
                  <a:lnTo>
                    <a:pt x="200025" y="102235"/>
                  </a:lnTo>
                  <a:lnTo>
                    <a:pt x="47625" y="1270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473" name="Google Shape;473;p14"/>
            <p:cNvSpPr/>
            <p:nvPr/>
          </p:nvSpPr>
          <p:spPr>
            <a:xfrm>
              <a:off x="7031990" y="2141854"/>
              <a:ext cx="222250" cy="159385"/>
            </a:xfrm>
            <a:custGeom>
              <a:avLst/>
              <a:gdLst/>
              <a:ahLst/>
              <a:cxnLst/>
              <a:rect l="l" t="t" r="r" b="b"/>
              <a:pathLst>
                <a:path w="222250" h="159385" extrusionOk="0">
                  <a:moveTo>
                    <a:pt x="47625" y="12700"/>
                  </a:moveTo>
                  <a:lnTo>
                    <a:pt x="26035" y="0"/>
                  </a:lnTo>
                  <a:lnTo>
                    <a:pt x="0" y="43180"/>
                  </a:lnTo>
                  <a:lnTo>
                    <a:pt x="22225" y="56515"/>
                  </a:lnTo>
                  <a:lnTo>
                    <a:pt x="174625" y="146050"/>
                  </a:lnTo>
                  <a:lnTo>
                    <a:pt x="196215" y="159385"/>
                  </a:lnTo>
                  <a:lnTo>
                    <a:pt x="222250" y="115570"/>
                  </a:lnTo>
                  <a:lnTo>
                    <a:pt x="200025" y="10223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474" name="Google Shape;474;p14"/>
            <p:cNvSpPr/>
            <p:nvPr/>
          </p:nvSpPr>
          <p:spPr>
            <a:xfrm>
              <a:off x="7666990" y="2503804"/>
              <a:ext cx="222250" cy="159385"/>
            </a:xfrm>
            <a:custGeom>
              <a:avLst/>
              <a:gdLst/>
              <a:ahLst/>
              <a:cxnLst/>
              <a:rect l="l" t="t" r="r" b="b"/>
              <a:pathLst>
                <a:path w="222250" h="159385" extrusionOk="0">
                  <a:moveTo>
                    <a:pt x="26035" y="0"/>
                  </a:moveTo>
                  <a:lnTo>
                    <a:pt x="0" y="43180"/>
                  </a:lnTo>
                  <a:lnTo>
                    <a:pt x="22225" y="56515"/>
                  </a:lnTo>
                  <a:lnTo>
                    <a:pt x="174625" y="146050"/>
                  </a:lnTo>
                  <a:lnTo>
                    <a:pt x="196215" y="159385"/>
                  </a:lnTo>
                  <a:lnTo>
                    <a:pt x="222250" y="115570"/>
                  </a:lnTo>
                  <a:lnTo>
                    <a:pt x="200025" y="102235"/>
                  </a:lnTo>
                  <a:lnTo>
                    <a:pt x="47625" y="1270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475" name="Google Shape;475;p14"/>
            <p:cNvSpPr/>
            <p:nvPr/>
          </p:nvSpPr>
          <p:spPr>
            <a:xfrm>
              <a:off x="8301990" y="2865754"/>
              <a:ext cx="222250" cy="159385"/>
            </a:xfrm>
            <a:custGeom>
              <a:avLst/>
              <a:gdLst/>
              <a:ahLst/>
              <a:cxnLst/>
              <a:rect l="l" t="t" r="r" b="b"/>
              <a:pathLst>
                <a:path w="222250" h="159385" extrusionOk="0">
                  <a:moveTo>
                    <a:pt x="47625" y="12700"/>
                  </a:moveTo>
                  <a:lnTo>
                    <a:pt x="26035" y="0"/>
                  </a:lnTo>
                  <a:lnTo>
                    <a:pt x="0" y="43180"/>
                  </a:lnTo>
                  <a:lnTo>
                    <a:pt x="22225" y="56515"/>
                  </a:lnTo>
                  <a:lnTo>
                    <a:pt x="174625" y="146050"/>
                  </a:lnTo>
                  <a:lnTo>
                    <a:pt x="196215" y="159385"/>
                  </a:lnTo>
                  <a:lnTo>
                    <a:pt x="222250" y="115570"/>
                  </a:lnTo>
                  <a:lnTo>
                    <a:pt x="200025" y="10223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476" name="Google Shape;476;p14"/>
            <p:cNvSpPr/>
            <p:nvPr/>
          </p:nvSpPr>
          <p:spPr>
            <a:xfrm>
              <a:off x="8936990" y="3227704"/>
              <a:ext cx="222250" cy="159385"/>
            </a:xfrm>
            <a:custGeom>
              <a:avLst/>
              <a:gdLst/>
              <a:ahLst/>
              <a:cxnLst/>
              <a:rect l="l" t="t" r="r" b="b"/>
              <a:pathLst>
                <a:path w="222250" h="159385" extrusionOk="0">
                  <a:moveTo>
                    <a:pt x="47625" y="12700"/>
                  </a:moveTo>
                  <a:lnTo>
                    <a:pt x="26035" y="0"/>
                  </a:lnTo>
                  <a:lnTo>
                    <a:pt x="0" y="43180"/>
                  </a:lnTo>
                  <a:lnTo>
                    <a:pt x="22225" y="56515"/>
                  </a:lnTo>
                  <a:lnTo>
                    <a:pt x="174625" y="146050"/>
                  </a:lnTo>
                  <a:lnTo>
                    <a:pt x="196215" y="159385"/>
                  </a:lnTo>
                  <a:lnTo>
                    <a:pt x="222250" y="115570"/>
                  </a:lnTo>
                  <a:lnTo>
                    <a:pt x="200025" y="10223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477" name="Google Shape;477;p14"/>
            <p:cNvSpPr/>
            <p:nvPr/>
          </p:nvSpPr>
          <p:spPr>
            <a:xfrm>
              <a:off x="9571990" y="3589654"/>
              <a:ext cx="222250" cy="159385"/>
            </a:xfrm>
            <a:custGeom>
              <a:avLst/>
              <a:gdLst/>
              <a:ahLst/>
              <a:cxnLst/>
              <a:rect l="l" t="t" r="r" b="b"/>
              <a:pathLst>
                <a:path w="222250" h="159385" extrusionOk="0">
                  <a:moveTo>
                    <a:pt x="47625" y="12700"/>
                  </a:moveTo>
                  <a:lnTo>
                    <a:pt x="26035" y="0"/>
                  </a:lnTo>
                  <a:lnTo>
                    <a:pt x="0" y="43180"/>
                  </a:lnTo>
                  <a:lnTo>
                    <a:pt x="22225" y="56515"/>
                  </a:lnTo>
                  <a:lnTo>
                    <a:pt x="174625" y="146050"/>
                  </a:lnTo>
                  <a:lnTo>
                    <a:pt x="196215" y="159385"/>
                  </a:lnTo>
                  <a:lnTo>
                    <a:pt x="222250" y="115570"/>
                  </a:lnTo>
                  <a:lnTo>
                    <a:pt x="200025" y="10223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478" name="Google Shape;478;p14"/>
            <p:cNvSpPr/>
            <p:nvPr/>
          </p:nvSpPr>
          <p:spPr>
            <a:xfrm>
              <a:off x="10206990" y="3951604"/>
              <a:ext cx="222250" cy="159385"/>
            </a:xfrm>
            <a:custGeom>
              <a:avLst/>
              <a:gdLst/>
              <a:ahLst/>
              <a:cxnLst/>
              <a:rect l="l" t="t" r="r" b="b"/>
              <a:pathLst>
                <a:path w="222250" h="159385" extrusionOk="0">
                  <a:moveTo>
                    <a:pt x="47625" y="12700"/>
                  </a:moveTo>
                  <a:lnTo>
                    <a:pt x="26035" y="0"/>
                  </a:lnTo>
                  <a:lnTo>
                    <a:pt x="0" y="43180"/>
                  </a:lnTo>
                  <a:lnTo>
                    <a:pt x="22225" y="56515"/>
                  </a:lnTo>
                  <a:lnTo>
                    <a:pt x="174625" y="146050"/>
                  </a:lnTo>
                  <a:lnTo>
                    <a:pt x="196215" y="159385"/>
                  </a:lnTo>
                  <a:lnTo>
                    <a:pt x="222250" y="115570"/>
                  </a:lnTo>
                  <a:lnTo>
                    <a:pt x="200025" y="10223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479" name="Google Shape;479;p14"/>
            <p:cNvSpPr/>
            <p:nvPr/>
          </p:nvSpPr>
          <p:spPr>
            <a:xfrm>
              <a:off x="10841990" y="4313554"/>
              <a:ext cx="222250" cy="159385"/>
            </a:xfrm>
            <a:custGeom>
              <a:avLst/>
              <a:gdLst/>
              <a:ahLst/>
              <a:cxnLst/>
              <a:rect l="l" t="t" r="r" b="b"/>
              <a:pathLst>
                <a:path w="222250" h="159385" extrusionOk="0">
                  <a:moveTo>
                    <a:pt x="174625" y="146050"/>
                  </a:moveTo>
                  <a:lnTo>
                    <a:pt x="196215" y="159385"/>
                  </a:lnTo>
                  <a:lnTo>
                    <a:pt x="222250" y="115570"/>
                  </a:lnTo>
                  <a:lnTo>
                    <a:pt x="200025" y="102235"/>
                  </a:lnTo>
                  <a:lnTo>
                    <a:pt x="47625" y="12700"/>
                  </a:lnTo>
                  <a:lnTo>
                    <a:pt x="26035" y="0"/>
                  </a:lnTo>
                  <a:lnTo>
                    <a:pt x="0" y="43180"/>
                  </a:lnTo>
                  <a:lnTo>
                    <a:pt x="22225"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480" name="Google Shape;480;p14"/>
            <p:cNvSpPr/>
            <p:nvPr/>
          </p:nvSpPr>
          <p:spPr>
            <a:xfrm>
              <a:off x="11476990" y="4675504"/>
              <a:ext cx="222250" cy="159385"/>
            </a:xfrm>
            <a:custGeom>
              <a:avLst/>
              <a:gdLst/>
              <a:ahLst/>
              <a:cxnLst/>
              <a:rect l="l" t="t" r="r" b="b"/>
              <a:pathLst>
                <a:path w="222250" h="159385" extrusionOk="0">
                  <a:moveTo>
                    <a:pt x="174625" y="146050"/>
                  </a:moveTo>
                  <a:lnTo>
                    <a:pt x="196215" y="159385"/>
                  </a:lnTo>
                  <a:lnTo>
                    <a:pt x="222250" y="115570"/>
                  </a:lnTo>
                  <a:lnTo>
                    <a:pt x="200025" y="102235"/>
                  </a:lnTo>
                  <a:lnTo>
                    <a:pt x="47625" y="12700"/>
                  </a:lnTo>
                  <a:lnTo>
                    <a:pt x="26035" y="0"/>
                  </a:lnTo>
                  <a:lnTo>
                    <a:pt x="0" y="43180"/>
                  </a:lnTo>
                  <a:lnTo>
                    <a:pt x="22225"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481" name="Google Shape;481;p14"/>
            <p:cNvSpPr/>
            <p:nvPr/>
          </p:nvSpPr>
          <p:spPr>
            <a:xfrm>
              <a:off x="12111990" y="5037454"/>
              <a:ext cx="80009" cy="90804"/>
            </a:xfrm>
            <a:custGeom>
              <a:avLst/>
              <a:gdLst/>
              <a:ahLst/>
              <a:cxnLst/>
              <a:rect l="l" t="t" r="r" b="b"/>
              <a:pathLst>
                <a:path w="80009" h="90804" extrusionOk="0">
                  <a:moveTo>
                    <a:pt x="26035" y="0"/>
                  </a:moveTo>
                  <a:lnTo>
                    <a:pt x="0" y="43180"/>
                  </a:lnTo>
                  <a:lnTo>
                    <a:pt x="22225" y="56515"/>
                  </a:lnTo>
                  <a:lnTo>
                    <a:pt x="80010" y="90805"/>
                  </a:lnTo>
                  <a:lnTo>
                    <a:pt x="80010" y="31750"/>
                  </a:lnTo>
                  <a:lnTo>
                    <a:pt x="47625" y="1270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482" name="Google Shape;482;p14"/>
            <p:cNvSpPr/>
            <p:nvPr/>
          </p:nvSpPr>
          <p:spPr>
            <a:xfrm>
              <a:off x="3749040" y="0"/>
              <a:ext cx="218439" cy="113664"/>
            </a:xfrm>
            <a:custGeom>
              <a:avLst/>
              <a:gdLst/>
              <a:ahLst/>
              <a:cxnLst/>
              <a:rect l="l" t="t" r="r" b="b"/>
              <a:pathLst>
                <a:path w="218439" h="113664" extrusionOk="0">
                  <a:moveTo>
                    <a:pt x="175895" y="104140"/>
                  </a:moveTo>
                  <a:lnTo>
                    <a:pt x="199390" y="113665"/>
                  </a:lnTo>
                  <a:lnTo>
                    <a:pt x="218440" y="66675"/>
                  </a:lnTo>
                  <a:lnTo>
                    <a:pt x="194945" y="57150"/>
                  </a:lnTo>
                  <a:lnTo>
                    <a:pt x="54610" y="0"/>
                  </a:lnTo>
                  <a:lnTo>
                    <a:pt x="13335" y="0"/>
                  </a:lnTo>
                  <a:lnTo>
                    <a:pt x="0" y="32385"/>
                  </a:lnTo>
                  <a:lnTo>
                    <a:pt x="23495" y="4191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483" name="Google Shape;483;p14"/>
            <p:cNvSpPr/>
            <p:nvPr/>
          </p:nvSpPr>
          <p:spPr>
            <a:xfrm>
              <a:off x="4384040" y="347345"/>
              <a:ext cx="218439" cy="128270"/>
            </a:xfrm>
            <a:custGeom>
              <a:avLst/>
              <a:gdLst/>
              <a:ahLst/>
              <a:cxnLst/>
              <a:rect l="l" t="t" r="r" b="b"/>
              <a:pathLst>
                <a:path w="218439" h="128270" extrusionOk="0">
                  <a:moveTo>
                    <a:pt x="19050" y="0"/>
                  </a:moveTo>
                  <a:lnTo>
                    <a:pt x="0" y="46990"/>
                  </a:lnTo>
                  <a:lnTo>
                    <a:pt x="23495" y="56515"/>
                  </a:lnTo>
                  <a:lnTo>
                    <a:pt x="175895" y="118745"/>
                  </a:lnTo>
                  <a:lnTo>
                    <a:pt x="199390" y="128270"/>
                  </a:lnTo>
                  <a:lnTo>
                    <a:pt x="218440" y="81280"/>
                  </a:lnTo>
                  <a:lnTo>
                    <a:pt x="194945" y="71755"/>
                  </a:lnTo>
                  <a:lnTo>
                    <a:pt x="42545" y="952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484" name="Google Shape;484;p14"/>
            <p:cNvSpPr/>
            <p:nvPr/>
          </p:nvSpPr>
          <p:spPr>
            <a:xfrm>
              <a:off x="5019040" y="709294"/>
              <a:ext cx="218439" cy="128269"/>
            </a:xfrm>
            <a:custGeom>
              <a:avLst/>
              <a:gdLst/>
              <a:ahLst/>
              <a:cxnLst/>
              <a:rect l="l" t="t" r="r" b="b"/>
              <a:pathLst>
                <a:path w="218439" h="128269" extrusionOk="0">
                  <a:moveTo>
                    <a:pt x="19050" y="0"/>
                  </a:moveTo>
                  <a:lnTo>
                    <a:pt x="0" y="46990"/>
                  </a:lnTo>
                  <a:lnTo>
                    <a:pt x="23495" y="56515"/>
                  </a:lnTo>
                  <a:lnTo>
                    <a:pt x="175895" y="118745"/>
                  </a:lnTo>
                  <a:lnTo>
                    <a:pt x="199390" y="128270"/>
                  </a:lnTo>
                  <a:lnTo>
                    <a:pt x="218440" y="81280"/>
                  </a:lnTo>
                  <a:lnTo>
                    <a:pt x="194945" y="71755"/>
                  </a:lnTo>
                  <a:lnTo>
                    <a:pt x="42545" y="952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485" name="Google Shape;485;p14"/>
            <p:cNvSpPr/>
            <p:nvPr/>
          </p:nvSpPr>
          <p:spPr>
            <a:xfrm>
              <a:off x="5654040" y="1071244"/>
              <a:ext cx="218439" cy="128269"/>
            </a:xfrm>
            <a:custGeom>
              <a:avLst/>
              <a:gdLst/>
              <a:ahLst/>
              <a:cxnLst/>
              <a:rect l="l" t="t" r="r" b="b"/>
              <a:pathLst>
                <a:path w="218439" h="128269" extrusionOk="0">
                  <a:moveTo>
                    <a:pt x="19050" y="0"/>
                  </a:moveTo>
                  <a:lnTo>
                    <a:pt x="0" y="46990"/>
                  </a:lnTo>
                  <a:lnTo>
                    <a:pt x="23495" y="56515"/>
                  </a:lnTo>
                  <a:lnTo>
                    <a:pt x="175895" y="118745"/>
                  </a:lnTo>
                  <a:lnTo>
                    <a:pt x="199390" y="128270"/>
                  </a:lnTo>
                  <a:lnTo>
                    <a:pt x="218440" y="81280"/>
                  </a:lnTo>
                  <a:lnTo>
                    <a:pt x="194945" y="71755"/>
                  </a:lnTo>
                  <a:lnTo>
                    <a:pt x="42545" y="952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486" name="Google Shape;486;p14"/>
            <p:cNvSpPr/>
            <p:nvPr/>
          </p:nvSpPr>
          <p:spPr>
            <a:xfrm>
              <a:off x="6289040" y="1433194"/>
              <a:ext cx="218440" cy="128269"/>
            </a:xfrm>
            <a:custGeom>
              <a:avLst/>
              <a:gdLst/>
              <a:ahLst/>
              <a:cxnLst/>
              <a:rect l="l" t="t" r="r" b="b"/>
              <a:pathLst>
                <a:path w="218440" h="128269" extrusionOk="0">
                  <a:moveTo>
                    <a:pt x="42545" y="9525"/>
                  </a:moveTo>
                  <a:lnTo>
                    <a:pt x="19050" y="0"/>
                  </a:lnTo>
                  <a:lnTo>
                    <a:pt x="0" y="46990"/>
                  </a:lnTo>
                  <a:lnTo>
                    <a:pt x="23495" y="56515"/>
                  </a:lnTo>
                  <a:lnTo>
                    <a:pt x="175895" y="118745"/>
                  </a:lnTo>
                  <a:lnTo>
                    <a:pt x="199390" y="128270"/>
                  </a:lnTo>
                  <a:lnTo>
                    <a:pt x="218440" y="81280"/>
                  </a:lnTo>
                  <a:lnTo>
                    <a:pt x="194945" y="7175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487" name="Google Shape;487;p14"/>
            <p:cNvSpPr/>
            <p:nvPr/>
          </p:nvSpPr>
          <p:spPr>
            <a:xfrm>
              <a:off x="6924040" y="1795145"/>
              <a:ext cx="218440" cy="128269"/>
            </a:xfrm>
            <a:custGeom>
              <a:avLst/>
              <a:gdLst/>
              <a:ahLst/>
              <a:cxnLst/>
              <a:rect l="l" t="t" r="r" b="b"/>
              <a:pathLst>
                <a:path w="218440" h="128269" extrusionOk="0">
                  <a:moveTo>
                    <a:pt x="175895" y="118745"/>
                  </a:moveTo>
                  <a:lnTo>
                    <a:pt x="199390" y="128270"/>
                  </a:lnTo>
                  <a:lnTo>
                    <a:pt x="218440" y="81280"/>
                  </a:lnTo>
                  <a:lnTo>
                    <a:pt x="194945" y="71755"/>
                  </a:lnTo>
                  <a:lnTo>
                    <a:pt x="42545" y="9525"/>
                  </a:lnTo>
                  <a:lnTo>
                    <a:pt x="19050" y="0"/>
                  </a:lnTo>
                  <a:lnTo>
                    <a:pt x="0" y="46990"/>
                  </a:lnTo>
                  <a:lnTo>
                    <a:pt x="23495"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488" name="Google Shape;488;p14"/>
            <p:cNvSpPr/>
            <p:nvPr/>
          </p:nvSpPr>
          <p:spPr>
            <a:xfrm>
              <a:off x="7559040" y="2157095"/>
              <a:ext cx="218440" cy="128269"/>
            </a:xfrm>
            <a:custGeom>
              <a:avLst/>
              <a:gdLst/>
              <a:ahLst/>
              <a:cxnLst/>
              <a:rect l="l" t="t" r="r" b="b"/>
              <a:pathLst>
                <a:path w="218440" h="128269" extrusionOk="0">
                  <a:moveTo>
                    <a:pt x="175895" y="118745"/>
                  </a:moveTo>
                  <a:lnTo>
                    <a:pt x="199390" y="128270"/>
                  </a:lnTo>
                  <a:lnTo>
                    <a:pt x="218440" y="81280"/>
                  </a:lnTo>
                  <a:lnTo>
                    <a:pt x="194945" y="71755"/>
                  </a:lnTo>
                  <a:lnTo>
                    <a:pt x="42545" y="9525"/>
                  </a:lnTo>
                  <a:lnTo>
                    <a:pt x="19050" y="0"/>
                  </a:lnTo>
                  <a:lnTo>
                    <a:pt x="0" y="46990"/>
                  </a:lnTo>
                  <a:lnTo>
                    <a:pt x="23495"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489" name="Google Shape;489;p14"/>
            <p:cNvSpPr/>
            <p:nvPr/>
          </p:nvSpPr>
          <p:spPr>
            <a:xfrm>
              <a:off x="8194040" y="2519045"/>
              <a:ext cx="218440" cy="128269"/>
            </a:xfrm>
            <a:custGeom>
              <a:avLst/>
              <a:gdLst/>
              <a:ahLst/>
              <a:cxnLst/>
              <a:rect l="l" t="t" r="r" b="b"/>
              <a:pathLst>
                <a:path w="218440" h="128269" extrusionOk="0">
                  <a:moveTo>
                    <a:pt x="175895" y="118745"/>
                  </a:moveTo>
                  <a:lnTo>
                    <a:pt x="199390" y="128270"/>
                  </a:lnTo>
                  <a:lnTo>
                    <a:pt x="218440" y="81280"/>
                  </a:lnTo>
                  <a:lnTo>
                    <a:pt x="194945" y="71755"/>
                  </a:lnTo>
                  <a:lnTo>
                    <a:pt x="42545" y="9525"/>
                  </a:lnTo>
                  <a:lnTo>
                    <a:pt x="19050" y="0"/>
                  </a:lnTo>
                  <a:lnTo>
                    <a:pt x="0" y="46990"/>
                  </a:lnTo>
                  <a:lnTo>
                    <a:pt x="23495"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490" name="Google Shape;490;p14"/>
            <p:cNvSpPr/>
            <p:nvPr/>
          </p:nvSpPr>
          <p:spPr>
            <a:xfrm>
              <a:off x="8829040" y="2880995"/>
              <a:ext cx="218440" cy="128269"/>
            </a:xfrm>
            <a:custGeom>
              <a:avLst/>
              <a:gdLst/>
              <a:ahLst/>
              <a:cxnLst/>
              <a:rect l="l" t="t" r="r" b="b"/>
              <a:pathLst>
                <a:path w="218440" h="128269" extrusionOk="0">
                  <a:moveTo>
                    <a:pt x="42545" y="9525"/>
                  </a:moveTo>
                  <a:lnTo>
                    <a:pt x="19050" y="0"/>
                  </a:lnTo>
                  <a:lnTo>
                    <a:pt x="0" y="46990"/>
                  </a:lnTo>
                  <a:lnTo>
                    <a:pt x="23495" y="56515"/>
                  </a:lnTo>
                  <a:lnTo>
                    <a:pt x="175895" y="118745"/>
                  </a:lnTo>
                  <a:lnTo>
                    <a:pt x="199390" y="128270"/>
                  </a:lnTo>
                  <a:lnTo>
                    <a:pt x="218440" y="81280"/>
                  </a:lnTo>
                  <a:lnTo>
                    <a:pt x="194945" y="7175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491" name="Google Shape;491;p14"/>
            <p:cNvSpPr/>
            <p:nvPr/>
          </p:nvSpPr>
          <p:spPr>
            <a:xfrm>
              <a:off x="9464040" y="3242945"/>
              <a:ext cx="218440" cy="128270"/>
            </a:xfrm>
            <a:custGeom>
              <a:avLst/>
              <a:gdLst/>
              <a:ahLst/>
              <a:cxnLst/>
              <a:rect l="l" t="t" r="r" b="b"/>
              <a:pathLst>
                <a:path w="218440" h="128270" extrusionOk="0">
                  <a:moveTo>
                    <a:pt x="175895" y="118745"/>
                  </a:moveTo>
                  <a:lnTo>
                    <a:pt x="199390" y="128270"/>
                  </a:lnTo>
                  <a:lnTo>
                    <a:pt x="218440" y="81280"/>
                  </a:lnTo>
                  <a:lnTo>
                    <a:pt x="194945" y="71755"/>
                  </a:lnTo>
                  <a:lnTo>
                    <a:pt x="42545" y="9525"/>
                  </a:lnTo>
                  <a:lnTo>
                    <a:pt x="19050" y="0"/>
                  </a:lnTo>
                  <a:lnTo>
                    <a:pt x="0" y="46990"/>
                  </a:lnTo>
                  <a:lnTo>
                    <a:pt x="23495"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492" name="Google Shape;492;p14"/>
            <p:cNvSpPr/>
            <p:nvPr/>
          </p:nvSpPr>
          <p:spPr>
            <a:xfrm>
              <a:off x="10099040" y="3604895"/>
              <a:ext cx="218440" cy="128270"/>
            </a:xfrm>
            <a:custGeom>
              <a:avLst/>
              <a:gdLst/>
              <a:ahLst/>
              <a:cxnLst/>
              <a:rect l="l" t="t" r="r" b="b"/>
              <a:pathLst>
                <a:path w="218440" h="128270" extrusionOk="0">
                  <a:moveTo>
                    <a:pt x="175895" y="118745"/>
                  </a:moveTo>
                  <a:lnTo>
                    <a:pt x="199390" y="128270"/>
                  </a:lnTo>
                  <a:lnTo>
                    <a:pt x="218440" y="81280"/>
                  </a:lnTo>
                  <a:lnTo>
                    <a:pt x="194945" y="71755"/>
                  </a:lnTo>
                  <a:lnTo>
                    <a:pt x="42545" y="9525"/>
                  </a:lnTo>
                  <a:lnTo>
                    <a:pt x="19050" y="0"/>
                  </a:lnTo>
                  <a:lnTo>
                    <a:pt x="0" y="46990"/>
                  </a:lnTo>
                  <a:lnTo>
                    <a:pt x="23495"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493" name="Google Shape;493;p14"/>
            <p:cNvSpPr/>
            <p:nvPr/>
          </p:nvSpPr>
          <p:spPr>
            <a:xfrm>
              <a:off x="10734040" y="3966845"/>
              <a:ext cx="218440" cy="128270"/>
            </a:xfrm>
            <a:custGeom>
              <a:avLst/>
              <a:gdLst/>
              <a:ahLst/>
              <a:cxnLst/>
              <a:rect l="l" t="t" r="r" b="b"/>
              <a:pathLst>
                <a:path w="218440" h="128270" extrusionOk="0">
                  <a:moveTo>
                    <a:pt x="175895" y="118745"/>
                  </a:moveTo>
                  <a:lnTo>
                    <a:pt x="199390" y="128270"/>
                  </a:lnTo>
                  <a:lnTo>
                    <a:pt x="218440" y="81280"/>
                  </a:lnTo>
                  <a:lnTo>
                    <a:pt x="194945" y="71755"/>
                  </a:lnTo>
                  <a:lnTo>
                    <a:pt x="42545" y="9525"/>
                  </a:lnTo>
                  <a:lnTo>
                    <a:pt x="19050" y="0"/>
                  </a:lnTo>
                  <a:lnTo>
                    <a:pt x="0" y="46990"/>
                  </a:lnTo>
                  <a:lnTo>
                    <a:pt x="23495"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494" name="Google Shape;494;p14"/>
            <p:cNvSpPr/>
            <p:nvPr/>
          </p:nvSpPr>
          <p:spPr>
            <a:xfrm>
              <a:off x="11369040" y="4328795"/>
              <a:ext cx="218440" cy="128270"/>
            </a:xfrm>
            <a:custGeom>
              <a:avLst/>
              <a:gdLst/>
              <a:ahLst/>
              <a:cxnLst/>
              <a:rect l="l" t="t" r="r" b="b"/>
              <a:pathLst>
                <a:path w="218440" h="128270" extrusionOk="0">
                  <a:moveTo>
                    <a:pt x="175895" y="118745"/>
                  </a:moveTo>
                  <a:lnTo>
                    <a:pt x="199390" y="128270"/>
                  </a:lnTo>
                  <a:lnTo>
                    <a:pt x="218440" y="81280"/>
                  </a:lnTo>
                  <a:lnTo>
                    <a:pt x="194945" y="71755"/>
                  </a:lnTo>
                  <a:lnTo>
                    <a:pt x="42545" y="9525"/>
                  </a:lnTo>
                  <a:lnTo>
                    <a:pt x="19050" y="0"/>
                  </a:lnTo>
                  <a:lnTo>
                    <a:pt x="0" y="46990"/>
                  </a:lnTo>
                  <a:lnTo>
                    <a:pt x="23495"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495" name="Google Shape;495;p14"/>
            <p:cNvSpPr/>
            <p:nvPr/>
          </p:nvSpPr>
          <p:spPr>
            <a:xfrm>
              <a:off x="12004040" y="4690745"/>
              <a:ext cx="187959" cy="123825"/>
            </a:xfrm>
            <a:custGeom>
              <a:avLst/>
              <a:gdLst/>
              <a:ahLst/>
              <a:cxnLst/>
              <a:rect l="l" t="t" r="r" b="b"/>
              <a:pathLst>
                <a:path w="187959" h="123825" extrusionOk="0">
                  <a:moveTo>
                    <a:pt x="19050" y="0"/>
                  </a:moveTo>
                  <a:lnTo>
                    <a:pt x="0" y="46990"/>
                  </a:lnTo>
                  <a:lnTo>
                    <a:pt x="23495" y="56515"/>
                  </a:lnTo>
                  <a:lnTo>
                    <a:pt x="175895" y="118745"/>
                  </a:lnTo>
                  <a:lnTo>
                    <a:pt x="187960" y="123825"/>
                  </a:lnTo>
                  <a:lnTo>
                    <a:pt x="187960" y="68580"/>
                  </a:lnTo>
                  <a:lnTo>
                    <a:pt x="42545" y="952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496" name="Google Shape;496;p14"/>
            <p:cNvSpPr/>
            <p:nvPr/>
          </p:nvSpPr>
          <p:spPr>
            <a:xfrm>
              <a:off x="4319270" y="3810"/>
              <a:ext cx="212725" cy="92075"/>
            </a:xfrm>
            <a:custGeom>
              <a:avLst/>
              <a:gdLst/>
              <a:ahLst/>
              <a:cxnLst/>
              <a:rect l="l" t="t" r="r" b="b"/>
              <a:pathLst>
                <a:path w="212725" h="92075" extrusionOk="0">
                  <a:moveTo>
                    <a:pt x="177165" y="86360"/>
                  </a:moveTo>
                  <a:lnTo>
                    <a:pt x="201930" y="92075"/>
                  </a:lnTo>
                  <a:lnTo>
                    <a:pt x="212725" y="41910"/>
                  </a:lnTo>
                  <a:lnTo>
                    <a:pt x="187325" y="36830"/>
                  </a:lnTo>
                  <a:lnTo>
                    <a:pt x="34925" y="5080"/>
                  </a:lnTo>
                  <a:lnTo>
                    <a:pt x="10160" y="0"/>
                  </a:lnTo>
                  <a:lnTo>
                    <a:pt x="0" y="49530"/>
                  </a:lnTo>
                  <a:lnTo>
                    <a:pt x="24765" y="5461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497" name="Google Shape;497;p14"/>
            <p:cNvSpPr/>
            <p:nvPr/>
          </p:nvSpPr>
          <p:spPr>
            <a:xfrm>
              <a:off x="4954270" y="365759"/>
              <a:ext cx="212725" cy="92075"/>
            </a:xfrm>
            <a:custGeom>
              <a:avLst/>
              <a:gdLst/>
              <a:ahLst/>
              <a:cxnLst/>
              <a:rect l="l" t="t" r="r" b="b"/>
              <a:pathLst>
                <a:path w="212725" h="92075" extrusionOk="0">
                  <a:moveTo>
                    <a:pt x="10160" y="0"/>
                  </a:moveTo>
                  <a:lnTo>
                    <a:pt x="0" y="49530"/>
                  </a:lnTo>
                  <a:lnTo>
                    <a:pt x="24765" y="54610"/>
                  </a:lnTo>
                  <a:lnTo>
                    <a:pt x="177165" y="86360"/>
                  </a:lnTo>
                  <a:lnTo>
                    <a:pt x="201930" y="92075"/>
                  </a:lnTo>
                  <a:lnTo>
                    <a:pt x="212725" y="41910"/>
                  </a:lnTo>
                  <a:lnTo>
                    <a:pt x="187325" y="36830"/>
                  </a:lnTo>
                  <a:lnTo>
                    <a:pt x="34925" y="50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498" name="Google Shape;498;p14"/>
            <p:cNvSpPr/>
            <p:nvPr/>
          </p:nvSpPr>
          <p:spPr>
            <a:xfrm>
              <a:off x="5589270" y="727709"/>
              <a:ext cx="212725" cy="92075"/>
            </a:xfrm>
            <a:custGeom>
              <a:avLst/>
              <a:gdLst/>
              <a:ahLst/>
              <a:cxnLst/>
              <a:rect l="l" t="t" r="r" b="b"/>
              <a:pathLst>
                <a:path w="212725" h="92075" extrusionOk="0">
                  <a:moveTo>
                    <a:pt x="34925" y="5080"/>
                  </a:moveTo>
                  <a:lnTo>
                    <a:pt x="10160" y="0"/>
                  </a:lnTo>
                  <a:lnTo>
                    <a:pt x="0" y="49530"/>
                  </a:lnTo>
                  <a:lnTo>
                    <a:pt x="24765" y="54610"/>
                  </a:lnTo>
                  <a:lnTo>
                    <a:pt x="177165" y="86360"/>
                  </a:lnTo>
                  <a:lnTo>
                    <a:pt x="201930" y="92075"/>
                  </a:lnTo>
                  <a:lnTo>
                    <a:pt x="212725" y="41910"/>
                  </a:lnTo>
                  <a:lnTo>
                    <a:pt x="187325" y="3683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499" name="Google Shape;499;p14"/>
            <p:cNvSpPr/>
            <p:nvPr/>
          </p:nvSpPr>
          <p:spPr>
            <a:xfrm>
              <a:off x="6224270" y="1089660"/>
              <a:ext cx="212725" cy="92075"/>
            </a:xfrm>
            <a:custGeom>
              <a:avLst/>
              <a:gdLst/>
              <a:ahLst/>
              <a:cxnLst/>
              <a:rect l="l" t="t" r="r" b="b"/>
              <a:pathLst>
                <a:path w="212725" h="92075" extrusionOk="0">
                  <a:moveTo>
                    <a:pt x="201930" y="92075"/>
                  </a:moveTo>
                  <a:lnTo>
                    <a:pt x="212725" y="41910"/>
                  </a:lnTo>
                  <a:lnTo>
                    <a:pt x="187325" y="36830"/>
                  </a:lnTo>
                  <a:lnTo>
                    <a:pt x="34925" y="5080"/>
                  </a:lnTo>
                  <a:lnTo>
                    <a:pt x="10160" y="0"/>
                  </a:lnTo>
                  <a:lnTo>
                    <a:pt x="0" y="49530"/>
                  </a:lnTo>
                  <a:lnTo>
                    <a:pt x="24765" y="54610"/>
                  </a:lnTo>
                  <a:lnTo>
                    <a:pt x="177165" y="8636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500" name="Google Shape;500;p14"/>
            <p:cNvSpPr/>
            <p:nvPr/>
          </p:nvSpPr>
          <p:spPr>
            <a:xfrm>
              <a:off x="6859269" y="1451610"/>
              <a:ext cx="212725" cy="92075"/>
            </a:xfrm>
            <a:custGeom>
              <a:avLst/>
              <a:gdLst/>
              <a:ahLst/>
              <a:cxnLst/>
              <a:rect l="l" t="t" r="r" b="b"/>
              <a:pathLst>
                <a:path w="212725" h="92075" extrusionOk="0">
                  <a:moveTo>
                    <a:pt x="201930" y="92075"/>
                  </a:moveTo>
                  <a:lnTo>
                    <a:pt x="212725" y="41910"/>
                  </a:lnTo>
                  <a:lnTo>
                    <a:pt x="187325" y="36830"/>
                  </a:lnTo>
                  <a:lnTo>
                    <a:pt x="34925" y="5080"/>
                  </a:lnTo>
                  <a:lnTo>
                    <a:pt x="10161" y="0"/>
                  </a:lnTo>
                  <a:lnTo>
                    <a:pt x="0" y="49530"/>
                  </a:lnTo>
                  <a:lnTo>
                    <a:pt x="24765" y="54610"/>
                  </a:lnTo>
                  <a:lnTo>
                    <a:pt x="177165" y="8636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501" name="Google Shape;501;p14"/>
            <p:cNvSpPr/>
            <p:nvPr/>
          </p:nvSpPr>
          <p:spPr>
            <a:xfrm>
              <a:off x="7494269" y="1813560"/>
              <a:ext cx="212725" cy="92075"/>
            </a:xfrm>
            <a:custGeom>
              <a:avLst/>
              <a:gdLst/>
              <a:ahLst/>
              <a:cxnLst/>
              <a:rect l="l" t="t" r="r" b="b"/>
              <a:pathLst>
                <a:path w="212725" h="92075" extrusionOk="0">
                  <a:moveTo>
                    <a:pt x="201930" y="92075"/>
                  </a:moveTo>
                  <a:lnTo>
                    <a:pt x="212725" y="41910"/>
                  </a:lnTo>
                  <a:lnTo>
                    <a:pt x="187325" y="36830"/>
                  </a:lnTo>
                  <a:lnTo>
                    <a:pt x="34925" y="5080"/>
                  </a:lnTo>
                  <a:lnTo>
                    <a:pt x="10161" y="0"/>
                  </a:lnTo>
                  <a:lnTo>
                    <a:pt x="0" y="49530"/>
                  </a:lnTo>
                  <a:lnTo>
                    <a:pt x="24765" y="54610"/>
                  </a:lnTo>
                  <a:lnTo>
                    <a:pt x="177165" y="8636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502" name="Google Shape;502;p14"/>
            <p:cNvSpPr/>
            <p:nvPr/>
          </p:nvSpPr>
          <p:spPr>
            <a:xfrm>
              <a:off x="8129269" y="2175510"/>
              <a:ext cx="212725" cy="92075"/>
            </a:xfrm>
            <a:custGeom>
              <a:avLst/>
              <a:gdLst/>
              <a:ahLst/>
              <a:cxnLst/>
              <a:rect l="l" t="t" r="r" b="b"/>
              <a:pathLst>
                <a:path w="212725" h="92075" extrusionOk="0">
                  <a:moveTo>
                    <a:pt x="201930" y="92075"/>
                  </a:moveTo>
                  <a:lnTo>
                    <a:pt x="212725" y="41910"/>
                  </a:lnTo>
                  <a:lnTo>
                    <a:pt x="187325" y="36830"/>
                  </a:lnTo>
                  <a:lnTo>
                    <a:pt x="34925" y="5080"/>
                  </a:lnTo>
                  <a:lnTo>
                    <a:pt x="10161" y="0"/>
                  </a:lnTo>
                  <a:lnTo>
                    <a:pt x="0" y="49530"/>
                  </a:lnTo>
                  <a:lnTo>
                    <a:pt x="24765" y="54610"/>
                  </a:lnTo>
                  <a:lnTo>
                    <a:pt x="177165" y="8636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503" name="Google Shape;503;p14"/>
            <p:cNvSpPr/>
            <p:nvPr/>
          </p:nvSpPr>
          <p:spPr>
            <a:xfrm>
              <a:off x="8764269" y="2537460"/>
              <a:ext cx="212725" cy="92075"/>
            </a:xfrm>
            <a:custGeom>
              <a:avLst/>
              <a:gdLst/>
              <a:ahLst/>
              <a:cxnLst/>
              <a:rect l="l" t="t" r="r" b="b"/>
              <a:pathLst>
                <a:path w="212725" h="92075" extrusionOk="0">
                  <a:moveTo>
                    <a:pt x="34925" y="5080"/>
                  </a:moveTo>
                  <a:lnTo>
                    <a:pt x="10161" y="0"/>
                  </a:lnTo>
                  <a:lnTo>
                    <a:pt x="0" y="49530"/>
                  </a:lnTo>
                  <a:lnTo>
                    <a:pt x="24765" y="54610"/>
                  </a:lnTo>
                  <a:lnTo>
                    <a:pt x="177165" y="86360"/>
                  </a:lnTo>
                  <a:lnTo>
                    <a:pt x="201930" y="92075"/>
                  </a:lnTo>
                  <a:lnTo>
                    <a:pt x="212725" y="41910"/>
                  </a:lnTo>
                  <a:lnTo>
                    <a:pt x="187325" y="3683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504" name="Google Shape;504;p14"/>
            <p:cNvSpPr/>
            <p:nvPr/>
          </p:nvSpPr>
          <p:spPr>
            <a:xfrm>
              <a:off x="9399269" y="2899410"/>
              <a:ext cx="212725" cy="92075"/>
            </a:xfrm>
            <a:custGeom>
              <a:avLst/>
              <a:gdLst/>
              <a:ahLst/>
              <a:cxnLst/>
              <a:rect l="l" t="t" r="r" b="b"/>
              <a:pathLst>
                <a:path w="212725" h="92075" extrusionOk="0">
                  <a:moveTo>
                    <a:pt x="201930" y="92075"/>
                  </a:moveTo>
                  <a:lnTo>
                    <a:pt x="212725" y="41910"/>
                  </a:lnTo>
                  <a:lnTo>
                    <a:pt x="187325" y="36830"/>
                  </a:lnTo>
                  <a:lnTo>
                    <a:pt x="34925" y="5080"/>
                  </a:lnTo>
                  <a:lnTo>
                    <a:pt x="10161" y="0"/>
                  </a:lnTo>
                  <a:lnTo>
                    <a:pt x="0" y="49530"/>
                  </a:lnTo>
                  <a:lnTo>
                    <a:pt x="24765" y="54610"/>
                  </a:lnTo>
                  <a:lnTo>
                    <a:pt x="177165" y="8636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505" name="Google Shape;505;p14"/>
            <p:cNvSpPr/>
            <p:nvPr/>
          </p:nvSpPr>
          <p:spPr>
            <a:xfrm>
              <a:off x="10034269" y="3261359"/>
              <a:ext cx="212725" cy="92075"/>
            </a:xfrm>
            <a:custGeom>
              <a:avLst/>
              <a:gdLst/>
              <a:ahLst/>
              <a:cxnLst/>
              <a:rect l="l" t="t" r="r" b="b"/>
              <a:pathLst>
                <a:path w="212725" h="92075" extrusionOk="0">
                  <a:moveTo>
                    <a:pt x="201930" y="92075"/>
                  </a:moveTo>
                  <a:lnTo>
                    <a:pt x="212725" y="41910"/>
                  </a:lnTo>
                  <a:lnTo>
                    <a:pt x="187325" y="36830"/>
                  </a:lnTo>
                  <a:lnTo>
                    <a:pt x="34925" y="5080"/>
                  </a:lnTo>
                  <a:lnTo>
                    <a:pt x="10161" y="0"/>
                  </a:lnTo>
                  <a:lnTo>
                    <a:pt x="0" y="49530"/>
                  </a:lnTo>
                  <a:lnTo>
                    <a:pt x="24765" y="54610"/>
                  </a:lnTo>
                  <a:lnTo>
                    <a:pt x="177165" y="8636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506" name="Google Shape;506;p14"/>
            <p:cNvSpPr/>
            <p:nvPr/>
          </p:nvSpPr>
          <p:spPr>
            <a:xfrm>
              <a:off x="10669269" y="3623309"/>
              <a:ext cx="212725" cy="92075"/>
            </a:xfrm>
            <a:custGeom>
              <a:avLst/>
              <a:gdLst/>
              <a:ahLst/>
              <a:cxnLst/>
              <a:rect l="l" t="t" r="r" b="b"/>
              <a:pathLst>
                <a:path w="212725" h="92075" extrusionOk="0">
                  <a:moveTo>
                    <a:pt x="201930" y="92075"/>
                  </a:moveTo>
                  <a:lnTo>
                    <a:pt x="212725" y="41910"/>
                  </a:lnTo>
                  <a:lnTo>
                    <a:pt x="187325" y="36830"/>
                  </a:lnTo>
                  <a:lnTo>
                    <a:pt x="34925" y="5080"/>
                  </a:lnTo>
                  <a:lnTo>
                    <a:pt x="10161" y="0"/>
                  </a:lnTo>
                  <a:lnTo>
                    <a:pt x="0" y="49530"/>
                  </a:lnTo>
                  <a:lnTo>
                    <a:pt x="24765" y="54610"/>
                  </a:lnTo>
                  <a:lnTo>
                    <a:pt x="177165" y="8636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507" name="Google Shape;507;p14"/>
            <p:cNvSpPr/>
            <p:nvPr/>
          </p:nvSpPr>
          <p:spPr>
            <a:xfrm>
              <a:off x="11304269" y="3985259"/>
              <a:ext cx="212725" cy="92075"/>
            </a:xfrm>
            <a:custGeom>
              <a:avLst/>
              <a:gdLst/>
              <a:ahLst/>
              <a:cxnLst/>
              <a:rect l="l" t="t" r="r" b="b"/>
              <a:pathLst>
                <a:path w="212725" h="92075" extrusionOk="0">
                  <a:moveTo>
                    <a:pt x="177165" y="86360"/>
                  </a:moveTo>
                  <a:lnTo>
                    <a:pt x="201930" y="92075"/>
                  </a:lnTo>
                  <a:lnTo>
                    <a:pt x="212725" y="41910"/>
                  </a:lnTo>
                  <a:lnTo>
                    <a:pt x="187325" y="36830"/>
                  </a:lnTo>
                  <a:lnTo>
                    <a:pt x="34925" y="5080"/>
                  </a:lnTo>
                  <a:lnTo>
                    <a:pt x="10161" y="0"/>
                  </a:lnTo>
                  <a:lnTo>
                    <a:pt x="0" y="49530"/>
                  </a:lnTo>
                  <a:lnTo>
                    <a:pt x="24765" y="5461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508" name="Google Shape;508;p14"/>
            <p:cNvSpPr/>
            <p:nvPr/>
          </p:nvSpPr>
          <p:spPr>
            <a:xfrm>
              <a:off x="11939269" y="4347209"/>
              <a:ext cx="212725" cy="92075"/>
            </a:xfrm>
            <a:custGeom>
              <a:avLst/>
              <a:gdLst/>
              <a:ahLst/>
              <a:cxnLst/>
              <a:rect l="l" t="t" r="r" b="b"/>
              <a:pathLst>
                <a:path w="212725" h="92075" extrusionOk="0">
                  <a:moveTo>
                    <a:pt x="201930" y="92075"/>
                  </a:moveTo>
                  <a:lnTo>
                    <a:pt x="212725" y="41910"/>
                  </a:lnTo>
                  <a:lnTo>
                    <a:pt x="187325" y="36830"/>
                  </a:lnTo>
                  <a:lnTo>
                    <a:pt x="34925" y="5080"/>
                  </a:lnTo>
                  <a:lnTo>
                    <a:pt x="10161" y="0"/>
                  </a:lnTo>
                  <a:lnTo>
                    <a:pt x="0" y="49530"/>
                  </a:lnTo>
                  <a:lnTo>
                    <a:pt x="24765" y="54610"/>
                  </a:lnTo>
                  <a:lnTo>
                    <a:pt x="177165" y="8636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509" name="Google Shape;509;p14"/>
            <p:cNvSpPr/>
            <p:nvPr/>
          </p:nvSpPr>
          <p:spPr>
            <a:xfrm>
              <a:off x="4935854" y="24129"/>
              <a:ext cx="203200" cy="50800"/>
            </a:xfrm>
            <a:custGeom>
              <a:avLst/>
              <a:gdLst/>
              <a:ahLst/>
              <a:cxnLst/>
              <a:rect l="l" t="t" r="r" b="b"/>
              <a:pathLst>
                <a:path w="203200" h="50800" extrusionOk="0">
                  <a:moveTo>
                    <a:pt x="177800" y="50800"/>
                  </a:moveTo>
                  <a:lnTo>
                    <a:pt x="203200" y="50800"/>
                  </a:lnTo>
                  <a:lnTo>
                    <a:pt x="203200" y="0"/>
                  </a:lnTo>
                  <a:lnTo>
                    <a:pt x="177800" y="0"/>
                  </a:lnTo>
                  <a:lnTo>
                    <a:pt x="25400" y="0"/>
                  </a:lnTo>
                  <a:lnTo>
                    <a:pt x="0" y="0"/>
                  </a:lnTo>
                  <a:lnTo>
                    <a:pt x="0" y="50800"/>
                  </a:lnTo>
                  <a:lnTo>
                    <a:pt x="25400" y="5080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510" name="Google Shape;510;p14"/>
            <p:cNvSpPr/>
            <p:nvPr/>
          </p:nvSpPr>
          <p:spPr>
            <a:xfrm>
              <a:off x="5570854" y="386079"/>
              <a:ext cx="203200" cy="50800"/>
            </a:xfrm>
            <a:custGeom>
              <a:avLst/>
              <a:gdLst/>
              <a:ahLst/>
              <a:cxnLst/>
              <a:rect l="l" t="t" r="r" b="b"/>
              <a:pathLst>
                <a:path w="203200" h="50800" extrusionOk="0">
                  <a:moveTo>
                    <a:pt x="177800" y="50800"/>
                  </a:moveTo>
                  <a:lnTo>
                    <a:pt x="203200" y="50800"/>
                  </a:lnTo>
                  <a:lnTo>
                    <a:pt x="203200" y="0"/>
                  </a:lnTo>
                  <a:lnTo>
                    <a:pt x="177800" y="0"/>
                  </a:lnTo>
                  <a:lnTo>
                    <a:pt x="25400" y="0"/>
                  </a:lnTo>
                  <a:lnTo>
                    <a:pt x="0" y="0"/>
                  </a:lnTo>
                  <a:lnTo>
                    <a:pt x="0" y="50800"/>
                  </a:lnTo>
                  <a:lnTo>
                    <a:pt x="25400" y="5080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511" name="Google Shape;511;p14"/>
            <p:cNvSpPr/>
            <p:nvPr/>
          </p:nvSpPr>
          <p:spPr>
            <a:xfrm>
              <a:off x="6205854" y="748030"/>
              <a:ext cx="203200" cy="50800"/>
            </a:xfrm>
            <a:custGeom>
              <a:avLst/>
              <a:gdLst/>
              <a:ahLst/>
              <a:cxnLst/>
              <a:rect l="l" t="t" r="r" b="b"/>
              <a:pathLst>
                <a:path w="203200" h="50800" extrusionOk="0">
                  <a:moveTo>
                    <a:pt x="177800" y="50800"/>
                  </a:moveTo>
                  <a:lnTo>
                    <a:pt x="203200" y="50800"/>
                  </a:lnTo>
                  <a:lnTo>
                    <a:pt x="203200" y="0"/>
                  </a:lnTo>
                  <a:lnTo>
                    <a:pt x="177800" y="0"/>
                  </a:lnTo>
                  <a:lnTo>
                    <a:pt x="25400" y="0"/>
                  </a:lnTo>
                  <a:lnTo>
                    <a:pt x="0" y="0"/>
                  </a:lnTo>
                  <a:lnTo>
                    <a:pt x="0" y="50800"/>
                  </a:lnTo>
                  <a:lnTo>
                    <a:pt x="25400" y="5080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512" name="Google Shape;512;p14"/>
            <p:cNvSpPr/>
            <p:nvPr/>
          </p:nvSpPr>
          <p:spPr>
            <a:xfrm>
              <a:off x="6840855" y="1109980"/>
              <a:ext cx="203200" cy="50800"/>
            </a:xfrm>
            <a:custGeom>
              <a:avLst/>
              <a:gdLst/>
              <a:ahLst/>
              <a:cxnLst/>
              <a:rect l="l" t="t" r="r" b="b"/>
              <a:pathLst>
                <a:path w="203200" h="50800" extrusionOk="0">
                  <a:moveTo>
                    <a:pt x="177800" y="50800"/>
                  </a:moveTo>
                  <a:lnTo>
                    <a:pt x="203200" y="50800"/>
                  </a:lnTo>
                  <a:lnTo>
                    <a:pt x="203200" y="0"/>
                  </a:lnTo>
                  <a:lnTo>
                    <a:pt x="177800" y="0"/>
                  </a:lnTo>
                  <a:lnTo>
                    <a:pt x="25400" y="0"/>
                  </a:lnTo>
                  <a:lnTo>
                    <a:pt x="0" y="0"/>
                  </a:lnTo>
                  <a:lnTo>
                    <a:pt x="0" y="50800"/>
                  </a:lnTo>
                  <a:lnTo>
                    <a:pt x="25400" y="5080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513" name="Google Shape;513;p14"/>
            <p:cNvSpPr/>
            <p:nvPr/>
          </p:nvSpPr>
          <p:spPr>
            <a:xfrm>
              <a:off x="7475855" y="1471930"/>
              <a:ext cx="203200" cy="50800"/>
            </a:xfrm>
            <a:custGeom>
              <a:avLst/>
              <a:gdLst/>
              <a:ahLst/>
              <a:cxnLst/>
              <a:rect l="l" t="t" r="r" b="b"/>
              <a:pathLst>
                <a:path w="203200" h="50800" extrusionOk="0">
                  <a:moveTo>
                    <a:pt x="177800" y="50800"/>
                  </a:moveTo>
                  <a:lnTo>
                    <a:pt x="203200" y="50800"/>
                  </a:lnTo>
                  <a:lnTo>
                    <a:pt x="203200" y="0"/>
                  </a:lnTo>
                  <a:lnTo>
                    <a:pt x="177800" y="0"/>
                  </a:lnTo>
                  <a:lnTo>
                    <a:pt x="25400" y="0"/>
                  </a:lnTo>
                  <a:lnTo>
                    <a:pt x="0" y="0"/>
                  </a:lnTo>
                  <a:lnTo>
                    <a:pt x="0" y="50800"/>
                  </a:lnTo>
                  <a:lnTo>
                    <a:pt x="25400" y="5080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514" name="Google Shape;514;p14"/>
            <p:cNvSpPr/>
            <p:nvPr/>
          </p:nvSpPr>
          <p:spPr>
            <a:xfrm>
              <a:off x="8110855" y="1833879"/>
              <a:ext cx="203200" cy="50800"/>
            </a:xfrm>
            <a:custGeom>
              <a:avLst/>
              <a:gdLst/>
              <a:ahLst/>
              <a:cxnLst/>
              <a:rect l="l" t="t" r="r" b="b"/>
              <a:pathLst>
                <a:path w="203200" h="50800" extrusionOk="0">
                  <a:moveTo>
                    <a:pt x="177800" y="50800"/>
                  </a:moveTo>
                  <a:lnTo>
                    <a:pt x="203200" y="50800"/>
                  </a:lnTo>
                  <a:lnTo>
                    <a:pt x="203200" y="0"/>
                  </a:lnTo>
                  <a:lnTo>
                    <a:pt x="177800" y="0"/>
                  </a:lnTo>
                  <a:lnTo>
                    <a:pt x="25400" y="0"/>
                  </a:lnTo>
                  <a:lnTo>
                    <a:pt x="0" y="0"/>
                  </a:lnTo>
                  <a:lnTo>
                    <a:pt x="0" y="50800"/>
                  </a:lnTo>
                  <a:lnTo>
                    <a:pt x="25400" y="5080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515" name="Google Shape;515;p14"/>
            <p:cNvSpPr/>
            <p:nvPr/>
          </p:nvSpPr>
          <p:spPr>
            <a:xfrm>
              <a:off x="8745855" y="2195829"/>
              <a:ext cx="203200" cy="50800"/>
            </a:xfrm>
            <a:custGeom>
              <a:avLst/>
              <a:gdLst/>
              <a:ahLst/>
              <a:cxnLst/>
              <a:rect l="l" t="t" r="r" b="b"/>
              <a:pathLst>
                <a:path w="203200" h="50800" extrusionOk="0">
                  <a:moveTo>
                    <a:pt x="0" y="50800"/>
                  </a:moveTo>
                  <a:lnTo>
                    <a:pt x="25400" y="50800"/>
                  </a:lnTo>
                  <a:lnTo>
                    <a:pt x="177800" y="50800"/>
                  </a:lnTo>
                  <a:lnTo>
                    <a:pt x="203200" y="50800"/>
                  </a:lnTo>
                  <a:lnTo>
                    <a:pt x="203200" y="0"/>
                  </a:lnTo>
                  <a:lnTo>
                    <a:pt x="177800" y="0"/>
                  </a:lnTo>
                  <a:lnTo>
                    <a:pt x="25400" y="0"/>
                  </a:lnTo>
                  <a:lnTo>
                    <a:pt x="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516" name="Google Shape;516;p14"/>
            <p:cNvSpPr/>
            <p:nvPr/>
          </p:nvSpPr>
          <p:spPr>
            <a:xfrm>
              <a:off x="9380855" y="2557779"/>
              <a:ext cx="203200" cy="50800"/>
            </a:xfrm>
            <a:custGeom>
              <a:avLst/>
              <a:gdLst/>
              <a:ahLst/>
              <a:cxnLst/>
              <a:rect l="l" t="t" r="r" b="b"/>
              <a:pathLst>
                <a:path w="203200" h="50800" extrusionOk="0">
                  <a:moveTo>
                    <a:pt x="0" y="50800"/>
                  </a:moveTo>
                  <a:lnTo>
                    <a:pt x="25400" y="50800"/>
                  </a:lnTo>
                  <a:lnTo>
                    <a:pt x="177800" y="50800"/>
                  </a:lnTo>
                  <a:lnTo>
                    <a:pt x="203200" y="50800"/>
                  </a:lnTo>
                  <a:lnTo>
                    <a:pt x="203200" y="0"/>
                  </a:lnTo>
                  <a:lnTo>
                    <a:pt x="177800" y="0"/>
                  </a:lnTo>
                  <a:lnTo>
                    <a:pt x="25400" y="0"/>
                  </a:lnTo>
                  <a:lnTo>
                    <a:pt x="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517" name="Google Shape;517;p14"/>
            <p:cNvSpPr/>
            <p:nvPr/>
          </p:nvSpPr>
          <p:spPr>
            <a:xfrm>
              <a:off x="10015855" y="2919729"/>
              <a:ext cx="203200" cy="50800"/>
            </a:xfrm>
            <a:custGeom>
              <a:avLst/>
              <a:gdLst/>
              <a:ahLst/>
              <a:cxnLst/>
              <a:rect l="l" t="t" r="r" b="b"/>
              <a:pathLst>
                <a:path w="203200" h="50800" extrusionOk="0">
                  <a:moveTo>
                    <a:pt x="0" y="50800"/>
                  </a:moveTo>
                  <a:lnTo>
                    <a:pt x="25400" y="50800"/>
                  </a:lnTo>
                  <a:lnTo>
                    <a:pt x="177800" y="50800"/>
                  </a:lnTo>
                  <a:lnTo>
                    <a:pt x="203200" y="50800"/>
                  </a:lnTo>
                  <a:lnTo>
                    <a:pt x="203200" y="0"/>
                  </a:lnTo>
                  <a:lnTo>
                    <a:pt x="177800" y="0"/>
                  </a:lnTo>
                  <a:lnTo>
                    <a:pt x="25400" y="0"/>
                  </a:lnTo>
                  <a:lnTo>
                    <a:pt x="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518" name="Google Shape;518;p14"/>
            <p:cNvSpPr/>
            <p:nvPr/>
          </p:nvSpPr>
          <p:spPr>
            <a:xfrm>
              <a:off x="10650855" y="3281679"/>
              <a:ext cx="203200" cy="50800"/>
            </a:xfrm>
            <a:custGeom>
              <a:avLst/>
              <a:gdLst/>
              <a:ahLst/>
              <a:cxnLst/>
              <a:rect l="l" t="t" r="r" b="b"/>
              <a:pathLst>
                <a:path w="203200" h="50800" extrusionOk="0">
                  <a:moveTo>
                    <a:pt x="0" y="50800"/>
                  </a:moveTo>
                  <a:lnTo>
                    <a:pt x="25400" y="50800"/>
                  </a:lnTo>
                  <a:lnTo>
                    <a:pt x="177800" y="50800"/>
                  </a:lnTo>
                  <a:lnTo>
                    <a:pt x="203200" y="50800"/>
                  </a:lnTo>
                  <a:lnTo>
                    <a:pt x="203200" y="0"/>
                  </a:lnTo>
                  <a:lnTo>
                    <a:pt x="177800" y="0"/>
                  </a:lnTo>
                  <a:lnTo>
                    <a:pt x="25400" y="0"/>
                  </a:lnTo>
                  <a:lnTo>
                    <a:pt x="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519" name="Google Shape;519;p14"/>
            <p:cNvSpPr/>
            <p:nvPr/>
          </p:nvSpPr>
          <p:spPr>
            <a:xfrm>
              <a:off x="11285855" y="3643629"/>
              <a:ext cx="203200" cy="50800"/>
            </a:xfrm>
            <a:custGeom>
              <a:avLst/>
              <a:gdLst/>
              <a:ahLst/>
              <a:cxnLst/>
              <a:rect l="l" t="t" r="r" b="b"/>
              <a:pathLst>
                <a:path w="203200" h="50800" extrusionOk="0">
                  <a:moveTo>
                    <a:pt x="0" y="50800"/>
                  </a:moveTo>
                  <a:lnTo>
                    <a:pt x="25400" y="50800"/>
                  </a:lnTo>
                  <a:lnTo>
                    <a:pt x="177800" y="50800"/>
                  </a:lnTo>
                  <a:lnTo>
                    <a:pt x="203200" y="50800"/>
                  </a:lnTo>
                  <a:lnTo>
                    <a:pt x="203200" y="0"/>
                  </a:lnTo>
                  <a:lnTo>
                    <a:pt x="177800" y="0"/>
                  </a:lnTo>
                  <a:lnTo>
                    <a:pt x="25400" y="0"/>
                  </a:lnTo>
                  <a:lnTo>
                    <a:pt x="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520" name="Google Shape;520;p14"/>
            <p:cNvSpPr/>
            <p:nvPr/>
          </p:nvSpPr>
          <p:spPr>
            <a:xfrm>
              <a:off x="11920855" y="4005579"/>
              <a:ext cx="203200" cy="50800"/>
            </a:xfrm>
            <a:custGeom>
              <a:avLst/>
              <a:gdLst/>
              <a:ahLst/>
              <a:cxnLst/>
              <a:rect l="l" t="t" r="r" b="b"/>
              <a:pathLst>
                <a:path w="203200" h="50800" extrusionOk="0">
                  <a:moveTo>
                    <a:pt x="177800" y="50800"/>
                  </a:moveTo>
                  <a:lnTo>
                    <a:pt x="203200" y="50800"/>
                  </a:lnTo>
                  <a:lnTo>
                    <a:pt x="203200" y="0"/>
                  </a:lnTo>
                  <a:lnTo>
                    <a:pt x="177800" y="0"/>
                  </a:lnTo>
                  <a:lnTo>
                    <a:pt x="25400" y="0"/>
                  </a:lnTo>
                  <a:lnTo>
                    <a:pt x="0" y="0"/>
                  </a:lnTo>
                  <a:lnTo>
                    <a:pt x="0" y="50800"/>
                  </a:lnTo>
                  <a:lnTo>
                    <a:pt x="25400" y="5080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521" name="Google Shape;521;p14"/>
            <p:cNvSpPr/>
            <p:nvPr/>
          </p:nvSpPr>
          <p:spPr>
            <a:xfrm>
              <a:off x="5588634" y="3810"/>
              <a:ext cx="212090" cy="91439"/>
            </a:xfrm>
            <a:custGeom>
              <a:avLst/>
              <a:gdLst/>
              <a:ahLst/>
              <a:cxnLst/>
              <a:rect l="l" t="t" r="r" b="b"/>
              <a:pathLst>
                <a:path w="212090" h="91439" extrusionOk="0">
                  <a:moveTo>
                    <a:pt x="34925" y="86360"/>
                  </a:moveTo>
                  <a:lnTo>
                    <a:pt x="187325" y="55245"/>
                  </a:lnTo>
                  <a:lnTo>
                    <a:pt x="212090" y="50165"/>
                  </a:lnTo>
                  <a:lnTo>
                    <a:pt x="201930" y="0"/>
                  </a:lnTo>
                  <a:lnTo>
                    <a:pt x="177165" y="5080"/>
                  </a:lnTo>
                  <a:lnTo>
                    <a:pt x="24765" y="36830"/>
                  </a:lnTo>
                  <a:lnTo>
                    <a:pt x="0" y="41910"/>
                  </a:lnTo>
                  <a:lnTo>
                    <a:pt x="10160" y="914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522" name="Google Shape;522;p14"/>
            <p:cNvSpPr/>
            <p:nvPr/>
          </p:nvSpPr>
          <p:spPr>
            <a:xfrm>
              <a:off x="6223634" y="365759"/>
              <a:ext cx="212090" cy="91440"/>
            </a:xfrm>
            <a:custGeom>
              <a:avLst/>
              <a:gdLst/>
              <a:ahLst/>
              <a:cxnLst/>
              <a:rect l="l" t="t" r="r" b="b"/>
              <a:pathLst>
                <a:path w="212090" h="91440" extrusionOk="0">
                  <a:moveTo>
                    <a:pt x="34925" y="86360"/>
                  </a:moveTo>
                  <a:lnTo>
                    <a:pt x="187325" y="55245"/>
                  </a:lnTo>
                  <a:lnTo>
                    <a:pt x="212090" y="50165"/>
                  </a:lnTo>
                  <a:lnTo>
                    <a:pt x="201930" y="0"/>
                  </a:lnTo>
                  <a:lnTo>
                    <a:pt x="177165" y="5080"/>
                  </a:lnTo>
                  <a:lnTo>
                    <a:pt x="24765" y="36830"/>
                  </a:lnTo>
                  <a:lnTo>
                    <a:pt x="0" y="41910"/>
                  </a:lnTo>
                  <a:lnTo>
                    <a:pt x="10160" y="914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523" name="Google Shape;523;p14"/>
            <p:cNvSpPr/>
            <p:nvPr/>
          </p:nvSpPr>
          <p:spPr>
            <a:xfrm>
              <a:off x="6858634" y="727709"/>
              <a:ext cx="212090" cy="91440"/>
            </a:xfrm>
            <a:custGeom>
              <a:avLst/>
              <a:gdLst/>
              <a:ahLst/>
              <a:cxnLst/>
              <a:rect l="l" t="t" r="r" b="b"/>
              <a:pathLst>
                <a:path w="212090" h="91440" extrusionOk="0">
                  <a:moveTo>
                    <a:pt x="34925" y="86360"/>
                  </a:moveTo>
                  <a:lnTo>
                    <a:pt x="187325" y="55245"/>
                  </a:lnTo>
                  <a:lnTo>
                    <a:pt x="212090" y="50165"/>
                  </a:lnTo>
                  <a:lnTo>
                    <a:pt x="201930" y="0"/>
                  </a:lnTo>
                  <a:lnTo>
                    <a:pt x="177165" y="5080"/>
                  </a:lnTo>
                  <a:lnTo>
                    <a:pt x="24765" y="36830"/>
                  </a:lnTo>
                  <a:lnTo>
                    <a:pt x="0" y="41910"/>
                  </a:lnTo>
                  <a:lnTo>
                    <a:pt x="10160" y="914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524" name="Google Shape;524;p14"/>
            <p:cNvSpPr/>
            <p:nvPr/>
          </p:nvSpPr>
          <p:spPr>
            <a:xfrm>
              <a:off x="7493634" y="1089660"/>
              <a:ext cx="212090" cy="91439"/>
            </a:xfrm>
            <a:custGeom>
              <a:avLst/>
              <a:gdLst/>
              <a:ahLst/>
              <a:cxnLst/>
              <a:rect l="l" t="t" r="r" b="b"/>
              <a:pathLst>
                <a:path w="212090" h="91439" extrusionOk="0">
                  <a:moveTo>
                    <a:pt x="34925" y="86360"/>
                  </a:moveTo>
                  <a:lnTo>
                    <a:pt x="187325" y="55245"/>
                  </a:lnTo>
                  <a:lnTo>
                    <a:pt x="212090" y="50165"/>
                  </a:lnTo>
                  <a:lnTo>
                    <a:pt x="201930" y="0"/>
                  </a:lnTo>
                  <a:lnTo>
                    <a:pt x="177165" y="5080"/>
                  </a:lnTo>
                  <a:lnTo>
                    <a:pt x="24765" y="36830"/>
                  </a:lnTo>
                  <a:lnTo>
                    <a:pt x="0" y="41910"/>
                  </a:lnTo>
                  <a:lnTo>
                    <a:pt x="10160" y="914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525" name="Google Shape;525;p14"/>
            <p:cNvSpPr/>
            <p:nvPr/>
          </p:nvSpPr>
          <p:spPr>
            <a:xfrm>
              <a:off x="8128634" y="1451610"/>
              <a:ext cx="212090" cy="91439"/>
            </a:xfrm>
            <a:custGeom>
              <a:avLst/>
              <a:gdLst/>
              <a:ahLst/>
              <a:cxnLst/>
              <a:rect l="l" t="t" r="r" b="b"/>
              <a:pathLst>
                <a:path w="212090" h="91439" extrusionOk="0">
                  <a:moveTo>
                    <a:pt x="34925" y="86360"/>
                  </a:moveTo>
                  <a:lnTo>
                    <a:pt x="187325" y="55245"/>
                  </a:lnTo>
                  <a:lnTo>
                    <a:pt x="212090" y="50165"/>
                  </a:lnTo>
                  <a:lnTo>
                    <a:pt x="201930" y="0"/>
                  </a:lnTo>
                  <a:lnTo>
                    <a:pt x="177165" y="5080"/>
                  </a:lnTo>
                  <a:lnTo>
                    <a:pt x="24765" y="36830"/>
                  </a:lnTo>
                  <a:lnTo>
                    <a:pt x="0" y="41910"/>
                  </a:lnTo>
                  <a:lnTo>
                    <a:pt x="10160" y="914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526" name="Google Shape;526;p14"/>
            <p:cNvSpPr/>
            <p:nvPr/>
          </p:nvSpPr>
          <p:spPr>
            <a:xfrm>
              <a:off x="8763634" y="1813560"/>
              <a:ext cx="212090" cy="91439"/>
            </a:xfrm>
            <a:custGeom>
              <a:avLst/>
              <a:gdLst/>
              <a:ahLst/>
              <a:cxnLst/>
              <a:rect l="l" t="t" r="r" b="b"/>
              <a:pathLst>
                <a:path w="212090" h="91439" extrusionOk="0">
                  <a:moveTo>
                    <a:pt x="177165" y="5080"/>
                  </a:moveTo>
                  <a:lnTo>
                    <a:pt x="24765" y="36830"/>
                  </a:lnTo>
                  <a:lnTo>
                    <a:pt x="0" y="41910"/>
                  </a:lnTo>
                  <a:lnTo>
                    <a:pt x="10160" y="91440"/>
                  </a:lnTo>
                  <a:lnTo>
                    <a:pt x="34925" y="86360"/>
                  </a:lnTo>
                  <a:lnTo>
                    <a:pt x="187325" y="55245"/>
                  </a:lnTo>
                  <a:lnTo>
                    <a:pt x="212090" y="50165"/>
                  </a:lnTo>
                  <a:lnTo>
                    <a:pt x="20193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527" name="Google Shape;527;p14"/>
            <p:cNvSpPr/>
            <p:nvPr/>
          </p:nvSpPr>
          <p:spPr>
            <a:xfrm>
              <a:off x="9398634" y="2175510"/>
              <a:ext cx="212090" cy="91439"/>
            </a:xfrm>
            <a:custGeom>
              <a:avLst/>
              <a:gdLst/>
              <a:ahLst/>
              <a:cxnLst/>
              <a:rect l="l" t="t" r="r" b="b"/>
              <a:pathLst>
                <a:path w="212090" h="91439" extrusionOk="0">
                  <a:moveTo>
                    <a:pt x="0" y="41910"/>
                  </a:moveTo>
                  <a:lnTo>
                    <a:pt x="10160" y="91440"/>
                  </a:lnTo>
                  <a:lnTo>
                    <a:pt x="34925" y="86360"/>
                  </a:lnTo>
                  <a:lnTo>
                    <a:pt x="187325" y="55245"/>
                  </a:lnTo>
                  <a:lnTo>
                    <a:pt x="212090" y="50165"/>
                  </a:lnTo>
                  <a:lnTo>
                    <a:pt x="201930" y="0"/>
                  </a:lnTo>
                  <a:lnTo>
                    <a:pt x="177165" y="5080"/>
                  </a:lnTo>
                  <a:lnTo>
                    <a:pt x="24765" y="3683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528" name="Google Shape;528;p14"/>
            <p:cNvSpPr/>
            <p:nvPr/>
          </p:nvSpPr>
          <p:spPr>
            <a:xfrm>
              <a:off x="10033634" y="2537460"/>
              <a:ext cx="212090" cy="91439"/>
            </a:xfrm>
            <a:custGeom>
              <a:avLst/>
              <a:gdLst/>
              <a:ahLst/>
              <a:cxnLst/>
              <a:rect l="l" t="t" r="r" b="b"/>
              <a:pathLst>
                <a:path w="212090" h="91439" extrusionOk="0">
                  <a:moveTo>
                    <a:pt x="0" y="41910"/>
                  </a:moveTo>
                  <a:lnTo>
                    <a:pt x="10160" y="91440"/>
                  </a:lnTo>
                  <a:lnTo>
                    <a:pt x="34925" y="86360"/>
                  </a:lnTo>
                  <a:lnTo>
                    <a:pt x="187325" y="55245"/>
                  </a:lnTo>
                  <a:lnTo>
                    <a:pt x="212090" y="50165"/>
                  </a:lnTo>
                  <a:lnTo>
                    <a:pt x="201930" y="0"/>
                  </a:lnTo>
                  <a:lnTo>
                    <a:pt x="177165" y="5080"/>
                  </a:lnTo>
                  <a:lnTo>
                    <a:pt x="24765" y="3683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529" name="Google Shape;529;p14"/>
            <p:cNvSpPr/>
            <p:nvPr/>
          </p:nvSpPr>
          <p:spPr>
            <a:xfrm>
              <a:off x="10668634" y="2899410"/>
              <a:ext cx="212090" cy="91439"/>
            </a:xfrm>
            <a:custGeom>
              <a:avLst/>
              <a:gdLst/>
              <a:ahLst/>
              <a:cxnLst/>
              <a:rect l="l" t="t" r="r" b="b"/>
              <a:pathLst>
                <a:path w="212090" h="91439" extrusionOk="0">
                  <a:moveTo>
                    <a:pt x="0" y="41910"/>
                  </a:moveTo>
                  <a:lnTo>
                    <a:pt x="10160" y="91440"/>
                  </a:lnTo>
                  <a:lnTo>
                    <a:pt x="34925" y="86360"/>
                  </a:lnTo>
                  <a:lnTo>
                    <a:pt x="187325" y="55245"/>
                  </a:lnTo>
                  <a:lnTo>
                    <a:pt x="212090" y="50165"/>
                  </a:lnTo>
                  <a:lnTo>
                    <a:pt x="201930" y="0"/>
                  </a:lnTo>
                  <a:lnTo>
                    <a:pt x="177165" y="5080"/>
                  </a:lnTo>
                  <a:lnTo>
                    <a:pt x="24765" y="3683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530" name="Google Shape;530;p14"/>
            <p:cNvSpPr/>
            <p:nvPr/>
          </p:nvSpPr>
          <p:spPr>
            <a:xfrm>
              <a:off x="11303634" y="3261359"/>
              <a:ext cx="212090" cy="91440"/>
            </a:xfrm>
            <a:custGeom>
              <a:avLst/>
              <a:gdLst/>
              <a:ahLst/>
              <a:cxnLst/>
              <a:rect l="l" t="t" r="r" b="b"/>
              <a:pathLst>
                <a:path w="212090" h="91440" extrusionOk="0">
                  <a:moveTo>
                    <a:pt x="34925" y="86360"/>
                  </a:moveTo>
                  <a:lnTo>
                    <a:pt x="187325" y="55245"/>
                  </a:lnTo>
                  <a:lnTo>
                    <a:pt x="212090" y="50165"/>
                  </a:lnTo>
                  <a:lnTo>
                    <a:pt x="201930" y="0"/>
                  </a:lnTo>
                  <a:lnTo>
                    <a:pt x="177165" y="5080"/>
                  </a:lnTo>
                  <a:lnTo>
                    <a:pt x="24765" y="36830"/>
                  </a:lnTo>
                  <a:lnTo>
                    <a:pt x="0" y="41910"/>
                  </a:lnTo>
                  <a:lnTo>
                    <a:pt x="10160" y="914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531" name="Google Shape;531;p14"/>
            <p:cNvSpPr/>
            <p:nvPr/>
          </p:nvSpPr>
          <p:spPr>
            <a:xfrm>
              <a:off x="11938634" y="3623309"/>
              <a:ext cx="212090" cy="91440"/>
            </a:xfrm>
            <a:custGeom>
              <a:avLst/>
              <a:gdLst/>
              <a:ahLst/>
              <a:cxnLst/>
              <a:rect l="l" t="t" r="r" b="b"/>
              <a:pathLst>
                <a:path w="212090" h="91440" extrusionOk="0">
                  <a:moveTo>
                    <a:pt x="177165" y="5080"/>
                  </a:moveTo>
                  <a:lnTo>
                    <a:pt x="24765" y="36830"/>
                  </a:lnTo>
                  <a:lnTo>
                    <a:pt x="0" y="41910"/>
                  </a:lnTo>
                  <a:lnTo>
                    <a:pt x="10160" y="91440"/>
                  </a:lnTo>
                  <a:lnTo>
                    <a:pt x="34925" y="86360"/>
                  </a:lnTo>
                  <a:lnTo>
                    <a:pt x="187325" y="55245"/>
                  </a:lnTo>
                  <a:lnTo>
                    <a:pt x="212090" y="50165"/>
                  </a:lnTo>
                  <a:lnTo>
                    <a:pt x="20193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532" name="Google Shape;532;p14"/>
            <p:cNvSpPr/>
            <p:nvPr/>
          </p:nvSpPr>
          <p:spPr>
            <a:xfrm>
              <a:off x="6287134" y="0"/>
              <a:ext cx="218440" cy="113664"/>
            </a:xfrm>
            <a:custGeom>
              <a:avLst/>
              <a:gdLst/>
              <a:ahLst/>
              <a:cxnLst/>
              <a:rect l="l" t="t" r="r" b="b"/>
              <a:pathLst>
                <a:path w="218440" h="113664" extrusionOk="0">
                  <a:moveTo>
                    <a:pt x="42545" y="104140"/>
                  </a:moveTo>
                  <a:lnTo>
                    <a:pt x="194945" y="42545"/>
                  </a:lnTo>
                  <a:lnTo>
                    <a:pt x="218440" y="33020"/>
                  </a:lnTo>
                  <a:lnTo>
                    <a:pt x="205740" y="0"/>
                  </a:lnTo>
                  <a:lnTo>
                    <a:pt x="164465" y="0"/>
                  </a:lnTo>
                  <a:lnTo>
                    <a:pt x="23495" y="57150"/>
                  </a:lnTo>
                  <a:lnTo>
                    <a:pt x="0" y="66675"/>
                  </a:lnTo>
                  <a:lnTo>
                    <a:pt x="19050" y="11366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533" name="Google Shape;533;p14"/>
            <p:cNvSpPr/>
            <p:nvPr/>
          </p:nvSpPr>
          <p:spPr>
            <a:xfrm>
              <a:off x="6922134" y="347979"/>
              <a:ext cx="218440" cy="127635"/>
            </a:xfrm>
            <a:custGeom>
              <a:avLst/>
              <a:gdLst/>
              <a:ahLst/>
              <a:cxnLst/>
              <a:rect l="l" t="t" r="r" b="b"/>
              <a:pathLst>
                <a:path w="218440" h="127635" extrusionOk="0">
                  <a:moveTo>
                    <a:pt x="42545" y="118110"/>
                  </a:moveTo>
                  <a:lnTo>
                    <a:pt x="194945" y="56515"/>
                  </a:lnTo>
                  <a:lnTo>
                    <a:pt x="218440" y="46990"/>
                  </a:lnTo>
                  <a:lnTo>
                    <a:pt x="199390" y="0"/>
                  </a:lnTo>
                  <a:lnTo>
                    <a:pt x="175895" y="9525"/>
                  </a:lnTo>
                  <a:lnTo>
                    <a:pt x="23495" y="71120"/>
                  </a:lnTo>
                  <a:lnTo>
                    <a:pt x="0" y="80645"/>
                  </a:lnTo>
                  <a:lnTo>
                    <a:pt x="19050" y="12763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534" name="Google Shape;534;p14"/>
            <p:cNvSpPr/>
            <p:nvPr/>
          </p:nvSpPr>
          <p:spPr>
            <a:xfrm>
              <a:off x="7557134" y="709930"/>
              <a:ext cx="218440" cy="127634"/>
            </a:xfrm>
            <a:custGeom>
              <a:avLst/>
              <a:gdLst/>
              <a:ahLst/>
              <a:cxnLst/>
              <a:rect l="l" t="t" r="r" b="b"/>
              <a:pathLst>
                <a:path w="218440" h="127634" extrusionOk="0">
                  <a:moveTo>
                    <a:pt x="42545" y="118110"/>
                  </a:moveTo>
                  <a:lnTo>
                    <a:pt x="194945" y="56515"/>
                  </a:lnTo>
                  <a:lnTo>
                    <a:pt x="218440" y="46990"/>
                  </a:lnTo>
                  <a:lnTo>
                    <a:pt x="199390" y="0"/>
                  </a:lnTo>
                  <a:lnTo>
                    <a:pt x="175895" y="9525"/>
                  </a:lnTo>
                  <a:lnTo>
                    <a:pt x="23495" y="71120"/>
                  </a:lnTo>
                  <a:lnTo>
                    <a:pt x="0" y="80645"/>
                  </a:lnTo>
                  <a:lnTo>
                    <a:pt x="19050" y="12763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535" name="Google Shape;535;p14"/>
            <p:cNvSpPr/>
            <p:nvPr/>
          </p:nvSpPr>
          <p:spPr>
            <a:xfrm>
              <a:off x="8192134" y="1071880"/>
              <a:ext cx="218440" cy="127634"/>
            </a:xfrm>
            <a:custGeom>
              <a:avLst/>
              <a:gdLst/>
              <a:ahLst/>
              <a:cxnLst/>
              <a:rect l="l" t="t" r="r" b="b"/>
              <a:pathLst>
                <a:path w="218440" h="127634" extrusionOk="0">
                  <a:moveTo>
                    <a:pt x="42545" y="118110"/>
                  </a:moveTo>
                  <a:lnTo>
                    <a:pt x="194945" y="56515"/>
                  </a:lnTo>
                  <a:lnTo>
                    <a:pt x="218440" y="46990"/>
                  </a:lnTo>
                  <a:lnTo>
                    <a:pt x="199390" y="0"/>
                  </a:lnTo>
                  <a:lnTo>
                    <a:pt x="175895" y="9525"/>
                  </a:lnTo>
                  <a:lnTo>
                    <a:pt x="23495" y="71120"/>
                  </a:lnTo>
                  <a:lnTo>
                    <a:pt x="0" y="80645"/>
                  </a:lnTo>
                  <a:lnTo>
                    <a:pt x="19050" y="12763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536" name="Google Shape;536;p14"/>
            <p:cNvSpPr/>
            <p:nvPr/>
          </p:nvSpPr>
          <p:spPr>
            <a:xfrm>
              <a:off x="8827134" y="1433830"/>
              <a:ext cx="218440" cy="127634"/>
            </a:xfrm>
            <a:custGeom>
              <a:avLst/>
              <a:gdLst/>
              <a:ahLst/>
              <a:cxnLst/>
              <a:rect l="l" t="t" r="r" b="b"/>
              <a:pathLst>
                <a:path w="218440" h="127634" extrusionOk="0">
                  <a:moveTo>
                    <a:pt x="19050" y="127635"/>
                  </a:moveTo>
                  <a:lnTo>
                    <a:pt x="42545" y="118110"/>
                  </a:lnTo>
                  <a:lnTo>
                    <a:pt x="194945" y="56515"/>
                  </a:lnTo>
                  <a:lnTo>
                    <a:pt x="218440" y="46990"/>
                  </a:lnTo>
                  <a:lnTo>
                    <a:pt x="199390" y="0"/>
                  </a:lnTo>
                  <a:lnTo>
                    <a:pt x="175895" y="9525"/>
                  </a:lnTo>
                  <a:lnTo>
                    <a:pt x="23495" y="71120"/>
                  </a:lnTo>
                  <a:lnTo>
                    <a:pt x="0" y="8064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537" name="Google Shape;537;p14"/>
            <p:cNvSpPr/>
            <p:nvPr/>
          </p:nvSpPr>
          <p:spPr>
            <a:xfrm>
              <a:off x="9462134" y="1795779"/>
              <a:ext cx="218440" cy="127635"/>
            </a:xfrm>
            <a:custGeom>
              <a:avLst/>
              <a:gdLst/>
              <a:ahLst/>
              <a:cxnLst/>
              <a:rect l="l" t="t" r="r" b="b"/>
              <a:pathLst>
                <a:path w="218440" h="127635" extrusionOk="0">
                  <a:moveTo>
                    <a:pt x="0" y="80645"/>
                  </a:moveTo>
                  <a:lnTo>
                    <a:pt x="19050" y="127635"/>
                  </a:lnTo>
                  <a:lnTo>
                    <a:pt x="42545" y="118110"/>
                  </a:lnTo>
                  <a:lnTo>
                    <a:pt x="194945" y="56515"/>
                  </a:lnTo>
                  <a:lnTo>
                    <a:pt x="218440" y="46990"/>
                  </a:lnTo>
                  <a:lnTo>
                    <a:pt x="199390" y="0"/>
                  </a:lnTo>
                  <a:lnTo>
                    <a:pt x="175895" y="9525"/>
                  </a:lnTo>
                  <a:lnTo>
                    <a:pt x="23495" y="7112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538" name="Google Shape;538;p14"/>
            <p:cNvSpPr/>
            <p:nvPr/>
          </p:nvSpPr>
          <p:spPr>
            <a:xfrm>
              <a:off x="10097134" y="2157729"/>
              <a:ext cx="218440" cy="127635"/>
            </a:xfrm>
            <a:custGeom>
              <a:avLst/>
              <a:gdLst/>
              <a:ahLst/>
              <a:cxnLst/>
              <a:rect l="l" t="t" r="r" b="b"/>
              <a:pathLst>
                <a:path w="218440" h="127635" extrusionOk="0">
                  <a:moveTo>
                    <a:pt x="0" y="80645"/>
                  </a:moveTo>
                  <a:lnTo>
                    <a:pt x="19050" y="127635"/>
                  </a:lnTo>
                  <a:lnTo>
                    <a:pt x="42545" y="118110"/>
                  </a:lnTo>
                  <a:lnTo>
                    <a:pt x="194945" y="56515"/>
                  </a:lnTo>
                  <a:lnTo>
                    <a:pt x="218440" y="46990"/>
                  </a:lnTo>
                  <a:lnTo>
                    <a:pt x="199390" y="0"/>
                  </a:lnTo>
                  <a:lnTo>
                    <a:pt x="175895" y="9525"/>
                  </a:lnTo>
                  <a:lnTo>
                    <a:pt x="23495" y="7112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539" name="Google Shape;539;p14"/>
            <p:cNvSpPr/>
            <p:nvPr/>
          </p:nvSpPr>
          <p:spPr>
            <a:xfrm>
              <a:off x="10732134" y="2519679"/>
              <a:ext cx="218440" cy="127635"/>
            </a:xfrm>
            <a:custGeom>
              <a:avLst/>
              <a:gdLst/>
              <a:ahLst/>
              <a:cxnLst/>
              <a:rect l="l" t="t" r="r" b="b"/>
              <a:pathLst>
                <a:path w="218440" h="127635" extrusionOk="0">
                  <a:moveTo>
                    <a:pt x="0" y="80645"/>
                  </a:moveTo>
                  <a:lnTo>
                    <a:pt x="19050" y="127635"/>
                  </a:lnTo>
                  <a:lnTo>
                    <a:pt x="42545" y="118110"/>
                  </a:lnTo>
                  <a:lnTo>
                    <a:pt x="194945" y="56515"/>
                  </a:lnTo>
                  <a:lnTo>
                    <a:pt x="218440" y="46990"/>
                  </a:lnTo>
                  <a:lnTo>
                    <a:pt x="199390" y="0"/>
                  </a:lnTo>
                  <a:lnTo>
                    <a:pt x="175895" y="9525"/>
                  </a:lnTo>
                  <a:lnTo>
                    <a:pt x="23495" y="7112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540" name="Google Shape;540;p14"/>
            <p:cNvSpPr/>
            <p:nvPr/>
          </p:nvSpPr>
          <p:spPr>
            <a:xfrm>
              <a:off x="11367134" y="2881629"/>
              <a:ext cx="218440" cy="127635"/>
            </a:xfrm>
            <a:custGeom>
              <a:avLst/>
              <a:gdLst/>
              <a:ahLst/>
              <a:cxnLst/>
              <a:rect l="l" t="t" r="r" b="b"/>
              <a:pathLst>
                <a:path w="218440" h="127635" extrusionOk="0">
                  <a:moveTo>
                    <a:pt x="0" y="80645"/>
                  </a:moveTo>
                  <a:lnTo>
                    <a:pt x="19050" y="127635"/>
                  </a:lnTo>
                  <a:lnTo>
                    <a:pt x="42545" y="118110"/>
                  </a:lnTo>
                  <a:lnTo>
                    <a:pt x="194945" y="56515"/>
                  </a:lnTo>
                  <a:lnTo>
                    <a:pt x="218440" y="46990"/>
                  </a:lnTo>
                  <a:lnTo>
                    <a:pt x="199390" y="0"/>
                  </a:lnTo>
                  <a:lnTo>
                    <a:pt x="175895" y="9525"/>
                  </a:lnTo>
                  <a:lnTo>
                    <a:pt x="23495" y="7112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541" name="Google Shape;541;p14"/>
            <p:cNvSpPr/>
            <p:nvPr/>
          </p:nvSpPr>
          <p:spPr>
            <a:xfrm>
              <a:off x="12002134" y="3247389"/>
              <a:ext cx="189865" cy="123825"/>
            </a:xfrm>
            <a:custGeom>
              <a:avLst/>
              <a:gdLst/>
              <a:ahLst/>
              <a:cxnLst/>
              <a:rect l="l" t="t" r="r" b="b"/>
              <a:pathLst>
                <a:path w="189865" h="123825" extrusionOk="0">
                  <a:moveTo>
                    <a:pt x="23495" y="67310"/>
                  </a:moveTo>
                  <a:lnTo>
                    <a:pt x="0" y="76835"/>
                  </a:lnTo>
                  <a:lnTo>
                    <a:pt x="19050" y="123825"/>
                  </a:lnTo>
                  <a:lnTo>
                    <a:pt x="42545" y="114300"/>
                  </a:lnTo>
                  <a:lnTo>
                    <a:pt x="189865" y="54610"/>
                  </a:lnTo>
                  <a:lnTo>
                    <a:pt x="189865" y="0"/>
                  </a:lnTo>
                  <a:lnTo>
                    <a:pt x="175895" y="57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542" name="Google Shape;542;p14"/>
            <p:cNvSpPr/>
            <p:nvPr/>
          </p:nvSpPr>
          <p:spPr>
            <a:xfrm>
              <a:off x="7029450" y="0"/>
              <a:ext cx="222250" cy="128904"/>
            </a:xfrm>
            <a:custGeom>
              <a:avLst/>
              <a:gdLst/>
              <a:ahLst/>
              <a:cxnLst/>
              <a:rect l="l" t="t" r="r" b="b"/>
              <a:pathLst>
                <a:path w="222250" h="128904" extrusionOk="0">
                  <a:moveTo>
                    <a:pt x="47625" y="116205"/>
                  </a:moveTo>
                  <a:lnTo>
                    <a:pt x="200025" y="26670"/>
                  </a:lnTo>
                  <a:lnTo>
                    <a:pt x="222250" y="13970"/>
                  </a:lnTo>
                  <a:lnTo>
                    <a:pt x="213995" y="0"/>
                  </a:lnTo>
                  <a:lnTo>
                    <a:pt x="145415" y="0"/>
                  </a:lnTo>
                  <a:lnTo>
                    <a:pt x="22225" y="72390"/>
                  </a:lnTo>
                  <a:lnTo>
                    <a:pt x="0" y="85090"/>
                  </a:lnTo>
                  <a:lnTo>
                    <a:pt x="26035" y="12890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543" name="Google Shape;543;p14"/>
            <p:cNvSpPr/>
            <p:nvPr/>
          </p:nvSpPr>
          <p:spPr>
            <a:xfrm>
              <a:off x="7664450" y="332104"/>
              <a:ext cx="222250" cy="158750"/>
            </a:xfrm>
            <a:custGeom>
              <a:avLst/>
              <a:gdLst/>
              <a:ahLst/>
              <a:cxnLst/>
              <a:rect l="l" t="t" r="r" b="b"/>
              <a:pathLst>
                <a:path w="222250" h="158750" extrusionOk="0">
                  <a:moveTo>
                    <a:pt x="47625" y="146050"/>
                  </a:moveTo>
                  <a:lnTo>
                    <a:pt x="200025" y="56515"/>
                  </a:lnTo>
                  <a:lnTo>
                    <a:pt x="222250" y="43815"/>
                  </a:lnTo>
                  <a:lnTo>
                    <a:pt x="196215" y="0"/>
                  </a:lnTo>
                  <a:lnTo>
                    <a:pt x="174625" y="12700"/>
                  </a:lnTo>
                  <a:lnTo>
                    <a:pt x="22225" y="102235"/>
                  </a:lnTo>
                  <a:lnTo>
                    <a:pt x="0" y="114935"/>
                  </a:lnTo>
                  <a:lnTo>
                    <a:pt x="26035" y="15875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544" name="Google Shape;544;p14"/>
            <p:cNvSpPr/>
            <p:nvPr/>
          </p:nvSpPr>
          <p:spPr>
            <a:xfrm>
              <a:off x="8299450" y="694055"/>
              <a:ext cx="222250" cy="158750"/>
            </a:xfrm>
            <a:custGeom>
              <a:avLst/>
              <a:gdLst/>
              <a:ahLst/>
              <a:cxnLst/>
              <a:rect l="l" t="t" r="r" b="b"/>
              <a:pathLst>
                <a:path w="222250" h="158750" extrusionOk="0">
                  <a:moveTo>
                    <a:pt x="47625" y="146050"/>
                  </a:moveTo>
                  <a:lnTo>
                    <a:pt x="200025" y="56515"/>
                  </a:lnTo>
                  <a:lnTo>
                    <a:pt x="222250" y="43815"/>
                  </a:lnTo>
                  <a:lnTo>
                    <a:pt x="196215" y="0"/>
                  </a:lnTo>
                  <a:lnTo>
                    <a:pt x="174625" y="12700"/>
                  </a:lnTo>
                  <a:lnTo>
                    <a:pt x="22225" y="102235"/>
                  </a:lnTo>
                  <a:lnTo>
                    <a:pt x="0" y="114935"/>
                  </a:lnTo>
                  <a:lnTo>
                    <a:pt x="26035" y="15875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545" name="Google Shape;545;p14"/>
            <p:cNvSpPr/>
            <p:nvPr/>
          </p:nvSpPr>
          <p:spPr>
            <a:xfrm>
              <a:off x="8934450" y="1056005"/>
              <a:ext cx="222250" cy="158750"/>
            </a:xfrm>
            <a:custGeom>
              <a:avLst/>
              <a:gdLst/>
              <a:ahLst/>
              <a:cxnLst/>
              <a:rect l="l" t="t" r="r" b="b"/>
              <a:pathLst>
                <a:path w="222250" h="158750" extrusionOk="0">
                  <a:moveTo>
                    <a:pt x="47625" y="146050"/>
                  </a:moveTo>
                  <a:lnTo>
                    <a:pt x="200025" y="56515"/>
                  </a:lnTo>
                  <a:lnTo>
                    <a:pt x="222250" y="43815"/>
                  </a:lnTo>
                  <a:lnTo>
                    <a:pt x="196215" y="0"/>
                  </a:lnTo>
                  <a:lnTo>
                    <a:pt x="174625" y="12700"/>
                  </a:lnTo>
                  <a:lnTo>
                    <a:pt x="22225" y="102235"/>
                  </a:lnTo>
                  <a:lnTo>
                    <a:pt x="0" y="114935"/>
                  </a:lnTo>
                  <a:lnTo>
                    <a:pt x="26035" y="15875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546" name="Google Shape;546;p14"/>
            <p:cNvSpPr/>
            <p:nvPr/>
          </p:nvSpPr>
          <p:spPr>
            <a:xfrm>
              <a:off x="9569450" y="1417955"/>
              <a:ext cx="222250" cy="158750"/>
            </a:xfrm>
            <a:custGeom>
              <a:avLst/>
              <a:gdLst/>
              <a:ahLst/>
              <a:cxnLst/>
              <a:rect l="l" t="t" r="r" b="b"/>
              <a:pathLst>
                <a:path w="222250" h="158750" extrusionOk="0">
                  <a:moveTo>
                    <a:pt x="174625" y="12700"/>
                  </a:moveTo>
                  <a:lnTo>
                    <a:pt x="22225" y="102235"/>
                  </a:lnTo>
                  <a:lnTo>
                    <a:pt x="0" y="114935"/>
                  </a:lnTo>
                  <a:lnTo>
                    <a:pt x="26035" y="158750"/>
                  </a:lnTo>
                  <a:lnTo>
                    <a:pt x="47625" y="146050"/>
                  </a:lnTo>
                  <a:lnTo>
                    <a:pt x="200025" y="56515"/>
                  </a:lnTo>
                  <a:lnTo>
                    <a:pt x="222250" y="43815"/>
                  </a:lnTo>
                  <a:lnTo>
                    <a:pt x="19621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547" name="Google Shape;547;p14"/>
            <p:cNvSpPr/>
            <p:nvPr/>
          </p:nvSpPr>
          <p:spPr>
            <a:xfrm>
              <a:off x="10204450" y="1779904"/>
              <a:ext cx="222250" cy="158750"/>
            </a:xfrm>
            <a:custGeom>
              <a:avLst/>
              <a:gdLst/>
              <a:ahLst/>
              <a:cxnLst/>
              <a:rect l="l" t="t" r="r" b="b"/>
              <a:pathLst>
                <a:path w="222250" h="158750" extrusionOk="0">
                  <a:moveTo>
                    <a:pt x="174625" y="12700"/>
                  </a:moveTo>
                  <a:lnTo>
                    <a:pt x="22225" y="102235"/>
                  </a:lnTo>
                  <a:lnTo>
                    <a:pt x="0" y="114935"/>
                  </a:lnTo>
                  <a:lnTo>
                    <a:pt x="26035" y="158750"/>
                  </a:lnTo>
                  <a:lnTo>
                    <a:pt x="47625" y="146050"/>
                  </a:lnTo>
                  <a:lnTo>
                    <a:pt x="200025" y="56515"/>
                  </a:lnTo>
                  <a:lnTo>
                    <a:pt x="222250" y="43815"/>
                  </a:lnTo>
                  <a:lnTo>
                    <a:pt x="19621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548" name="Google Shape;548;p14"/>
            <p:cNvSpPr/>
            <p:nvPr/>
          </p:nvSpPr>
          <p:spPr>
            <a:xfrm>
              <a:off x="10839450" y="2141854"/>
              <a:ext cx="222250" cy="158750"/>
            </a:xfrm>
            <a:custGeom>
              <a:avLst/>
              <a:gdLst/>
              <a:ahLst/>
              <a:cxnLst/>
              <a:rect l="l" t="t" r="r" b="b"/>
              <a:pathLst>
                <a:path w="222250" h="158750" extrusionOk="0">
                  <a:moveTo>
                    <a:pt x="0" y="114935"/>
                  </a:moveTo>
                  <a:lnTo>
                    <a:pt x="26035" y="158750"/>
                  </a:lnTo>
                  <a:lnTo>
                    <a:pt x="47625" y="146050"/>
                  </a:lnTo>
                  <a:lnTo>
                    <a:pt x="200025" y="56515"/>
                  </a:lnTo>
                  <a:lnTo>
                    <a:pt x="222250" y="43815"/>
                  </a:lnTo>
                  <a:lnTo>
                    <a:pt x="196215" y="0"/>
                  </a:lnTo>
                  <a:lnTo>
                    <a:pt x="174625" y="12700"/>
                  </a:lnTo>
                  <a:lnTo>
                    <a:pt x="22225" y="10223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549" name="Google Shape;549;p14"/>
            <p:cNvSpPr/>
            <p:nvPr/>
          </p:nvSpPr>
          <p:spPr>
            <a:xfrm>
              <a:off x="11474450" y="2503804"/>
              <a:ext cx="222250" cy="158750"/>
            </a:xfrm>
            <a:custGeom>
              <a:avLst/>
              <a:gdLst/>
              <a:ahLst/>
              <a:cxnLst/>
              <a:rect l="l" t="t" r="r" b="b"/>
              <a:pathLst>
                <a:path w="222250" h="158750" extrusionOk="0">
                  <a:moveTo>
                    <a:pt x="0" y="114935"/>
                  </a:moveTo>
                  <a:lnTo>
                    <a:pt x="26035" y="158750"/>
                  </a:lnTo>
                  <a:lnTo>
                    <a:pt x="47625" y="146050"/>
                  </a:lnTo>
                  <a:lnTo>
                    <a:pt x="200025" y="56515"/>
                  </a:lnTo>
                  <a:lnTo>
                    <a:pt x="222250" y="43815"/>
                  </a:lnTo>
                  <a:lnTo>
                    <a:pt x="196215" y="0"/>
                  </a:lnTo>
                  <a:lnTo>
                    <a:pt x="174625" y="12700"/>
                  </a:lnTo>
                  <a:lnTo>
                    <a:pt x="22225" y="10223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550" name="Google Shape;550;p14"/>
            <p:cNvSpPr/>
            <p:nvPr/>
          </p:nvSpPr>
          <p:spPr>
            <a:xfrm>
              <a:off x="12109450" y="2932429"/>
              <a:ext cx="82550" cy="92075"/>
            </a:xfrm>
            <a:custGeom>
              <a:avLst/>
              <a:gdLst/>
              <a:ahLst/>
              <a:cxnLst/>
              <a:rect l="l" t="t" r="r" b="b"/>
              <a:pathLst>
                <a:path w="82550" h="92075" extrusionOk="0">
                  <a:moveTo>
                    <a:pt x="0" y="48260"/>
                  </a:moveTo>
                  <a:lnTo>
                    <a:pt x="26035" y="92075"/>
                  </a:lnTo>
                  <a:lnTo>
                    <a:pt x="47625" y="79375"/>
                  </a:lnTo>
                  <a:lnTo>
                    <a:pt x="82550" y="59055"/>
                  </a:lnTo>
                  <a:lnTo>
                    <a:pt x="82550" y="0"/>
                  </a:lnTo>
                  <a:lnTo>
                    <a:pt x="22225" y="3556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551" name="Google Shape;551;p14"/>
            <p:cNvSpPr/>
            <p:nvPr/>
          </p:nvSpPr>
          <p:spPr>
            <a:xfrm>
              <a:off x="7810500" y="0"/>
              <a:ext cx="220980" cy="142239"/>
            </a:xfrm>
            <a:custGeom>
              <a:avLst/>
              <a:gdLst/>
              <a:ahLst/>
              <a:cxnLst/>
              <a:rect l="l" t="t" r="r" b="b"/>
              <a:pathLst>
                <a:path w="220980" h="142239" extrusionOk="0">
                  <a:moveTo>
                    <a:pt x="50800" y="127000"/>
                  </a:moveTo>
                  <a:lnTo>
                    <a:pt x="203200" y="13335"/>
                  </a:lnTo>
                  <a:lnTo>
                    <a:pt x="220980" y="0"/>
                  </a:lnTo>
                  <a:lnTo>
                    <a:pt x="135890" y="0"/>
                  </a:lnTo>
                  <a:lnTo>
                    <a:pt x="20320" y="86360"/>
                  </a:lnTo>
                  <a:lnTo>
                    <a:pt x="0" y="100965"/>
                  </a:lnTo>
                  <a:lnTo>
                    <a:pt x="30480" y="1422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552" name="Google Shape;552;p14"/>
            <p:cNvSpPr/>
            <p:nvPr/>
          </p:nvSpPr>
          <p:spPr>
            <a:xfrm>
              <a:off x="8445500" y="319404"/>
              <a:ext cx="223519" cy="184785"/>
            </a:xfrm>
            <a:custGeom>
              <a:avLst/>
              <a:gdLst/>
              <a:ahLst/>
              <a:cxnLst/>
              <a:rect l="l" t="t" r="r" b="b"/>
              <a:pathLst>
                <a:path w="223519" h="184785" extrusionOk="0">
                  <a:moveTo>
                    <a:pt x="50800" y="169545"/>
                  </a:moveTo>
                  <a:lnTo>
                    <a:pt x="203200" y="55880"/>
                  </a:lnTo>
                  <a:lnTo>
                    <a:pt x="223520" y="40640"/>
                  </a:lnTo>
                  <a:lnTo>
                    <a:pt x="193040" y="0"/>
                  </a:lnTo>
                  <a:lnTo>
                    <a:pt x="172720" y="15240"/>
                  </a:lnTo>
                  <a:lnTo>
                    <a:pt x="20320" y="128905"/>
                  </a:lnTo>
                  <a:lnTo>
                    <a:pt x="0" y="143510"/>
                  </a:lnTo>
                  <a:lnTo>
                    <a:pt x="30480" y="18478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553" name="Google Shape;553;p14"/>
            <p:cNvSpPr/>
            <p:nvPr/>
          </p:nvSpPr>
          <p:spPr>
            <a:xfrm>
              <a:off x="9080500" y="681355"/>
              <a:ext cx="223519" cy="184784"/>
            </a:xfrm>
            <a:custGeom>
              <a:avLst/>
              <a:gdLst/>
              <a:ahLst/>
              <a:cxnLst/>
              <a:rect l="l" t="t" r="r" b="b"/>
              <a:pathLst>
                <a:path w="223519" h="184784" extrusionOk="0">
                  <a:moveTo>
                    <a:pt x="50800" y="169545"/>
                  </a:moveTo>
                  <a:lnTo>
                    <a:pt x="203200" y="55880"/>
                  </a:lnTo>
                  <a:lnTo>
                    <a:pt x="223520" y="40640"/>
                  </a:lnTo>
                  <a:lnTo>
                    <a:pt x="193040" y="0"/>
                  </a:lnTo>
                  <a:lnTo>
                    <a:pt x="172720" y="15240"/>
                  </a:lnTo>
                  <a:lnTo>
                    <a:pt x="20320" y="128905"/>
                  </a:lnTo>
                  <a:lnTo>
                    <a:pt x="0" y="143510"/>
                  </a:lnTo>
                  <a:lnTo>
                    <a:pt x="30480" y="18478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554" name="Google Shape;554;p14"/>
            <p:cNvSpPr/>
            <p:nvPr/>
          </p:nvSpPr>
          <p:spPr>
            <a:xfrm>
              <a:off x="9715500" y="1043305"/>
              <a:ext cx="223519" cy="184784"/>
            </a:xfrm>
            <a:custGeom>
              <a:avLst/>
              <a:gdLst/>
              <a:ahLst/>
              <a:cxnLst/>
              <a:rect l="l" t="t" r="r" b="b"/>
              <a:pathLst>
                <a:path w="223519" h="184784" extrusionOk="0">
                  <a:moveTo>
                    <a:pt x="50800" y="169545"/>
                  </a:moveTo>
                  <a:lnTo>
                    <a:pt x="203200" y="55880"/>
                  </a:lnTo>
                  <a:lnTo>
                    <a:pt x="223520" y="40640"/>
                  </a:lnTo>
                  <a:lnTo>
                    <a:pt x="193040" y="0"/>
                  </a:lnTo>
                  <a:lnTo>
                    <a:pt x="172720" y="15240"/>
                  </a:lnTo>
                  <a:lnTo>
                    <a:pt x="20320" y="128905"/>
                  </a:lnTo>
                  <a:lnTo>
                    <a:pt x="0" y="143510"/>
                  </a:lnTo>
                  <a:lnTo>
                    <a:pt x="30480" y="18478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555" name="Google Shape;555;p14"/>
            <p:cNvSpPr/>
            <p:nvPr/>
          </p:nvSpPr>
          <p:spPr>
            <a:xfrm>
              <a:off x="10350500" y="1405255"/>
              <a:ext cx="223519" cy="184784"/>
            </a:xfrm>
            <a:custGeom>
              <a:avLst/>
              <a:gdLst/>
              <a:ahLst/>
              <a:cxnLst/>
              <a:rect l="l" t="t" r="r" b="b"/>
              <a:pathLst>
                <a:path w="223519" h="184784" extrusionOk="0">
                  <a:moveTo>
                    <a:pt x="0" y="143510"/>
                  </a:moveTo>
                  <a:lnTo>
                    <a:pt x="30480" y="184785"/>
                  </a:lnTo>
                  <a:lnTo>
                    <a:pt x="50800" y="169545"/>
                  </a:lnTo>
                  <a:lnTo>
                    <a:pt x="203200" y="55880"/>
                  </a:lnTo>
                  <a:lnTo>
                    <a:pt x="223520" y="40640"/>
                  </a:lnTo>
                  <a:lnTo>
                    <a:pt x="193040" y="0"/>
                  </a:lnTo>
                  <a:lnTo>
                    <a:pt x="172720" y="15240"/>
                  </a:lnTo>
                  <a:lnTo>
                    <a:pt x="20320" y="12890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556" name="Google Shape;556;p14"/>
            <p:cNvSpPr/>
            <p:nvPr/>
          </p:nvSpPr>
          <p:spPr>
            <a:xfrm>
              <a:off x="10985500" y="1767204"/>
              <a:ext cx="223519" cy="184785"/>
            </a:xfrm>
            <a:custGeom>
              <a:avLst/>
              <a:gdLst/>
              <a:ahLst/>
              <a:cxnLst/>
              <a:rect l="l" t="t" r="r" b="b"/>
              <a:pathLst>
                <a:path w="223519" h="184785" extrusionOk="0">
                  <a:moveTo>
                    <a:pt x="20320" y="128905"/>
                  </a:moveTo>
                  <a:lnTo>
                    <a:pt x="0" y="143510"/>
                  </a:lnTo>
                  <a:lnTo>
                    <a:pt x="30480" y="184785"/>
                  </a:lnTo>
                  <a:lnTo>
                    <a:pt x="50800" y="169545"/>
                  </a:lnTo>
                  <a:lnTo>
                    <a:pt x="203200" y="55880"/>
                  </a:lnTo>
                  <a:lnTo>
                    <a:pt x="223520" y="40640"/>
                  </a:lnTo>
                  <a:lnTo>
                    <a:pt x="193040" y="0"/>
                  </a:lnTo>
                  <a:lnTo>
                    <a:pt x="172720" y="152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557" name="Google Shape;557;p14"/>
            <p:cNvSpPr/>
            <p:nvPr/>
          </p:nvSpPr>
          <p:spPr>
            <a:xfrm>
              <a:off x="11620500" y="2129154"/>
              <a:ext cx="223519" cy="184785"/>
            </a:xfrm>
            <a:custGeom>
              <a:avLst/>
              <a:gdLst/>
              <a:ahLst/>
              <a:cxnLst/>
              <a:rect l="l" t="t" r="r" b="b"/>
              <a:pathLst>
                <a:path w="223519" h="184785" extrusionOk="0">
                  <a:moveTo>
                    <a:pt x="172720" y="15240"/>
                  </a:moveTo>
                  <a:lnTo>
                    <a:pt x="20320" y="128905"/>
                  </a:lnTo>
                  <a:lnTo>
                    <a:pt x="0" y="143510"/>
                  </a:lnTo>
                  <a:lnTo>
                    <a:pt x="30480" y="184785"/>
                  </a:lnTo>
                  <a:lnTo>
                    <a:pt x="50800" y="169545"/>
                  </a:lnTo>
                  <a:lnTo>
                    <a:pt x="203200" y="55880"/>
                  </a:lnTo>
                  <a:lnTo>
                    <a:pt x="223520" y="40640"/>
                  </a:lnTo>
                  <a:lnTo>
                    <a:pt x="19304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558" name="Google Shape;558;p14"/>
            <p:cNvSpPr/>
            <p:nvPr/>
          </p:nvSpPr>
          <p:spPr>
            <a:xfrm>
              <a:off x="8623934" y="0"/>
              <a:ext cx="207009" cy="152400"/>
            </a:xfrm>
            <a:custGeom>
              <a:avLst/>
              <a:gdLst/>
              <a:ahLst/>
              <a:cxnLst/>
              <a:rect l="l" t="t" r="r" b="b"/>
              <a:pathLst>
                <a:path w="207009" h="152400" extrusionOk="0">
                  <a:moveTo>
                    <a:pt x="52705" y="135255"/>
                  </a:moveTo>
                  <a:lnTo>
                    <a:pt x="205105" y="1905"/>
                  </a:lnTo>
                  <a:lnTo>
                    <a:pt x="207010" y="0"/>
                  </a:lnTo>
                  <a:lnTo>
                    <a:pt x="130175" y="0"/>
                  </a:lnTo>
                  <a:lnTo>
                    <a:pt x="19050" y="97155"/>
                  </a:lnTo>
                  <a:lnTo>
                    <a:pt x="0" y="113665"/>
                  </a:lnTo>
                  <a:lnTo>
                    <a:pt x="33020" y="15240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559" name="Google Shape;559;p14"/>
            <p:cNvSpPr/>
            <p:nvPr/>
          </p:nvSpPr>
          <p:spPr>
            <a:xfrm>
              <a:off x="9258934" y="309245"/>
              <a:ext cx="224155" cy="205104"/>
            </a:xfrm>
            <a:custGeom>
              <a:avLst/>
              <a:gdLst/>
              <a:ahLst/>
              <a:cxnLst/>
              <a:rect l="l" t="t" r="r" b="b"/>
              <a:pathLst>
                <a:path w="224155" h="205104" extrusionOk="0">
                  <a:moveTo>
                    <a:pt x="52705" y="187960"/>
                  </a:moveTo>
                  <a:lnTo>
                    <a:pt x="205105" y="54610"/>
                  </a:lnTo>
                  <a:lnTo>
                    <a:pt x="224155" y="38100"/>
                  </a:lnTo>
                  <a:lnTo>
                    <a:pt x="190500" y="0"/>
                  </a:lnTo>
                  <a:lnTo>
                    <a:pt x="171450" y="16510"/>
                  </a:lnTo>
                  <a:lnTo>
                    <a:pt x="19050" y="149860"/>
                  </a:lnTo>
                  <a:lnTo>
                    <a:pt x="0" y="166370"/>
                  </a:lnTo>
                  <a:lnTo>
                    <a:pt x="33020" y="20510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560" name="Google Shape;560;p14"/>
            <p:cNvSpPr/>
            <p:nvPr/>
          </p:nvSpPr>
          <p:spPr>
            <a:xfrm>
              <a:off x="9893934" y="671194"/>
              <a:ext cx="224155" cy="205105"/>
            </a:xfrm>
            <a:custGeom>
              <a:avLst/>
              <a:gdLst/>
              <a:ahLst/>
              <a:cxnLst/>
              <a:rect l="l" t="t" r="r" b="b"/>
              <a:pathLst>
                <a:path w="224155" h="205105" extrusionOk="0">
                  <a:moveTo>
                    <a:pt x="52705" y="187960"/>
                  </a:moveTo>
                  <a:lnTo>
                    <a:pt x="205105" y="54610"/>
                  </a:lnTo>
                  <a:lnTo>
                    <a:pt x="224155" y="38100"/>
                  </a:lnTo>
                  <a:lnTo>
                    <a:pt x="190500" y="0"/>
                  </a:lnTo>
                  <a:lnTo>
                    <a:pt x="171450" y="16510"/>
                  </a:lnTo>
                  <a:lnTo>
                    <a:pt x="19050" y="149860"/>
                  </a:lnTo>
                  <a:lnTo>
                    <a:pt x="0" y="166370"/>
                  </a:lnTo>
                  <a:lnTo>
                    <a:pt x="33020" y="20510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561" name="Google Shape;561;p14"/>
            <p:cNvSpPr/>
            <p:nvPr/>
          </p:nvSpPr>
          <p:spPr>
            <a:xfrm>
              <a:off x="10528934" y="1033144"/>
              <a:ext cx="224155" cy="205105"/>
            </a:xfrm>
            <a:custGeom>
              <a:avLst/>
              <a:gdLst/>
              <a:ahLst/>
              <a:cxnLst/>
              <a:rect l="l" t="t" r="r" b="b"/>
              <a:pathLst>
                <a:path w="224155" h="205105" extrusionOk="0">
                  <a:moveTo>
                    <a:pt x="52705" y="187960"/>
                  </a:moveTo>
                  <a:lnTo>
                    <a:pt x="205105" y="54610"/>
                  </a:lnTo>
                  <a:lnTo>
                    <a:pt x="224155" y="38100"/>
                  </a:lnTo>
                  <a:lnTo>
                    <a:pt x="190500" y="0"/>
                  </a:lnTo>
                  <a:lnTo>
                    <a:pt x="171450" y="16510"/>
                  </a:lnTo>
                  <a:lnTo>
                    <a:pt x="19050" y="149860"/>
                  </a:lnTo>
                  <a:lnTo>
                    <a:pt x="0" y="166370"/>
                  </a:lnTo>
                  <a:lnTo>
                    <a:pt x="33020" y="20510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562" name="Google Shape;562;p14"/>
            <p:cNvSpPr/>
            <p:nvPr/>
          </p:nvSpPr>
          <p:spPr>
            <a:xfrm>
              <a:off x="11163934" y="1395094"/>
              <a:ext cx="224155" cy="205105"/>
            </a:xfrm>
            <a:custGeom>
              <a:avLst/>
              <a:gdLst/>
              <a:ahLst/>
              <a:cxnLst/>
              <a:rect l="l" t="t" r="r" b="b"/>
              <a:pathLst>
                <a:path w="224155" h="205105" extrusionOk="0">
                  <a:moveTo>
                    <a:pt x="171450" y="16510"/>
                  </a:moveTo>
                  <a:lnTo>
                    <a:pt x="19050" y="149860"/>
                  </a:lnTo>
                  <a:lnTo>
                    <a:pt x="0" y="166370"/>
                  </a:lnTo>
                  <a:lnTo>
                    <a:pt x="33020" y="205105"/>
                  </a:lnTo>
                  <a:lnTo>
                    <a:pt x="52705" y="187960"/>
                  </a:lnTo>
                  <a:lnTo>
                    <a:pt x="205105" y="54610"/>
                  </a:lnTo>
                  <a:lnTo>
                    <a:pt x="224155" y="38100"/>
                  </a:lnTo>
                  <a:lnTo>
                    <a:pt x="19050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563" name="Google Shape;563;p14"/>
            <p:cNvSpPr/>
            <p:nvPr/>
          </p:nvSpPr>
          <p:spPr>
            <a:xfrm>
              <a:off x="11798934" y="1757045"/>
              <a:ext cx="224155" cy="205104"/>
            </a:xfrm>
            <a:custGeom>
              <a:avLst/>
              <a:gdLst/>
              <a:ahLst/>
              <a:cxnLst/>
              <a:rect l="l" t="t" r="r" b="b"/>
              <a:pathLst>
                <a:path w="224155" h="205104" extrusionOk="0">
                  <a:moveTo>
                    <a:pt x="224155" y="38100"/>
                  </a:moveTo>
                  <a:lnTo>
                    <a:pt x="190500" y="0"/>
                  </a:lnTo>
                  <a:lnTo>
                    <a:pt x="171450" y="16510"/>
                  </a:lnTo>
                  <a:lnTo>
                    <a:pt x="19050" y="149860"/>
                  </a:lnTo>
                  <a:lnTo>
                    <a:pt x="0" y="166370"/>
                  </a:lnTo>
                  <a:lnTo>
                    <a:pt x="33020" y="205105"/>
                  </a:lnTo>
                  <a:lnTo>
                    <a:pt x="52705" y="187960"/>
                  </a:lnTo>
                  <a:lnTo>
                    <a:pt x="205105" y="5461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564" name="Google Shape;564;p14"/>
            <p:cNvSpPr/>
            <p:nvPr/>
          </p:nvSpPr>
          <p:spPr>
            <a:xfrm>
              <a:off x="9462134" y="0"/>
              <a:ext cx="199390" cy="159385"/>
            </a:xfrm>
            <a:custGeom>
              <a:avLst/>
              <a:gdLst/>
              <a:ahLst/>
              <a:cxnLst/>
              <a:rect l="l" t="t" r="r" b="b"/>
              <a:pathLst>
                <a:path w="199390" h="159385" extrusionOk="0">
                  <a:moveTo>
                    <a:pt x="53340" y="141605"/>
                  </a:moveTo>
                  <a:lnTo>
                    <a:pt x="199390" y="0"/>
                  </a:lnTo>
                  <a:lnTo>
                    <a:pt x="126365" y="0"/>
                  </a:lnTo>
                  <a:lnTo>
                    <a:pt x="17780" y="105410"/>
                  </a:lnTo>
                  <a:lnTo>
                    <a:pt x="0" y="123190"/>
                  </a:lnTo>
                  <a:lnTo>
                    <a:pt x="34925" y="15938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565" name="Google Shape;565;p14"/>
            <p:cNvSpPr/>
            <p:nvPr/>
          </p:nvSpPr>
          <p:spPr>
            <a:xfrm>
              <a:off x="10097134" y="301625"/>
              <a:ext cx="224155" cy="219709"/>
            </a:xfrm>
            <a:custGeom>
              <a:avLst/>
              <a:gdLst/>
              <a:ahLst/>
              <a:cxnLst/>
              <a:rect l="l" t="t" r="r" b="b"/>
              <a:pathLst>
                <a:path w="224155" h="219709" extrusionOk="0">
                  <a:moveTo>
                    <a:pt x="53340" y="201930"/>
                  </a:moveTo>
                  <a:lnTo>
                    <a:pt x="205740" y="53975"/>
                  </a:lnTo>
                  <a:lnTo>
                    <a:pt x="224155" y="36830"/>
                  </a:lnTo>
                  <a:lnTo>
                    <a:pt x="188595" y="0"/>
                  </a:lnTo>
                  <a:lnTo>
                    <a:pt x="170180" y="17780"/>
                  </a:lnTo>
                  <a:lnTo>
                    <a:pt x="17780" y="165735"/>
                  </a:lnTo>
                  <a:lnTo>
                    <a:pt x="0" y="183515"/>
                  </a:lnTo>
                  <a:lnTo>
                    <a:pt x="34925" y="21971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566" name="Google Shape;566;p14"/>
            <p:cNvSpPr/>
            <p:nvPr/>
          </p:nvSpPr>
          <p:spPr>
            <a:xfrm>
              <a:off x="10732134" y="663575"/>
              <a:ext cx="224155" cy="219710"/>
            </a:xfrm>
            <a:custGeom>
              <a:avLst/>
              <a:gdLst/>
              <a:ahLst/>
              <a:cxnLst/>
              <a:rect l="l" t="t" r="r" b="b"/>
              <a:pathLst>
                <a:path w="224155" h="219710" extrusionOk="0">
                  <a:moveTo>
                    <a:pt x="53340" y="201930"/>
                  </a:moveTo>
                  <a:lnTo>
                    <a:pt x="205740" y="53975"/>
                  </a:lnTo>
                  <a:lnTo>
                    <a:pt x="224155" y="36830"/>
                  </a:lnTo>
                  <a:lnTo>
                    <a:pt x="188595" y="0"/>
                  </a:lnTo>
                  <a:lnTo>
                    <a:pt x="170180" y="17780"/>
                  </a:lnTo>
                  <a:lnTo>
                    <a:pt x="17780" y="165735"/>
                  </a:lnTo>
                  <a:lnTo>
                    <a:pt x="0" y="183515"/>
                  </a:lnTo>
                  <a:lnTo>
                    <a:pt x="34925" y="21971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567" name="Google Shape;567;p14"/>
            <p:cNvSpPr/>
            <p:nvPr/>
          </p:nvSpPr>
          <p:spPr>
            <a:xfrm>
              <a:off x="11367134" y="1025525"/>
              <a:ext cx="224155" cy="219710"/>
            </a:xfrm>
            <a:custGeom>
              <a:avLst/>
              <a:gdLst/>
              <a:ahLst/>
              <a:cxnLst/>
              <a:rect l="l" t="t" r="r" b="b"/>
              <a:pathLst>
                <a:path w="224155" h="219710" extrusionOk="0">
                  <a:moveTo>
                    <a:pt x="34925" y="219710"/>
                  </a:moveTo>
                  <a:lnTo>
                    <a:pt x="53340" y="201930"/>
                  </a:lnTo>
                  <a:lnTo>
                    <a:pt x="205740" y="53975"/>
                  </a:lnTo>
                  <a:lnTo>
                    <a:pt x="224155" y="36830"/>
                  </a:lnTo>
                  <a:lnTo>
                    <a:pt x="188595" y="0"/>
                  </a:lnTo>
                  <a:lnTo>
                    <a:pt x="170180" y="17780"/>
                  </a:lnTo>
                  <a:lnTo>
                    <a:pt x="17780" y="165735"/>
                  </a:lnTo>
                  <a:lnTo>
                    <a:pt x="0" y="183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568" name="Google Shape;568;p14"/>
            <p:cNvSpPr/>
            <p:nvPr/>
          </p:nvSpPr>
          <p:spPr>
            <a:xfrm>
              <a:off x="12002134" y="1387475"/>
              <a:ext cx="189865" cy="219710"/>
            </a:xfrm>
            <a:custGeom>
              <a:avLst/>
              <a:gdLst/>
              <a:ahLst/>
              <a:cxnLst/>
              <a:rect l="l" t="t" r="r" b="b"/>
              <a:pathLst>
                <a:path w="189865" h="219710" extrusionOk="0">
                  <a:moveTo>
                    <a:pt x="170180" y="17780"/>
                  </a:moveTo>
                  <a:lnTo>
                    <a:pt x="17780" y="165735"/>
                  </a:lnTo>
                  <a:lnTo>
                    <a:pt x="0" y="183515"/>
                  </a:lnTo>
                  <a:lnTo>
                    <a:pt x="34925" y="219710"/>
                  </a:lnTo>
                  <a:lnTo>
                    <a:pt x="53340" y="201930"/>
                  </a:lnTo>
                  <a:lnTo>
                    <a:pt x="189865" y="69850"/>
                  </a:lnTo>
                  <a:lnTo>
                    <a:pt x="189865" y="1270"/>
                  </a:lnTo>
                  <a:lnTo>
                    <a:pt x="18859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569" name="Google Shape;569;p14"/>
            <p:cNvSpPr/>
            <p:nvPr/>
          </p:nvSpPr>
          <p:spPr>
            <a:xfrm>
              <a:off x="10316844" y="0"/>
              <a:ext cx="195580" cy="163829"/>
            </a:xfrm>
            <a:custGeom>
              <a:avLst/>
              <a:gdLst/>
              <a:ahLst/>
              <a:cxnLst/>
              <a:rect l="l" t="t" r="r" b="b"/>
              <a:pathLst>
                <a:path w="195580" h="163829" extrusionOk="0">
                  <a:moveTo>
                    <a:pt x="53975" y="145415"/>
                  </a:moveTo>
                  <a:lnTo>
                    <a:pt x="195580" y="0"/>
                  </a:lnTo>
                  <a:lnTo>
                    <a:pt x="125095" y="0"/>
                  </a:lnTo>
                  <a:lnTo>
                    <a:pt x="17780" y="109855"/>
                  </a:lnTo>
                  <a:lnTo>
                    <a:pt x="0" y="128270"/>
                  </a:lnTo>
                  <a:lnTo>
                    <a:pt x="36195" y="16383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570" name="Google Shape;570;p14"/>
            <p:cNvSpPr/>
            <p:nvPr/>
          </p:nvSpPr>
          <p:spPr>
            <a:xfrm>
              <a:off x="10951844" y="297179"/>
              <a:ext cx="224155" cy="228600"/>
            </a:xfrm>
            <a:custGeom>
              <a:avLst/>
              <a:gdLst/>
              <a:ahLst/>
              <a:cxnLst/>
              <a:rect l="l" t="t" r="r" b="b"/>
              <a:pathLst>
                <a:path w="224155" h="228600" extrusionOk="0">
                  <a:moveTo>
                    <a:pt x="53975" y="210185"/>
                  </a:moveTo>
                  <a:lnTo>
                    <a:pt x="206375" y="53975"/>
                  </a:lnTo>
                  <a:lnTo>
                    <a:pt x="224155" y="35560"/>
                  </a:lnTo>
                  <a:lnTo>
                    <a:pt x="187961" y="0"/>
                  </a:lnTo>
                  <a:lnTo>
                    <a:pt x="170180" y="18415"/>
                  </a:lnTo>
                  <a:lnTo>
                    <a:pt x="17780" y="174625"/>
                  </a:lnTo>
                  <a:lnTo>
                    <a:pt x="0" y="193040"/>
                  </a:lnTo>
                  <a:lnTo>
                    <a:pt x="36195" y="22860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571" name="Google Shape;571;p14"/>
            <p:cNvSpPr/>
            <p:nvPr/>
          </p:nvSpPr>
          <p:spPr>
            <a:xfrm>
              <a:off x="11586844" y="659130"/>
              <a:ext cx="224155" cy="228600"/>
            </a:xfrm>
            <a:custGeom>
              <a:avLst/>
              <a:gdLst/>
              <a:ahLst/>
              <a:cxnLst/>
              <a:rect l="l" t="t" r="r" b="b"/>
              <a:pathLst>
                <a:path w="224155" h="228600" extrusionOk="0">
                  <a:moveTo>
                    <a:pt x="53975" y="210185"/>
                  </a:moveTo>
                  <a:lnTo>
                    <a:pt x="206375" y="53975"/>
                  </a:lnTo>
                  <a:lnTo>
                    <a:pt x="224155" y="35560"/>
                  </a:lnTo>
                  <a:lnTo>
                    <a:pt x="187961" y="0"/>
                  </a:lnTo>
                  <a:lnTo>
                    <a:pt x="170180" y="18415"/>
                  </a:lnTo>
                  <a:lnTo>
                    <a:pt x="17780" y="174625"/>
                  </a:lnTo>
                  <a:lnTo>
                    <a:pt x="0" y="193040"/>
                  </a:lnTo>
                  <a:lnTo>
                    <a:pt x="36195" y="22860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572" name="Google Shape;572;p14"/>
            <p:cNvSpPr/>
            <p:nvPr/>
          </p:nvSpPr>
          <p:spPr>
            <a:xfrm>
              <a:off x="11179175" y="0"/>
              <a:ext cx="194944" cy="165100"/>
            </a:xfrm>
            <a:custGeom>
              <a:avLst/>
              <a:gdLst/>
              <a:ahLst/>
              <a:cxnLst/>
              <a:rect l="l" t="t" r="r" b="b"/>
              <a:pathLst>
                <a:path w="194944" h="165100" extrusionOk="0">
                  <a:moveTo>
                    <a:pt x="54610" y="146685"/>
                  </a:moveTo>
                  <a:lnTo>
                    <a:pt x="194945" y="0"/>
                  </a:lnTo>
                  <a:lnTo>
                    <a:pt x="124460" y="0"/>
                  </a:lnTo>
                  <a:lnTo>
                    <a:pt x="17780" y="111125"/>
                  </a:lnTo>
                  <a:lnTo>
                    <a:pt x="0" y="129540"/>
                  </a:lnTo>
                  <a:lnTo>
                    <a:pt x="36830" y="16510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573" name="Google Shape;573;p14"/>
            <p:cNvSpPr/>
            <p:nvPr/>
          </p:nvSpPr>
          <p:spPr>
            <a:xfrm>
              <a:off x="11814175" y="296545"/>
              <a:ext cx="224155" cy="230504"/>
            </a:xfrm>
            <a:custGeom>
              <a:avLst/>
              <a:gdLst/>
              <a:ahLst/>
              <a:cxnLst/>
              <a:rect l="l" t="t" r="r" b="b"/>
              <a:pathLst>
                <a:path w="224155" h="230504" extrusionOk="0">
                  <a:moveTo>
                    <a:pt x="54610" y="212090"/>
                  </a:moveTo>
                  <a:lnTo>
                    <a:pt x="207010" y="53340"/>
                  </a:lnTo>
                  <a:lnTo>
                    <a:pt x="224155" y="34925"/>
                  </a:lnTo>
                  <a:lnTo>
                    <a:pt x="187960" y="0"/>
                  </a:lnTo>
                  <a:lnTo>
                    <a:pt x="170180" y="17780"/>
                  </a:lnTo>
                  <a:lnTo>
                    <a:pt x="17780" y="176530"/>
                  </a:lnTo>
                  <a:lnTo>
                    <a:pt x="0" y="194945"/>
                  </a:lnTo>
                  <a:lnTo>
                    <a:pt x="36830" y="23050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574" name="Google Shape;574;p14"/>
            <p:cNvSpPr/>
            <p:nvPr/>
          </p:nvSpPr>
          <p:spPr>
            <a:xfrm>
              <a:off x="12040869" y="0"/>
              <a:ext cx="151130" cy="162560"/>
            </a:xfrm>
            <a:custGeom>
              <a:avLst/>
              <a:gdLst/>
              <a:ahLst/>
              <a:cxnLst/>
              <a:rect l="l" t="t" r="r" b="b"/>
              <a:pathLst>
                <a:path w="151130" h="162560" extrusionOk="0">
                  <a:moveTo>
                    <a:pt x="125095" y="0"/>
                  </a:moveTo>
                  <a:lnTo>
                    <a:pt x="17780" y="109220"/>
                  </a:lnTo>
                  <a:lnTo>
                    <a:pt x="0" y="127000"/>
                  </a:lnTo>
                  <a:lnTo>
                    <a:pt x="36195" y="162560"/>
                  </a:lnTo>
                  <a:lnTo>
                    <a:pt x="53975" y="144780"/>
                  </a:lnTo>
                  <a:lnTo>
                    <a:pt x="151130" y="45720"/>
                  </a:lnTo>
                  <a:lnTo>
                    <a:pt x="15113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grpSp>
      <p:sp>
        <p:nvSpPr>
          <p:cNvPr id="575" name="Google Shape;575;p14"/>
          <p:cNvSpPr/>
          <p:nvPr/>
        </p:nvSpPr>
        <p:spPr>
          <a:xfrm>
            <a:off x="7843534" y="1475434"/>
            <a:ext cx="2987033" cy="5382567"/>
          </a:xfrm>
          <a:custGeom>
            <a:avLst/>
            <a:gdLst/>
            <a:ahLst/>
            <a:cxnLst/>
            <a:rect l="l" t="t" r="r" b="b"/>
            <a:pathLst>
              <a:path w="89611" h="161477" extrusionOk="0">
                <a:moveTo>
                  <a:pt x="12478" y="0"/>
                </a:moveTo>
                <a:lnTo>
                  <a:pt x="24536" y="23174"/>
                </a:lnTo>
                <a:lnTo>
                  <a:pt x="24227" y="35246"/>
                </a:lnTo>
                <a:lnTo>
                  <a:pt x="22780" y="45189"/>
                </a:lnTo>
                <a:lnTo>
                  <a:pt x="27233" y="59290"/>
                </a:lnTo>
                <a:lnTo>
                  <a:pt x="50831" y="99634"/>
                </a:lnTo>
                <a:lnTo>
                  <a:pt x="89611" y="161477"/>
                </a:lnTo>
                <a:lnTo>
                  <a:pt x="31089" y="161477"/>
                </a:lnTo>
                <a:lnTo>
                  <a:pt x="0" y="161477"/>
                </a:lnTo>
                <a:close/>
              </a:path>
            </a:pathLst>
          </a:custGeom>
          <a:solidFill>
            <a:schemeClr val="dk2"/>
          </a:solidFill>
          <a:ln>
            <a:noFill/>
          </a:ln>
        </p:spPr>
      </p:sp>
      <p:sp>
        <p:nvSpPr>
          <p:cNvPr id="576" name="Google Shape;576;p14"/>
          <p:cNvSpPr/>
          <p:nvPr/>
        </p:nvSpPr>
        <p:spPr>
          <a:xfrm>
            <a:off x="-11067" y="0"/>
            <a:ext cx="8327200" cy="6858000"/>
          </a:xfrm>
          <a:prstGeom prst="rect">
            <a:avLst/>
          </a:prstGeom>
          <a:solidFill>
            <a:schemeClr val="dk2"/>
          </a:solidFill>
          <a:ln>
            <a:noFill/>
          </a:ln>
        </p:spPr>
        <p:txBody>
          <a:bodyPr spcFirstLastPara="1" wrap="square" lIns="121900" tIns="121900" rIns="121900" bIns="121900"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sp>
        <p:nvSpPr>
          <p:cNvPr id="577" name="Google Shape;577;p14"/>
          <p:cNvSpPr/>
          <p:nvPr/>
        </p:nvSpPr>
        <p:spPr>
          <a:xfrm>
            <a:off x="8123900" y="1"/>
            <a:ext cx="1069267" cy="1782100"/>
          </a:xfrm>
          <a:custGeom>
            <a:avLst/>
            <a:gdLst/>
            <a:ahLst/>
            <a:cxnLst/>
            <a:rect l="l" t="t" r="r" b="b"/>
            <a:pathLst>
              <a:path w="32078" h="53463" extrusionOk="0">
                <a:moveTo>
                  <a:pt x="6637" y="53463"/>
                </a:moveTo>
                <a:lnTo>
                  <a:pt x="32078" y="0"/>
                </a:lnTo>
                <a:lnTo>
                  <a:pt x="3318" y="0"/>
                </a:lnTo>
                <a:lnTo>
                  <a:pt x="0" y="47195"/>
                </a:lnTo>
                <a:close/>
              </a:path>
            </a:pathLst>
          </a:custGeom>
          <a:solidFill>
            <a:schemeClr val="dk2"/>
          </a:solidFill>
          <a:ln>
            <a:noFill/>
          </a:ln>
        </p:spPr>
      </p:sp>
      <p:sp>
        <p:nvSpPr>
          <p:cNvPr id="578" name="Google Shape;578;p14"/>
          <p:cNvSpPr txBox="1">
            <a:spLocks noGrp="1"/>
          </p:cNvSpPr>
          <p:nvPr>
            <p:ph type="title"/>
          </p:nvPr>
        </p:nvSpPr>
        <p:spPr>
          <a:xfrm>
            <a:off x="951700" y="359997"/>
            <a:ext cx="10515600" cy="975200"/>
          </a:xfrm>
          <a:prstGeom prst="rect">
            <a:avLst/>
          </a:prstGeom>
          <a:noFill/>
          <a:ln>
            <a:noFill/>
          </a:ln>
        </p:spPr>
        <p:txBody>
          <a:bodyPr spcFirstLastPara="1" wrap="square" lIns="0" tIns="0" rIns="68575" bIns="34275" anchor="t" anchorCtr="0">
            <a:noAutofit/>
          </a:bodyPr>
          <a:lstStyle>
            <a:lvl1pPr lvl="0" algn="l" rtl="0">
              <a:lnSpc>
                <a:spcPct val="90000"/>
              </a:lnSpc>
              <a:spcBef>
                <a:spcPts val="0"/>
              </a:spcBef>
              <a:spcAft>
                <a:spcPts val="0"/>
              </a:spcAft>
              <a:buClr>
                <a:schemeClr val="lt1"/>
              </a:buClr>
              <a:buSzPts val="2400"/>
              <a:buFont typeface="Inter Medium"/>
              <a:buNone/>
              <a:defRPr sz="3200">
                <a:solidFill>
                  <a:schemeClr val="lt1"/>
                </a:solidFill>
                <a:latin typeface="Inter Medium"/>
                <a:ea typeface="Inter Medium"/>
                <a:cs typeface="Inter Medium"/>
                <a:sym typeface="Inter Medium"/>
              </a:defRPr>
            </a:lvl1pPr>
            <a:lvl2pPr lvl="1" rtl="0">
              <a:spcBef>
                <a:spcPts val="0"/>
              </a:spcBef>
              <a:spcAft>
                <a:spcPts val="0"/>
              </a:spcAft>
              <a:buClr>
                <a:schemeClr val="lt1"/>
              </a:buClr>
              <a:buSzPts val="1100"/>
              <a:buNone/>
              <a:defRPr b="1">
                <a:solidFill>
                  <a:schemeClr val="lt1"/>
                </a:solidFill>
              </a:defRPr>
            </a:lvl2pPr>
            <a:lvl3pPr lvl="2" rtl="0">
              <a:spcBef>
                <a:spcPts val="0"/>
              </a:spcBef>
              <a:spcAft>
                <a:spcPts val="0"/>
              </a:spcAft>
              <a:buClr>
                <a:schemeClr val="lt1"/>
              </a:buClr>
              <a:buSzPts val="1100"/>
              <a:buNone/>
              <a:defRPr b="1">
                <a:solidFill>
                  <a:schemeClr val="lt1"/>
                </a:solidFill>
              </a:defRPr>
            </a:lvl3pPr>
            <a:lvl4pPr lvl="3" rtl="0">
              <a:spcBef>
                <a:spcPts val="0"/>
              </a:spcBef>
              <a:spcAft>
                <a:spcPts val="0"/>
              </a:spcAft>
              <a:buClr>
                <a:schemeClr val="lt1"/>
              </a:buClr>
              <a:buSzPts val="1100"/>
              <a:buNone/>
              <a:defRPr b="1">
                <a:solidFill>
                  <a:schemeClr val="lt1"/>
                </a:solidFill>
              </a:defRPr>
            </a:lvl4pPr>
            <a:lvl5pPr lvl="4" rtl="0">
              <a:spcBef>
                <a:spcPts val="0"/>
              </a:spcBef>
              <a:spcAft>
                <a:spcPts val="0"/>
              </a:spcAft>
              <a:buClr>
                <a:schemeClr val="lt1"/>
              </a:buClr>
              <a:buSzPts val="1100"/>
              <a:buNone/>
              <a:defRPr b="1">
                <a:solidFill>
                  <a:schemeClr val="lt1"/>
                </a:solidFill>
              </a:defRPr>
            </a:lvl5pPr>
            <a:lvl6pPr lvl="5" rtl="0">
              <a:spcBef>
                <a:spcPts val="0"/>
              </a:spcBef>
              <a:spcAft>
                <a:spcPts val="0"/>
              </a:spcAft>
              <a:buClr>
                <a:schemeClr val="lt1"/>
              </a:buClr>
              <a:buSzPts val="1100"/>
              <a:buNone/>
              <a:defRPr b="1">
                <a:solidFill>
                  <a:schemeClr val="lt1"/>
                </a:solidFill>
              </a:defRPr>
            </a:lvl6pPr>
            <a:lvl7pPr lvl="6" rtl="0">
              <a:spcBef>
                <a:spcPts val="0"/>
              </a:spcBef>
              <a:spcAft>
                <a:spcPts val="0"/>
              </a:spcAft>
              <a:buClr>
                <a:schemeClr val="lt1"/>
              </a:buClr>
              <a:buSzPts val="1100"/>
              <a:buNone/>
              <a:defRPr b="1">
                <a:solidFill>
                  <a:schemeClr val="lt1"/>
                </a:solidFill>
              </a:defRPr>
            </a:lvl7pPr>
            <a:lvl8pPr lvl="7" rtl="0">
              <a:spcBef>
                <a:spcPts val="0"/>
              </a:spcBef>
              <a:spcAft>
                <a:spcPts val="0"/>
              </a:spcAft>
              <a:buClr>
                <a:schemeClr val="lt1"/>
              </a:buClr>
              <a:buSzPts val="1100"/>
              <a:buNone/>
              <a:defRPr b="1">
                <a:solidFill>
                  <a:schemeClr val="lt1"/>
                </a:solidFill>
              </a:defRPr>
            </a:lvl8pPr>
            <a:lvl9pPr lvl="8" rtl="0">
              <a:spcBef>
                <a:spcPts val="0"/>
              </a:spcBef>
              <a:spcAft>
                <a:spcPts val="0"/>
              </a:spcAft>
              <a:buClr>
                <a:schemeClr val="lt1"/>
              </a:buClr>
              <a:buSzPts val="1100"/>
              <a:buNone/>
              <a:defRPr b="1">
                <a:solidFill>
                  <a:schemeClr val="lt1"/>
                </a:solidFill>
              </a:defRPr>
            </a:lvl9pPr>
          </a:lstStyle>
          <a:p>
            <a:endParaRPr/>
          </a:p>
        </p:txBody>
      </p:sp>
      <p:sp>
        <p:nvSpPr>
          <p:cNvPr id="579" name="Google Shape;579;p14"/>
          <p:cNvSpPr txBox="1">
            <a:spLocks noGrp="1"/>
          </p:cNvSpPr>
          <p:nvPr>
            <p:ph type="sldNum" idx="12"/>
          </p:nvPr>
        </p:nvSpPr>
        <p:spPr>
          <a:xfrm>
            <a:off x="10978812" y="5993647"/>
            <a:ext cx="731600" cy="524800"/>
          </a:xfrm>
          <a:prstGeom prst="rect">
            <a:avLst/>
          </a:prstGeom>
        </p:spPr>
        <p:txBody>
          <a:bodyPr spcFirstLastPara="1" wrap="square" lIns="91425" tIns="91425" rIns="0" bIns="0" anchor="b" anchorCtr="0">
            <a:noAutofit/>
          </a:bodyPr>
          <a:lstStyle>
            <a:lvl1pPr lvl="0" algn="r" rtl="0">
              <a:buNone/>
              <a:defRPr sz="667">
                <a:solidFill>
                  <a:schemeClr val="lt1"/>
                </a:solidFill>
                <a:latin typeface="Inter"/>
                <a:ea typeface="Inter"/>
                <a:cs typeface="Inter"/>
                <a:sym typeface="Inter"/>
              </a:defRPr>
            </a:lvl1pPr>
            <a:lvl2pPr lvl="1" algn="r" rtl="0">
              <a:buNone/>
              <a:defRPr sz="667">
                <a:solidFill>
                  <a:schemeClr val="lt1"/>
                </a:solidFill>
                <a:latin typeface="Inter"/>
                <a:ea typeface="Inter"/>
                <a:cs typeface="Inter"/>
                <a:sym typeface="Inter"/>
              </a:defRPr>
            </a:lvl2pPr>
            <a:lvl3pPr lvl="2" algn="r" rtl="0">
              <a:buNone/>
              <a:defRPr sz="667">
                <a:solidFill>
                  <a:schemeClr val="lt1"/>
                </a:solidFill>
                <a:latin typeface="Inter"/>
                <a:ea typeface="Inter"/>
                <a:cs typeface="Inter"/>
                <a:sym typeface="Inter"/>
              </a:defRPr>
            </a:lvl3pPr>
            <a:lvl4pPr lvl="3" algn="r" rtl="0">
              <a:buNone/>
              <a:defRPr sz="667">
                <a:solidFill>
                  <a:schemeClr val="lt1"/>
                </a:solidFill>
                <a:latin typeface="Inter"/>
                <a:ea typeface="Inter"/>
                <a:cs typeface="Inter"/>
                <a:sym typeface="Inter"/>
              </a:defRPr>
            </a:lvl4pPr>
            <a:lvl5pPr lvl="4" algn="r" rtl="0">
              <a:buNone/>
              <a:defRPr sz="667">
                <a:solidFill>
                  <a:schemeClr val="lt1"/>
                </a:solidFill>
                <a:latin typeface="Inter"/>
                <a:ea typeface="Inter"/>
                <a:cs typeface="Inter"/>
                <a:sym typeface="Inter"/>
              </a:defRPr>
            </a:lvl5pPr>
            <a:lvl6pPr lvl="5" algn="r" rtl="0">
              <a:buNone/>
              <a:defRPr sz="667">
                <a:solidFill>
                  <a:schemeClr val="lt1"/>
                </a:solidFill>
                <a:latin typeface="Inter"/>
                <a:ea typeface="Inter"/>
                <a:cs typeface="Inter"/>
                <a:sym typeface="Inter"/>
              </a:defRPr>
            </a:lvl6pPr>
            <a:lvl7pPr lvl="6" algn="r" rtl="0">
              <a:buNone/>
              <a:defRPr sz="667">
                <a:solidFill>
                  <a:schemeClr val="lt1"/>
                </a:solidFill>
                <a:latin typeface="Inter"/>
                <a:ea typeface="Inter"/>
                <a:cs typeface="Inter"/>
                <a:sym typeface="Inter"/>
              </a:defRPr>
            </a:lvl7pPr>
            <a:lvl8pPr lvl="7" algn="r" rtl="0">
              <a:buNone/>
              <a:defRPr sz="667">
                <a:solidFill>
                  <a:schemeClr val="lt1"/>
                </a:solidFill>
                <a:latin typeface="Inter"/>
                <a:ea typeface="Inter"/>
                <a:cs typeface="Inter"/>
                <a:sym typeface="Inter"/>
              </a:defRPr>
            </a:lvl8pPr>
            <a:lvl9pPr lvl="8" algn="r" rtl="0">
              <a:buNone/>
              <a:defRPr sz="667">
                <a:solidFill>
                  <a:schemeClr val="lt1"/>
                </a:solidFill>
                <a:latin typeface="Inter"/>
                <a:ea typeface="Inter"/>
                <a:cs typeface="Inter"/>
                <a:sym typeface="Inter"/>
              </a:defRPr>
            </a:lvl9pPr>
          </a:lstStyle>
          <a:p>
            <a:fld id="{00000000-1234-1234-1234-123412341234}" type="slidenum">
              <a:rPr lang="en-GB" smtClean="0"/>
              <a:pPr/>
              <a:t>‹#›</a:t>
            </a:fld>
            <a:endParaRPr lang="en-GB"/>
          </a:p>
        </p:txBody>
      </p:sp>
      <p:sp>
        <p:nvSpPr>
          <p:cNvPr id="580" name="Google Shape;580;p14"/>
          <p:cNvSpPr txBox="1"/>
          <p:nvPr/>
        </p:nvSpPr>
        <p:spPr>
          <a:xfrm>
            <a:off x="481600" y="6245247"/>
            <a:ext cx="1288400" cy="273200"/>
          </a:xfrm>
          <a:prstGeom prst="rect">
            <a:avLst/>
          </a:prstGeom>
          <a:noFill/>
          <a:ln>
            <a:noFill/>
          </a:ln>
        </p:spPr>
        <p:txBody>
          <a:bodyPr spcFirstLastPara="1" wrap="square" lIns="0" tIns="0" rIns="0" bIns="0" anchor="b" anchorCtr="0">
            <a:noAutofit/>
          </a:bodyPr>
          <a:lstStyle/>
          <a:p>
            <a:pPr marL="0" lvl="0" indent="0" algn="l" rtl="0">
              <a:spcBef>
                <a:spcPts val="0"/>
              </a:spcBef>
              <a:spcAft>
                <a:spcPts val="0"/>
              </a:spcAft>
              <a:buNone/>
            </a:pPr>
            <a:r>
              <a:rPr lang="en-GB" sz="667">
                <a:solidFill>
                  <a:schemeClr val="lt1"/>
                </a:solidFill>
                <a:latin typeface="Inter"/>
                <a:ea typeface="Inter"/>
                <a:cs typeface="Inter"/>
                <a:sym typeface="Inter"/>
              </a:rPr>
              <a:t>Multiverse</a:t>
            </a:r>
            <a:endParaRPr sz="667">
              <a:solidFill>
                <a:schemeClr val="lt1"/>
              </a:solidFill>
              <a:latin typeface="Inter"/>
              <a:ea typeface="Inter"/>
              <a:cs typeface="Inter"/>
              <a:sym typeface="Inter"/>
            </a:endParaRPr>
          </a:p>
        </p:txBody>
      </p:sp>
      <p:sp>
        <p:nvSpPr>
          <p:cNvPr id="581" name="Google Shape;581;p14"/>
          <p:cNvSpPr/>
          <p:nvPr/>
        </p:nvSpPr>
        <p:spPr>
          <a:xfrm>
            <a:off x="481601" y="414630"/>
            <a:ext cx="349111" cy="305471"/>
          </a:xfrm>
          <a:custGeom>
            <a:avLst/>
            <a:gdLst/>
            <a:ahLst/>
            <a:cxnLst/>
            <a:rect l="l" t="t" r="r" b="b"/>
            <a:pathLst>
              <a:path w="1586865" h="1388506" extrusionOk="0">
                <a:moveTo>
                  <a:pt x="1083683" y="969931"/>
                </a:moveTo>
                <a:lnTo>
                  <a:pt x="1083683" y="579692"/>
                </a:lnTo>
                <a:lnTo>
                  <a:pt x="849297" y="969931"/>
                </a:lnTo>
                <a:lnTo>
                  <a:pt x="848892" y="969931"/>
                </a:lnTo>
                <a:cubicBezTo>
                  <a:pt x="848892" y="969931"/>
                  <a:pt x="848892" y="969931"/>
                  <a:pt x="848892" y="969931"/>
                </a:cubicBezTo>
                <a:lnTo>
                  <a:pt x="738783" y="969931"/>
                </a:lnTo>
                <a:lnTo>
                  <a:pt x="738783" y="577668"/>
                </a:lnTo>
                <a:lnTo>
                  <a:pt x="549735" y="892612"/>
                </a:lnTo>
                <a:cubicBezTo>
                  <a:pt x="527876" y="929449"/>
                  <a:pt x="510873" y="958191"/>
                  <a:pt x="503992" y="969931"/>
                </a:cubicBezTo>
                <a:lnTo>
                  <a:pt x="393073" y="969931"/>
                </a:lnTo>
                <a:lnTo>
                  <a:pt x="393073" y="418576"/>
                </a:lnTo>
                <a:lnTo>
                  <a:pt x="503992" y="418576"/>
                </a:lnTo>
                <a:lnTo>
                  <a:pt x="502777" y="760643"/>
                </a:lnTo>
                <a:lnTo>
                  <a:pt x="503587" y="782098"/>
                </a:lnTo>
                <a:lnTo>
                  <a:pt x="721781" y="418981"/>
                </a:lnTo>
                <a:lnTo>
                  <a:pt x="721781" y="418981"/>
                </a:lnTo>
                <a:lnTo>
                  <a:pt x="721781" y="418981"/>
                </a:lnTo>
                <a:lnTo>
                  <a:pt x="739188" y="418981"/>
                </a:lnTo>
                <a:lnTo>
                  <a:pt x="847678" y="418981"/>
                </a:lnTo>
                <a:cubicBezTo>
                  <a:pt x="847678" y="418981"/>
                  <a:pt x="848487" y="722995"/>
                  <a:pt x="848892" y="783717"/>
                </a:cubicBezTo>
                <a:lnTo>
                  <a:pt x="1067895" y="418981"/>
                </a:lnTo>
                <a:lnTo>
                  <a:pt x="1067895" y="418981"/>
                </a:lnTo>
                <a:lnTo>
                  <a:pt x="1067895" y="418981"/>
                </a:lnTo>
                <a:lnTo>
                  <a:pt x="1085302" y="418981"/>
                </a:lnTo>
                <a:lnTo>
                  <a:pt x="1193387" y="418981"/>
                </a:lnTo>
                <a:lnTo>
                  <a:pt x="1193387" y="970336"/>
                </a:lnTo>
                <a:lnTo>
                  <a:pt x="1083683" y="970336"/>
                </a:lnTo>
                <a:close/>
                <a:moveTo>
                  <a:pt x="1190149" y="0"/>
                </a:moveTo>
                <a:lnTo>
                  <a:pt x="396716" y="0"/>
                </a:lnTo>
                <a:lnTo>
                  <a:pt x="0" y="694253"/>
                </a:lnTo>
                <a:lnTo>
                  <a:pt x="396716" y="1388507"/>
                </a:lnTo>
                <a:lnTo>
                  <a:pt x="1190149" y="1388507"/>
                </a:lnTo>
                <a:lnTo>
                  <a:pt x="1586865" y="694253"/>
                </a:lnTo>
                <a:lnTo>
                  <a:pt x="1190149" y="0"/>
                </a:lnTo>
                <a:close/>
              </a:path>
            </a:pathLst>
          </a:custGeom>
          <a:solidFill>
            <a:schemeClr val="lt1"/>
          </a:solidFill>
          <a:ln>
            <a:noFill/>
          </a:ln>
        </p:spPr>
        <p:txBody>
          <a:bodyPr spcFirstLastPara="1" wrap="square" lIns="91433" tIns="45700" rIns="91433" bIns="45700"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582" name="Google Shape;582;p14"/>
          <p:cNvSpPr txBox="1"/>
          <p:nvPr/>
        </p:nvSpPr>
        <p:spPr>
          <a:xfrm>
            <a:off x="5451800" y="6245247"/>
            <a:ext cx="1288400" cy="273200"/>
          </a:xfrm>
          <a:prstGeom prst="rect">
            <a:avLst/>
          </a:prstGeom>
          <a:noFill/>
          <a:ln>
            <a:noFill/>
          </a:ln>
        </p:spPr>
        <p:txBody>
          <a:bodyPr spcFirstLastPara="1" wrap="square" lIns="0" tIns="0" rIns="0" bIns="0" anchor="b" anchorCtr="0">
            <a:noAutofit/>
          </a:bodyPr>
          <a:lstStyle/>
          <a:p>
            <a:pPr marL="0" lvl="0" indent="0" algn="ctr" rtl="0">
              <a:spcBef>
                <a:spcPts val="0"/>
              </a:spcBef>
              <a:spcAft>
                <a:spcPts val="0"/>
              </a:spcAft>
              <a:buNone/>
            </a:pPr>
            <a:r>
              <a:rPr lang="en-GB" sz="667">
                <a:solidFill>
                  <a:schemeClr val="lt1"/>
                </a:solidFill>
                <a:latin typeface="Inter"/>
                <a:ea typeface="Inter"/>
                <a:cs typeface="Inter"/>
                <a:sym typeface="Inter"/>
              </a:rPr>
              <a:t>Private and Confidential</a:t>
            </a:r>
            <a:endParaRPr sz="667">
              <a:solidFill>
                <a:schemeClr val="lt1"/>
              </a:solidFill>
              <a:latin typeface="Inter"/>
              <a:ea typeface="Inter"/>
              <a:cs typeface="Inter"/>
              <a:sym typeface="Inter"/>
            </a:endParaRPr>
          </a:p>
        </p:txBody>
      </p:sp>
      <p:sp>
        <p:nvSpPr>
          <p:cNvPr id="583" name="Google Shape;583;p14"/>
          <p:cNvSpPr txBox="1">
            <a:spLocks noGrp="1"/>
          </p:cNvSpPr>
          <p:nvPr>
            <p:ph type="body" idx="1"/>
          </p:nvPr>
        </p:nvSpPr>
        <p:spPr>
          <a:xfrm>
            <a:off x="481600" y="1825633"/>
            <a:ext cx="7362000" cy="4351200"/>
          </a:xfrm>
          <a:prstGeom prst="rect">
            <a:avLst/>
          </a:prstGeom>
          <a:noFill/>
          <a:ln>
            <a:noFill/>
          </a:ln>
        </p:spPr>
        <p:txBody>
          <a:bodyPr spcFirstLastPara="1" wrap="square" lIns="0" tIns="34275" rIns="68575" bIns="34275" anchor="t" anchorCtr="0">
            <a:noAutofit/>
          </a:bodyPr>
          <a:lstStyle>
            <a:lvl1pPr marL="609585" lvl="0" indent="-406390" algn="l" rtl="0">
              <a:lnSpc>
                <a:spcPct val="125000"/>
              </a:lnSpc>
              <a:spcBef>
                <a:spcPts val="0"/>
              </a:spcBef>
              <a:spcAft>
                <a:spcPts val="0"/>
              </a:spcAft>
              <a:buClr>
                <a:schemeClr val="lt1"/>
              </a:buClr>
              <a:buSzPts val="1200"/>
              <a:buFont typeface="Inter"/>
              <a:buChar char="●"/>
              <a:defRPr>
                <a:solidFill>
                  <a:schemeClr val="lt1"/>
                </a:solidFill>
              </a:defRPr>
            </a:lvl1pPr>
            <a:lvl2pPr marL="1219170" lvl="1" indent="-406390" algn="l" rtl="0">
              <a:lnSpc>
                <a:spcPct val="125000"/>
              </a:lnSpc>
              <a:spcBef>
                <a:spcPts val="1200"/>
              </a:spcBef>
              <a:spcAft>
                <a:spcPts val="0"/>
              </a:spcAft>
              <a:buClr>
                <a:schemeClr val="lt1"/>
              </a:buClr>
              <a:buSzPts val="1200"/>
              <a:buFont typeface="Inter"/>
              <a:buChar char="●"/>
              <a:defRPr>
                <a:solidFill>
                  <a:schemeClr val="lt1"/>
                </a:solidFill>
              </a:defRPr>
            </a:lvl2pPr>
            <a:lvl3pPr marL="1828754" lvl="2" indent="-406390" algn="l" rtl="0">
              <a:lnSpc>
                <a:spcPct val="125000"/>
              </a:lnSpc>
              <a:spcBef>
                <a:spcPts val="1200"/>
              </a:spcBef>
              <a:spcAft>
                <a:spcPts val="0"/>
              </a:spcAft>
              <a:buClr>
                <a:schemeClr val="lt1"/>
              </a:buClr>
              <a:buSzPts val="1200"/>
              <a:buFont typeface="Inter"/>
              <a:buChar char="●"/>
              <a:defRPr>
                <a:solidFill>
                  <a:schemeClr val="lt1"/>
                </a:solidFill>
              </a:defRPr>
            </a:lvl3pPr>
            <a:lvl4pPr marL="2438339" lvl="3" indent="-406390" algn="l" rtl="0">
              <a:lnSpc>
                <a:spcPct val="125000"/>
              </a:lnSpc>
              <a:spcBef>
                <a:spcPts val="1200"/>
              </a:spcBef>
              <a:spcAft>
                <a:spcPts val="0"/>
              </a:spcAft>
              <a:buClr>
                <a:schemeClr val="lt1"/>
              </a:buClr>
              <a:buSzPts val="1200"/>
              <a:buFont typeface="Inter"/>
              <a:buChar char="●"/>
              <a:defRPr>
                <a:solidFill>
                  <a:schemeClr val="lt1"/>
                </a:solidFill>
              </a:defRPr>
            </a:lvl4pPr>
            <a:lvl5pPr marL="3047924" lvl="4" indent="-406390" algn="l" rtl="0">
              <a:lnSpc>
                <a:spcPct val="125000"/>
              </a:lnSpc>
              <a:spcBef>
                <a:spcPts val="1200"/>
              </a:spcBef>
              <a:spcAft>
                <a:spcPts val="0"/>
              </a:spcAft>
              <a:buClr>
                <a:schemeClr val="lt1"/>
              </a:buClr>
              <a:buSzPts val="1200"/>
              <a:buFont typeface="Inter"/>
              <a:buChar char="●"/>
              <a:defRPr>
                <a:solidFill>
                  <a:schemeClr val="lt1"/>
                </a:solidFill>
              </a:defRPr>
            </a:lvl5pPr>
            <a:lvl6pPr marL="3657509" lvl="5" indent="-406390" algn="l" rtl="0">
              <a:lnSpc>
                <a:spcPct val="125000"/>
              </a:lnSpc>
              <a:spcBef>
                <a:spcPts val="1200"/>
              </a:spcBef>
              <a:spcAft>
                <a:spcPts val="0"/>
              </a:spcAft>
              <a:buClr>
                <a:schemeClr val="lt1"/>
              </a:buClr>
              <a:buSzPts val="1200"/>
              <a:buFont typeface="Inter"/>
              <a:buChar char="●"/>
              <a:defRPr>
                <a:solidFill>
                  <a:schemeClr val="lt1"/>
                </a:solidFill>
              </a:defRPr>
            </a:lvl6pPr>
            <a:lvl7pPr marL="4267093" lvl="6" indent="-406390" algn="l" rtl="0">
              <a:lnSpc>
                <a:spcPct val="125000"/>
              </a:lnSpc>
              <a:spcBef>
                <a:spcPts val="1200"/>
              </a:spcBef>
              <a:spcAft>
                <a:spcPts val="0"/>
              </a:spcAft>
              <a:buClr>
                <a:schemeClr val="lt1"/>
              </a:buClr>
              <a:buSzPts val="1200"/>
              <a:buFont typeface="Inter"/>
              <a:buChar char="●"/>
              <a:defRPr>
                <a:solidFill>
                  <a:schemeClr val="lt1"/>
                </a:solidFill>
              </a:defRPr>
            </a:lvl7pPr>
            <a:lvl8pPr marL="4876678" lvl="7" indent="-406390" algn="l" rtl="0">
              <a:lnSpc>
                <a:spcPct val="125000"/>
              </a:lnSpc>
              <a:spcBef>
                <a:spcPts val="1200"/>
              </a:spcBef>
              <a:spcAft>
                <a:spcPts val="0"/>
              </a:spcAft>
              <a:buClr>
                <a:schemeClr val="lt1"/>
              </a:buClr>
              <a:buSzPts val="1200"/>
              <a:buFont typeface="Inter"/>
              <a:buChar char="●"/>
              <a:defRPr>
                <a:solidFill>
                  <a:schemeClr val="lt1"/>
                </a:solidFill>
              </a:defRPr>
            </a:lvl8pPr>
            <a:lvl9pPr marL="5486263" lvl="8" indent="-406390" algn="l" rtl="0">
              <a:lnSpc>
                <a:spcPct val="125000"/>
              </a:lnSpc>
              <a:spcBef>
                <a:spcPts val="1200"/>
              </a:spcBef>
              <a:spcAft>
                <a:spcPts val="1200"/>
              </a:spcAft>
              <a:buClr>
                <a:schemeClr val="lt1"/>
              </a:buClr>
              <a:buSzPts val="1200"/>
              <a:buFont typeface="Inter"/>
              <a:buChar char="●"/>
              <a:defRPr>
                <a:solidFill>
                  <a:schemeClr val="lt1"/>
                </a:solidFill>
              </a:defRPr>
            </a:lvl9pPr>
          </a:lstStyle>
          <a:p>
            <a:endParaRPr/>
          </a:p>
        </p:txBody>
      </p:sp>
    </p:spTree>
    <p:extLst>
      <p:ext uri="{BB962C8B-B14F-4D97-AF65-F5344CB8AC3E}">
        <p14:creationId xmlns:p14="http://schemas.microsoft.com/office/powerpoint/2010/main" val="336247305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Title and Content with Pattern 2">
  <p:cSld name="Title and Content with Pattern 2">
    <p:bg>
      <p:bgPr>
        <a:solidFill>
          <a:schemeClr val="dk2"/>
        </a:solidFill>
        <a:effectLst/>
      </p:bgPr>
    </p:bg>
    <p:spTree>
      <p:nvGrpSpPr>
        <p:cNvPr id="1" name="Shape 584"/>
        <p:cNvGrpSpPr/>
        <p:nvPr/>
      </p:nvGrpSpPr>
      <p:grpSpPr>
        <a:xfrm>
          <a:off x="0" y="0"/>
          <a:ext cx="0" cy="0"/>
          <a:chOff x="0" y="0"/>
          <a:chExt cx="0" cy="0"/>
        </a:xfrm>
      </p:grpSpPr>
      <p:grpSp>
        <p:nvGrpSpPr>
          <p:cNvPr id="585" name="Google Shape;585;p15"/>
          <p:cNvGrpSpPr/>
          <p:nvPr/>
        </p:nvGrpSpPr>
        <p:grpSpPr>
          <a:xfrm>
            <a:off x="0" y="0"/>
            <a:ext cx="12192000" cy="6858000"/>
            <a:chOff x="0" y="0"/>
            <a:chExt cx="12192000" cy="6858000"/>
          </a:xfrm>
        </p:grpSpPr>
        <p:sp>
          <p:nvSpPr>
            <p:cNvPr id="586" name="Google Shape;586;p15"/>
            <p:cNvSpPr/>
            <p:nvPr/>
          </p:nvSpPr>
          <p:spPr>
            <a:xfrm>
              <a:off x="417830" y="6829425"/>
              <a:ext cx="57784" cy="28575"/>
            </a:xfrm>
            <a:custGeom>
              <a:avLst/>
              <a:gdLst/>
              <a:ahLst/>
              <a:cxnLst/>
              <a:rect l="l" t="t" r="r" b="b"/>
              <a:pathLst>
                <a:path w="57784" h="28575" extrusionOk="0">
                  <a:moveTo>
                    <a:pt x="15240" y="16510"/>
                  </a:moveTo>
                  <a:lnTo>
                    <a:pt x="0" y="28575"/>
                  </a:lnTo>
                  <a:lnTo>
                    <a:pt x="57785" y="28575"/>
                  </a:lnTo>
                  <a:lnTo>
                    <a:pt x="3556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587" name="Google Shape;587;p15"/>
            <p:cNvSpPr/>
            <p:nvPr/>
          </p:nvSpPr>
          <p:spPr>
            <a:xfrm>
              <a:off x="450850" y="6458584"/>
              <a:ext cx="224155" cy="212090"/>
            </a:xfrm>
            <a:custGeom>
              <a:avLst/>
              <a:gdLst/>
              <a:ahLst/>
              <a:cxnLst/>
              <a:rect l="l" t="t" r="r" b="b"/>
              <a:pathLst>
                <a:path w="224155" h="212090" extrusionOk="0">
                  <a:moveTo>
                    <a:pt x="170815" y="17145"/>
                  </a:moveTo>
                  <a:lnTo>
                    <a:pt x="18415" y="157480"/>
                  </a:lnTo>
                  <a:lnTo>
                    <a:pt x="0" y="174625"/>
                  </a:lnTo>
                  <a:lnTo>
                    <a:pt x="34290" y="212090"/>
                  </a:lnTo>
                  <a:lnTo>
                    <a:pt x="52705" y="194945"/>
                  </a:lnTo>
                  <a:lnTo>
                    <a:pt x="205105" y="54610"/>
                  </a:lnTo>
                  <a:lnTo>
                    <a:pt x="224155" y="37465"/>
                  </a:lnTo>
                  <a:lnTo>
                    <a:pt x="18986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588" name="Google Shape;588;p15"/>
            <p:cNvSpPr/>
            <p:nvPr/>
          </p:nvSpPr>
          <p:spPr>
            <a:xfrm>
              <a:off x="1235075" y="6820534"/>
              <a:ext cx="74930" cy="37465"/>
            </a:xfrm>
            <a:custGeom>
              <a:avLst/>
              <a:gdLst/>
              <a:ahLst/>
              <a:cxnLst/>
              <a:rect l="l" t="t" r="r" b="b"/>
              <a:pathLst>
                <a:path w="74930" h="37465" extrusionOk="0">
                  <a:moveTo>
                    <a:pt x="21590" y="17145"/>
                  </a:moveTo>
                  <a:lnTo>
                    <a:pt x="0" y="37465"/>
                  </a:lnTo>
                  <a:lnTo>
                    <a:pt x="74930" y="37465"/>
                  </a:lnTo>
                  <a:lnTo>
                    <a:pt x="4064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589" name="Google Shape;589;p15"/>
            <p:cNvSpPr/>
            <p:nvPr/>
          </p:nvSpPr>
          <p:spPr>
            <a:xfrm>
              <a:off x="26669" y="5728970"/>
              <a:ext cx="224155" cy="223520"/>
            </a:xfrm>
            <a:custGeom>
              <a:avLst/>
              <a:gdLst/>
              <a:ahLst/>
              <a:cxnLst/>
              <a:rect l="l" t="t" r="r" b="b"/>
              <a:pathLst>
                <a:path w="224155" h="223520" extrusionOk="0">
                  <a:moveTo>
                    <a:pt x="170180" y="17780"/>
                  </a:moveTo>
                  <a:lnTo>
                    <a:pt x="17780" y="170180"/>
                  </a:lnTo>
                  <a:lnTo>
                    <a:pt x="0" y="187960"/>
                  </a:lnTo>
                  <a:lnTo>
                    <a:pt x="36195" y="223520"/>
                  </a:lnTo>
                  <a:lnTo>
                    <a:pt x="53975" y="205740"/>
                  </a:lnTo>
                  <a:lnTo>
                    <a:pt x="206375" y="53975"/>
                  </a:lnTo>
                  <a:lnTo>
                    <a:pt x="224155" y="35560"/>
                  </a:lnTo>
                  <a:lnTo>
                    <a:pt x="18859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590" name="Google Shape;590;p15"/>
            <p:cNvSpPr/>
            <p:nvPr/>
          </p:nvSpPr>
          <p:spPr>
            <a:xfrm>
              <a:off x="661669" y="6090920"/>
              <a:ext cx="224155" cy="223520"/>
            </a:xfrm>
            <a:custGeom>
              <a:avLst/>
              <a:gdLst/>
              <a:ahLst/>
              <a:cxnLst/>
              <a:rect l="l" t="t" r="r" b="b"/>
              <a:pathLst>
                <a:path w="224155" h="223520" extrusionOk="0">
                  <a:moveTo>
                    <a:pt x="170180" y="17780"/>
                  </a:moveTo>
                  <a:lnTo>
                    <a:pt x="17780" y="170180"/>
                  </a:lnTo>
                  <a:lnTo>
                    <a:pt x="0" y="187960"/>
                  </a:lnTo>
                  <a:lnTo>
                    <a:pt x="36195" y="223520"/>
                  </a:lnTo>
                  <a:lnTo>
                    <a:pt x="53975" y="205740"/>
                  </a:lnTo>
                  <a:lnTo>
                    <a:pt x="206375" y="53975"/>
                  </a:lnTo>
                  <a:lnTo>
                    <a:pt x="224155" y="35560"/>
                  </a:lnTo>
                  <a:lnTo>
                    <a:pt x="18859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591" name="Google Shape;591;p15"/>
            <p:cNvSpPr/>
            <p:nvPr/>
          </p:nvSpPr>
          <p:spPr>
            <a:xfrm>
              <a:off x="1296669" y="6452870"/>
              <a:ext cx="224155" cy="223520"/>
            </a:xfrm>
            <a:custGeom>
              <a:avLst/>
              <a:gdLst/>
              <a:ahLst/>
              <a:cxnLst/>
              <a:rect l="l" t="t" r="r" b="b"/>
              <a:pathLst>
                <a:path w="224155" h="223520" extrusionOk="0">
                  <a:moveTo>
                    <a:pt x="170180" y="17780"/>
                  </a:moveTo>
                  <a:lnTo>
                    <a:pt x="17780" y="170180"/>
                  </a:lnTo>
                  <a:lnTo>
                    <a:pt x="0" y="187960"/>
                  </a:lnTo>
                  <a:lnTo>
                    <a:pt x="36195" y="223520"/>
                  </a:lnTo>
                  <a:lnTo>
                    <a:pt x="53975" y="205740"/>
                  </a:lnTo>
                  <a:lnTo>
                    <a:pt x="206375" y="53975"/>
                  </a:lnTo>
                  <a:lnTo>
                    <a:pt x="224155" y="35560"/>
                  </a:lnTo>
                  <a:lnTo>
                    <a:pt x="18859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592" name="Google Shape;592;p15"/>
            <p:cNvSpPr/>
            <p:nvPr/>
          </p:nvSpPr>
          <p:spPr>
            <a:xfrm>
              <a:off x="2076450" y="6814819"/>
              <a:ext cx="79375" cy="43180"/>
            </a:xfrm>
            <a:custGeom>
              <a:avLst/>
              <a:gdLst/>
              <a:ahLst/>
              <a:cxnLst/>
              <a:rect l="l" t="t" r="r" b="b"/>
              <a:pathLst>
                <a:path w="79375" h="43180" extrusionOk="0">
                  <a:moveTo>
                    <a:pt x="25400" y="17780"/>
                  </a:moveTo>
                  <a:lnTo>
                    <a:pt x="0" y="43180"/>
                  </a:lnTo>
                  <a:lnTo>
                    <a:pt x="72390" y="43180"/>
                  </a:lnTo>
                  <a:lnTo>
                    <a:pt x="79375" y="35561"/>
                  </a:lnTo>
                  <a:lnTo>
                    <a:pt x="4381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593" name="Google Shape;593;p15"/>
            <p:cNvSpPr/>
            <p:nvPr/>
          </p:nvSpPr>
          <p:spPr>
            <a:xfrm>
              <a:off x="250825" y="5363845"/>
              <a:ext cx="224155" cy="229870"/>
            </a:xfrm>
            <a:custGeom>
              <a:avLst/>
              <a:gdLst/>
              <a:ahLst/>
              <a:cxnLst/>
              <a:rect l="l" t="t" r="r" b="b"/>
              <a:pathLst>
                <a:path w="224155" h="229870" extrusionOk="0">
                  <a:moveTo>
                    <a:pt x="224155" y="35560"/>
                  </a:moveTo>
                  <a:lnTo>
                    <a:pt x="187960" y="0"/>
                  </a:lnTo>
                  <a:lnTo>
                    <a:pt x="170180" y="18415"/>
                  </a:lnTo>
                  <a:lnTo>
                    <a:pt x="17780" y="176530"/>
                  </a:lnTo>
                  <a:lnTo>
                    <a:pt x="0" y="194945"/>
                  </a:lnTo>
                  <a:lnTo>
                    <a:pt x="36830" y="229870"/>
                  </a:lnTo>
                  <a:lnTo>
                    <a:pt x="53975" y="211455"/>
                  </a:lnTo>
                  <a:lnTo>
                    <a:pt x="206375" y="533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594" name="Google Shape;594;p15"/>
            <p:cNvSpPr/>
            <p:nvPr/>
          </p:nvSpPr>
          <p:spPr>
            <a:xfrm>
              <a:off x="885825" y="5725795"/>
              <a:ext cx="224155" cy="229870"/>
            </a:xfrm>
            <a:custGeom>
              <a:avLst/>
              <a:gdLst/>
              <a:ahLst/>
              <a:cxnLst/>
              <a:rect l="l" t="t" r="r" b="b"/>
              <a:pathLst>
                <a:path w="224155" h="229870" extrusionOk="0">
                  <a:moveTo>
                    <a:pt x="170180" y="18415"/>
                  </a:moveTo>
                  <a:lnTo>
                    <a:pt x="17780" y="176530"/>
                  </a:lnTo>
                  <a:lnTo>
                    <a:pt x="0" y="194945"/>
                  </a:lnTo>
                  <a:lnTo>
                    <a:pt x="36830" y="229870"/>
                  </a:lnTo>
                  <a:lnTo>
                    <a:pt x="53975" y="211455"/>
                  </a:lnTo>
                  <a:lnTo>
                    <a:pt x="206375" y="53340"/>
                  </a:lnTo>
                  <a:lnTo>
                    <a:pt x="224155" y="35560"/>
                  </a:lnTo>
                  <a:lnTo>
                    <a:pt x="18796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595" name="Google Shape;595;p15"/>
            <p:cNvSpPr/>
            <p:nvPr/>
          </p:nvSpPr>
          <p:spPr>
            <a:xfrm>
              <a:off x="1520825" y="6087745"/>
              <a:ext cx="224154" cy="229870"/>
            </a:xfrm>
            <a:custGeom>
              <a:avLst/>
              <a:gdLst/>
              <a:ahLst/>
              <a:cxnLst/>
              <a:rect l="l" t="t" r="r" b="b"/>
              <a:pathLst>
                <a:path w="224154" h="229870" extrusionOk="0">
                  <a:moveTo>
                    <a:pt x="170180" y="18415"/>
                  </a:moveTo>
                  <a:lnTo>
                    <a:pt x="17780" y="176530"/>
                  </a:lnTo>
                  <a:lnTo>
                    <a:pt x="0" y="194945"/>
                  </a:lnTo>
                  <a:lnTo>
                    <a:pt x="36830" y="229870"/>
                  </a:lnTo>
                  <a:lnTo>
                    <a:pt x="53975" y="211455"/>
                  </a:lnTo>
                  <a:lnTo>
                    <a:pt x="206375" y="53340"/>
                  </a:lnTo>
                  <a:lnTo>
                    <a:pt x="224155" y="35560"/>
                  </a:lnTo>
                  <a:lnTo>
                    <a:pt x="18796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596" name="Google Shape;596;p15"/>
            <p:cNvSpPr/>
            <p:nvPr/>
          </p:nvSpPr>
          <p:spPr>
            <a:xfrm>
              <a:off x="2155825" y="6449695"/>
              <a:ext cx="224154" cy="229870"/>
            </a:xfrm>
            <a:custGeom>
              <a:avLst/>
              <a:gdLst/>
              <a:ahLst/>
              <a:cxnLst/>
              <a:rect l="l" t="t" r="r" b="b"/>
              <a:pathLst>
                <a:path w="224154" h="229870" extrusionOk="0">
                  <a:moveTo>
                    <a:pt x="170180" y="18415"/>
                  </a:moveTo>
                  <a:lnTo>
                    <a:pt x="17780" y="176530"/>
                  </a:lnTo>
                  <a:lnTo>
                    <a:pt x="0" y="194945"/>
                  </a:lnTo>
                  <a:lnTo>
                    <a:pt x="36830" y="229870"/>
                  </a:lnTo>
                  <a:lnTo>
                    <a:pt x="53975" y="211455"/>
                  </a:lnTo>
                  <a:lnTo>
                    <a:pt x="206375" y="53340"/>
                  </a:lnTo>
                  <a:lnTo>
                    <a:pt x="224155" y="35560"/>
                  </a:lnTo>
                  <a:lnTo>
                    <a:pt x="18796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597" name="Google Shape;597;p15"/>
            <p:cNvSpPr/>
            <p:nvPr/>
          </p:nvSpPr>
          <p:spPr>
            <a:xfrm>
              <a:off x="2933700" y="6811644"/>
              <a:ext cx="81279" cy="46355"/>
            </a:xfrm>
            <a:custGeom>
              <a:avLst/>
              <a:gdLst/>
              <a:ahLst/>
              <a:cxnLst/>
              <a:rect l="l" t="t" r="r" b="b"/>
              <a:pathLst>
                <a:path w="81279" h="46355" extrusionOk="0">
                  <a:moveTo>
                    <a:pt x="27305" y="18415"/>
                  </a:moveTo>
                  <a:lnTo>
                    <a:pt x="0" y="46355"/>
                  </a:lnTo>
                  <a:lnTo>
                    <a:pt x="70485" y="46355"/>
                  </a:lnTo>
                  <a:lnTo>
                    <a:pt x="81280" y="35561"/>
                  </a:lnTo>
                  <a:lnTo>
                    <a:pt x="4508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598" name="Google Shape;598;p15"/>
            <p:cNvSpPr/>
            <p:nvPr/>
          </p:nvSpPr>
          <p:spPr>
            <a:xfrm>
              <a:off x="478790" y="5001895"/>
              <a:ext cx="224790" cy="229870"/>
            </a:xfrm>
            <a:custGeom>
              <a:avLst/>
              <a:gdLst/>
              <a:ahLst/>
              <a:cxnLst/>
              <a:rect l="l" t="t" r="r" b="b"/>
              <a:pathLst>
                <a:path w="224790" h="229870" extrusionOk="0">
                  <a:moveTo>
                    <a:pt x="54610" y="211455"/>
                  </a:moveTo>
                  <a:lnTo>
                    <a:pt x="207010" y="53975"/>
                  </a:lnTo>
                  <a:lnTo>
                    <a:pt x="224790" y="35560"/>
                  </a:lnTo>
                  <a:lnTo>
                    <a:pt x="187960" y="0"/>
                  </a:lnTo>
                  <a:lnTo>
                    <a:pt x="170180" y="18415"/>
                  </a:lnTo>
                  <a:lnTo>
                    <a:pt x="17780" y="176530"/>
                  </a:lnTo>
                  <a:lnTo>
                    <a:pt x="0" y="194310"/>
                  </a:lnTo>
                  <a:lnTo>
                    <a:pt x="36830" y="22987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599" name="Google Shape;599;p15"/>
            <p:cNvSpPr/>
            <p:nvPr/>
          </p:nvSpPr>
          <p:spPr>
            <a:xfrm>
              <a:off x="1113789" y="5363845"/>
              <a:ext cx="224790" cy="229870"/>
            </a:xfrm>
            <a:custGeom>
              <a:avLst/>
              <a:gdLst/>
              <a:ahLst/>
              <a:cxnLst/>
              <a:rect l="l" t="t" r="r" b="b"/>
              <a:pathLst>
                <a:path w="224790" h="229870" extrusionOk="0">
                  <a:moveTo>
                    <a:pt x="224790" y="35560"/>
                  </a:moveTo>
                  <a:lnTo>
                    <a:pt x="187960" y="0"/>
                  </a:lnTo>
                  <a:lnTo>
                    <a:pt x="170180" y="18415"/>
                  </a:lnTo>
                  <a:lnTo>
                    <a:pt x="17780" y="176530"/>
                  </a:lnTo>
                  <a:lnTo>
                    <a:pt x="0" y="194310"/>
                  </a:lnTo>
                  <a:lnTo>
                    <a:pt x="36830" y="229870"/>
                  </a:lnTo>
                  <a:lnTo>
                    <a:pt x="54610" y="211455"/>
                  </a:lnTo>
                  <a:lnTo>
                    <a:pt x="207010" y="5397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600" name="Google Shape;600;p15"/>
            <p:cNvSpPr/>
            <p:nvPr/>
          </p:nvSpPr>
          <p:spPr>
            <a:xfrm>
              <a:off x="1748789" y="5725795"/>
              <a:ext cx="224789" cy="229870"/>
            </a:xfrm>
            <a:custGeom>
              <a:avLst/>
              <a:gdLst/>
              <a:ahLst/>
              <a:cxnLst/>
              <a:rect l="l" t="t" r="r" b="b"/>
              <a:pathLst>
                <a:path w="224789" h="229870" extrusionOk="0">
                  <a:moveTo>
                    <a:pt x="170180" y="18415"/>
                  </a:moveTo>
                  <a:lnTo>
                    <a:pt x="17780" y="176530"/>
                  </a:lnTo>
                  <a:lnTo>
                    <a:pt x="0" y="194310"/>
                  </a:lnTo>
                  <a:lnTo>
                    <a:pt x="36830" y="229870"/>
                  </a:lnTo>
                  <a:lnTo>
                    <a:pt x="54610" y="211455"/>
                  </a:lnTo>
                  <a:lnTo>
                    <a:pt x="207010" y="53975"/>
                  </a:lnTo>
                  <a:lnTo>
                    <a:pt x="224790" y="35560"/>
                  </a:lnTo>
                  <a:lnTo>
                    <a:pt x="18796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601" name="Google Shape;601;p15"/>
            <p:cNvSpPr/>
            <p:nvPr/>
          </p:nvSpPr>
          <p:spPr>
            <a:xfrm>
              <a:off x="2383789" y="6087745"/>
              <a:ext cx="224789" cy="229870"/>
            </a:xfrm>
            <a:custGeom>
              <a:avLst/>
              <a:gdLst/>
              <a:ahLst/>
              <a:cxnLst/>
              <a:rect l="l" t="t" r="r" b="b"/>
              <a:pathLst>
                <a:path w="224789" h="229870" extrusionOk="0">
                  <a:moveTo>
                    <a:pt x="170180" y="18415"/>
                  </a:moveTo>
                  <a:lnTo>
                    <a:pt x="17780" y="176530"/>
                  </a:lnTo>
                  <a:lnTo>
                    <a:pt x="0" y="194310"/>
                  </a:lnTo>
                  <a:lnTo>
                    <a:pt x="36830" y="229870"/>
                  </a:lnTo>
                  <a:lnTo>
                    <a:pt x="54610" y="211455"/>
                  </a:lnTo>
                  <a:lnTo>
                    <a:pt x="207010" y="53975"/>
                  </a:lnTo>
                  <a:lnTo>
                    <a:pt x="224790" y="35560"/>
                  </a:lnTo>
                  <a:lnTo>
                    <a:pt x="18796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602" name="Google Shape;602;p15"/>
            <p:cNvSpPr/>
            <p:nvPr/>
          </p:nvSpPr>
          <p:spPr>
            <a:xfrm>
              <a:off x="3018789" y="6449695"/>
              <a:ext cx="224789" cy="229870"/>
            </a:xfrm>
            <a:custGeom>
              <a:avLst/>
              <a:gdLst/>
              <a:ahLst/>
              <a:cxnLst/>
              <a:rect l="l" t="t" r="r" b="b"/>
              <a:pathLst>
                <a:path w="224789" h="229870" extrusionOk="0">
                  <a:moveTo>
                    <a:pt x="170180" y="18415"/>
                  </a:moveTo>
                  <a:lnTo>
                    <a:pt x="17780" y="176530"/>
                  </a:lnTo>
                  <a:lnTo>
                    <a:pt x="0" y="194310"/>
                  </a:lnTo>
                  <a:lnTo>
                    <a:pt x="36830" y="229870"/>
                  </a:lnTo>
                  <a:lnTo>
                    <a:pt x="54610" y="211455"/>
                  </a:lnTo>
                  <a:lnTo>
                    <a:pt x="207010" y="53975"/>
                  </a:lnTo>
                  <a:lnTo>
                    <a:pt x="224790" y="35560"/>
                  </a:lnTo>
                  <a:lnTo>
                    <a:pt x="18796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603" name="Google Shape;603;p15"/>
            <p:cNvSpPr/>
            <p:nvPr/>
          </p:nvSpPr>
          <p:spPr>
            <a:xfrm>
              <a:off x="3797300" y="6811644"/>
              <a:ext cx="81279" cy="46355"/>
            </a:xfrm>
            <a:custGeom>
              <a:avLst/>
              <a:gdLst/>
              <a:ahLst/>
              <a:cxnLst/>
              <a:rect l="l" t="t" r="r" b="b"/>
              <a:pathLst>
                <a:path w="81279" h="46355" extrusionOk="0">
                  <a:moveTo>
                    <a:pt x="26670" y="18415"/>
                  </a:moveTo>
                  <a:lnTo>
                    <a:pt x="0" y="46355"/>
                  </a:lnTo>
                  <a:lnTo>
                    <a:pt x="70485" y="46355"/>
                  </a:lnTo>
                  <a:lnTo>
                    <a:pt x="81280" y="35561"/>
                  </a:lnTo>
                  <a:lnTo>
                    <a:pt x="4445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604" name="Google Shape;604;p15"/>
            <p:cNvSpPr/>
            <p:nvPr/>
          </p:nvSpPr>
          <p:spPr>
            <a:xfrm>
              <a:off x="67310" y="4281804"/>
              <a:ext cx="224155" cy="222885"/>
            </a:xfrm>
            <a:custGeom>
              <a:avLst/>
              <a:gdLst/>
              <a:ahLst/>
              <a:cxnLst/>
              <a:rect l="l" t="t" r="r" b="b"/>
              <a:pathLst>
                <a:path w="224155" h="222885" extrusionOk="0">
                  <a:moveTo>
                    <a:pt x="0" y="186690"/>
                  </a:moveTo>
                  <a:lnTo>
                    <a:pt x="35560" y="222885"/>
                  </a:lnTo>
                  <a:lnTo>
                    <a:pt x="53975" y="205105"/>
                  </a:lnTo>
                  <a:lnTo>
                    <a:pt x="206375" y="53975"/>
                  </a:lnTo>
                  <a:lnTo>
                    <a:pt x="224155" y="35560"/>
                  </a:lnTo>
                  <a:lnTo>
                    <a:pt x="188595" y="0"/>
                  </a:lnTo>
                  <a:lnTo>
                    <a:pt x="170180" y="17780"/>
                  </a:lnTo>
                  <a:lnTo>
                    <a:pt x="17780" y="16891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605" name="Google Shape;605;p15"/>
            <p:cNvSpPr/>
            <p:nvPr/>
          </p:nvSpPr>
          <p:spPr>
            <a:xfrm>
              <a:off x="702309" y="4643754"/>
              <a:ext cx="224154" cy="222885"/>
            </a:xfrm>
            <a:custGeom>
              <a:avLst/>
              <a:gdLst/>
              <a:ahLst/>
              <a:cxnLst/>
              <a:rect l="l" t="t" r="r" b="b"/>
              <a:pathLst>
                <a:path w="224154" h="222885" extrusionOk="0">
                  <a:moveTo>
                    <a:pt x="53975" y="205105"/>
                  </a:moveTo>
                  <a:lnTo>
                    <a:pt x="206375" y="53975"/>
                  </a:lnTo>
                  <a:lnTo>
                    <a:pt x="224155" y="35560"/>
                  </a:lnTo>
                  <a:lnTo>
                    <a:pt x="188595" y="0"/>
                  </a:lnTo>
                  <a:lnTo>
                    <a:pt x="170180" y="17780"/>
                  </a:lnTo>
                  <a:lnTo>
                    <a:pt x="17780" y="168910"/>
                  </a:lnTo>
                  <a:lnTo>
                    <a:pt x="0" y="186690"/>
                  </a:lnTo>
                  <a:lnTo>
                    <a:pt x="35560" y="22288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606" name="Google Shape;606;p15"/>
            <p:cNvSpPr/>
            <p:nvPr/>
          </p:nvSpPr>
          <p:spPr>
            <a:xfrm>
              <a:off x="1337310" y="5005704"/>
              <a:ext cx="224154" cy="222885"/>
            </a:xfrm>
            <a:custGeom>
              <a:avLst/>
              <a:gdLst/>
              <a:ahLst/>
              <a:cxnLst/>
              <a:rect l="l" t="t" r="r" b="b"/>
              <a:pathLst>
                <a:path w="224154" h="222885" extrusionOk="0">
                  <a:moveTo>
                    <a:pt x="53975" y="205105"/>
                  </a:moveTo>
                  <a:lnTo>
                    <a:pt x="206375" y="53975"/>
                  </a:lnTo>
                  <a:lnTo>
                    <a:pt x="224155" y="35560"/>
                  </a:lnTo>
                  <a:lnTo>
                    <a:pt x="188595" y="0"/>
                  </a:lnTo>
                  <a:lnTo>
                    <a:pt x="170180" y="17780"/>
                  </a:lnTo>
                  <a:lnTo>
                    <a:pt x="17780" y="168910"/>
                  </a:lnTo>
                  <a:lnTo>
                    <a:pt x="0" y="186690"/>
                  </a:lnTo>
                  <a:lnTo>
                    <a:pt x="35560" y="22288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607" name="Google Shape;607;p15"/>
            <p:cNvSpPr/>
            <p:nvPr/>
          </p:nvSpPr>
          <p:spPr>
            <a:xfrm>
              <a:off x="1972310" y="5367654"/>
              <a:ext cx="224154" cy="222885"/>
            </a:xfrm>
            <a:custGeom>
              <a:avLst/>
              <a:gdLst/>
              <a:ahLst/>
              <a:cxnLst/>
              <a:rect l="l" t="t" r="r" b="b"/>
              <a:pathLst>
                <a:path w="224154" h="222885" extrusionOk="0">
                  <a:moveTo>
                    <a:pt x="224155" y="35560"/>
                  </a:moveTo>
                  <a:lnTo>
                    <a:pt x="188595" y="0"/>
                  </a:lnTo>
                  <a:lnTo>
                    <a:pt x="170180" y="17780"/>
                  </a:lnTo>
                  <a:lnTo>
                    <a:pt x="17780" y="168910"/>
                  </a:lnTo>
                  <a:lnTo>
                    <a:pt x="0" y="186690"/>
                  </a:lnTo>
                  <a:lnTo>
                    <a:pt x="35560" y="222885"/>
                  </a:lnTo>
                  <a:lnTo>
                    <a:pt x="53975" y="205105"/>
                  </a:lnTo>
                  <a:lnTo>
                    <a:pt x="206375" y="5397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608" name="Google Shape;608;p15"/>
            <p:cNvSpPr/>
            <p:nvPr/>
          </p:nvSpPr>
          <p:spPr>
            <a:xfrm>
              <a:off x="2607310" y="5729604"/>
              <a:ext cx="224154" cy="222885"/>
            </a:xfrm>
            <a:custGeom>
              <a:avLst/>
              <a:gdLst/>
              <a:ahLst/>
              <a:cxnLst/>
              <a:rect l="l" t="t" r="r" b="b"/>
              <a:pathLst>
                <a:path w="224154" h="222885" extrusionOk="0">
                  <a:moveTo>
                    <a:pt x="170180" y="17780"/>
                  </a:moveTo>
                  <a:lnTo>
                    <a:pt x="17780" y="168910"/>
                  </a:lnTo>
                  <a:lnTo>
                    <a:pt x="0" y="186690"/>
                  </a:lnTo>
                  <a:lnTo>
                    <a:pt x="35560" y="222885"/>
                  </a:lnTo>
                  <a:lnTo>
                    <a:pt x="53975" y="205105"/>
                  </a:lnTo>
                  <a:lnTo>
                    <a:pt x="206375" y="53975"/>
                  </a:lnTo>
                  <a:lnTo>
                    <a:pt x="224155" y="35560"/>
                  </a:lnTo>
                  <a:lnTo>
                    <a:pt x="18859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609" name="Google Shape;609;p15"/>
            <p:cNvSpPr/>
            <p:nvPr/>
          </p:nvSpPr>
          <p:spPr>
            <a:xfrm>
              <a:off x="3242310" y="6091554"/>
              <a:ext cx="224155" cy="222885"/>
            </a:xfrm>
            <a:custGeom>
              <a:avLst/>
              <a:gdLst/>
              <a:ahLst/>
              <a:cxnLst/>
              <a:rect l="l" t="t" r="r" b="b"/>
              <a:pathLst>
                <a:path w="224155" h="222885" extrusionOk="0">
                  <a:moveTo>
                    <a:pt x="170180" y="17780"/>
                  </a:moveTo>
                  <a:lnTo>
                    <a:pt x="17780" y="168910"/>
                  </a:lnTo>
                  <a:lnTo>
                    <a:pt x="0" y="186690"/>
                  </a:lnTo>
                  <a:lnTo>
                    <a:pt x="35560" y="222885"/>
                  </a:lnTo>
                  <a:lnTo>
                    <a:pt x="53975" y="205105"/>
                  </a:lnTo>
                  <a:lnTo>
                    <a:pt x="206375" y="53975"/>
                  </a:lnTo>
                  <a:lnTo>
                    <a:pt x="224155" y="35560"/>
                  </a:lnTo>
                  <a:lnTo>
                    <a:pt x="18859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610" name="Google Shape;610;p15"/>
            <p:cNvSpPr/>
            <p:nvPr/>
          </p:nvSpPr>
          <p:spPr>
            <a:xfrm>
              <a:off x="3877309" y="6453504"/>
              <a:ext cx="224155" cy="222885"/>
            </a:xfrm>
            <a:custGeom>
              <a:avLst/>
              <a:gdLst/>
              <a:ahLst/>
              <a:cxnLst/>
              <a:rect l="l" t="t" r="r" b="b"/>
              <a:pathLst>
                <a:path w="224155" h="222885" extrusionOk="0">
                  <a:moveTo>
                    <a:pt x="170180" y="17780"/>
                  </a:moveTo>
                  <a:lnTo>
                    <a:pt x="17780" y="168910"/>
                  </a:lnTo>
                  <a:lnTo>
                    <a:pt x="0" y="186690"/>
                  </a:lnTo>
                  <a:lnTo>
                    <a:pt x="35560" y="222885"/>
                  </a:lnTo>
                  <a:lnTo>
                    <a:pt x="53975" y="205105"/>
                  </a:lnTo>
                  <a:lnTo>
                    <a:pt x="206375" y="53975"/>
                  </a:lnTo>
                  <a:lnTo>
                    <a:pt x="224155" y="35560"/>
                  </a:lnTo>
                  <a:lnTo>
                    <a:pt x="18859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611" name="Google Shape;611;p15"/>
            <p:cNvSpPr/>
            <p:nvPr/>
          </p:nvSpPr>
          <p:spPr>
            <a:xfrm>
              <a:off x="4657725" y="6815455"/>
              <a:ext cx="78740" cy="42544"/>
            </a:xfrm>
            <a:custGeom>
              <a:avLst/>
              <a:gdLst/>
              <a:ahLst/>
              <a:cxnLst/>
              <a:rect l="l" t="t" r="r" b="b"/>
              <a:pathLst>
                <a:path w="78740" h="42544" extrusionOk="0">
                  <a:moveTo>
                    <a:pt x="24765" y="17780"/>
                  </a:moveTo>
                  <a:lnTo>
                    <a:pt x="0" y="42545"/>
                  </a:lnTo>
                  <a:lnTo>
                    <a:pt x="71755" y="42545"/>
                  </a:lnTo>
                  <a:lnTo>
                    <a:pt x="78740" y="35560"/>
                  </a:lnTo>
                  <a:lnTo>
                    <a:pt x="4318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612" name="Google Shape;612;p15"/>
            <p:cNvSpPr/>
            <p:nvPr/>
          </p:nvSpPr>
          <p:spPr>
            <a:xfrm>
              <a:off x="276859" y="3926204"/>
              <a:ext cx="224155" cy="210185"/>
            </a:xfrm>
            <a:custGeom>
              <a:avLst/>
              <a:gdLst/>
              <a:ahLst/>
              <a:cxnLst/>
              <a:rect l="l" t="t" r="r" b="b"/>
              <a:pathLst>
                <a:path w="224155" h="210185" extrusionOk="0">
                  <a:moveTo>
                    <a:pt x="52705" y="193040"/>
                  </a:moveTo>
                  <a:lnTo>
                    <a:pt x="205105" y="54610"/>
                  </a:lnTo>
                  <a:lnTo>
                    <a:pt x="224155" y="37465"/>
                  </a:lnTo>
                  <a:lnTo>
                    <a:pt x="189865" y="0"/>
                  </a:lnTo>
                  <a:lnTo>
                    <a:pt x="170815" y="16510"/>
                  </a:lnTo>
                  <a:lnTo>
                    <a:pt x="18415" y="155575"/>
                  </a:lnTo>
                  <a:lnTo>
                    <a:pt x="0" y="172720"/>
                  </a:lnTo>
                  <a:lnTo>
                    <a:pt x="33655" y="21018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613" name="Google Shape;613;p15"/>
            <p:cNvSpPr/>
            <p:nvPr/>
          </p:nvSpPr>
          <p:spPr>
            <a:xfrm>
              <a:off x="911860" y="4288154"/>
              <a:ext cx="224154" cy="210185"/>
            </a:xfrm>
            <a:custGeom>
              <a:avLst/>
              <a:gdLst/>
              <a:ahLst/>
              <a:cxnLst/>
              <a:rect l="l" t="t" r="r" b="b"/>
              <a:pathLst>
                <a:path w="224154" h="210185" extrusionOk="0">
                  <a:moveTo>
                    <a:pt x="52705" y="193040"/>
                  </a:moveTo>
                  <a:lnTo>
                    <a:pt x="205105" y="54610"/>
                  </a:lnTo>
                  <a:lnTo>
                    <a:pt x="224155" y="37465"/>
                  </a:lnTo>
                  <a:lnTo>
                    <a:pt x="189865" y="0"/>
                  </a:lnTo>
                  <a:lnTo>
                    <a:pt x="170815" y="16510"/>
                  </a:lnTo>
                  <a:lnTo>
                    <a:pt x="18415" y="155575"/>
                  </a:lnTo>
                  <a:lnTo>
                    <a:pt x="0" y="172720"/>
                  </a:lnTo>
                  <a:lnTo>
                    <a:pt x="33655" y="21018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614" name="Google Shape;614;p15"/>
            <p:cNvSpPr/>
            <p:nvPr/>
          </p:nvSpPr>
          <p:spPr>
            <a:xfrm>
              <a:off x="1546860" y="4650104"/>
              <a:ext cx="224154" cy="210185"/>
            </a:xfrm>
            <a:custGeom>
              <a:avLst/>
              <a:gdLst/>
              <a:ahLst/>
              <a:cxnLst/>
              <a:rect l="l" t="t" r="r" b="b"/>
              <a:pathLst>
                <a:path w="224154" h="210185" extrusionOk="0">
                  <a:moveTo>
                    <a:pt x="52705" y="193040"/>
                  </a:moveTo>
                  <a:lnTo>
                    <a:pt x="205105" y="54610"/>
                  </a:lnTo>
                  <a:lnTo>
                    <a:pt x="224155" y="37465"/>
                  </a:lnTo>
                  <a:lnTo>
                    <a:pt x="189865" y="0"/>
                  </a:lnTo>
                  <a:lnTo>
                    <a:pt x="170815" y="16510"/>
                  </a:lnTo>
                  <a:lnTo>
                    <a:pt x="18415" y="155575"/>
                  </a:lnTo>
                  <a:lnTo>
                    <a:pt x="0" y="172720"/>
                  </a:lnTo>
                  <a:lnTo>
                    <a:pt x="33655" y="21018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615" name="Google Shape;615;p15"/>
            <p:cNvSpPr/>
            <p:nvPr/>
          </p:nvSpPr>
          <p:spPr>
            <a:xfrm>
              <a:off x="2181860" y="5012054"/>
              <a:ext cx="224154" cy="210185"/>
            </a:xfrm>
            <a:custGeom>
              <a:avLst/>
              <a:gdLst/>
              <a:ahLst/>
              <a:cxnLst/>
              <a:rect l="l" t="t" r="r" b="b"/>
              <a:pathLst>
                <a:path w="224154" h="210185" extrusionOk="0">
                  <a:moveTo>
                    <a:pt x="52705" y="193040"/>
                  </a:moveTo>
                  <a:lnTo>
                    <a:pt x="205105" y="54610"/>
                  </a:lnTo>
                  <a:lnTo>
                    <a:pt x="224155" y="37465"/>
                  </a:lnTo>
                  <a:lnTo>
                    <a:pt x="189865" y="0"/>
                  </a:lnTo>
                  <a:lnTo>
                    <a:pt x="170815" y="16510"/>
                  </a:lnTo>
                  <a:lnTo>
                    <a:pt x="18415" y="155575"/>
                  </a:lnTo>
                  <a:lnTo>
                    <a:pt x="0" y="172720"/>
                  </a:lnTo>
                  <a:lnTo>
                    <a:pt x="33655" y="21018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616" name="Google Shape;616;p15"/>
            <p:cNvSpPr/>
            <p:nvPr/>
          </p:nvSpPr>
          <p:spPr>
            <a:xfrm>
              <a:off x="2816860" y="5374004"/>
              <a:ext cx="224154" cy="210185"/>
            </a:xfrm>
            <a:custGeom>
              <a:avLst/>
              <a:gdLst/>
              <a:ahLst/>
              <a:cxnLst/>
              <a:rect l="l" t="t" r="r" b="b"/>
              <a:pathLst>
                <a:path w="224154" h="210185" extrusionOk="0">
                  <a:moveTo>
                    <a:pt x="224155" y="37465"/>
                  </a:moveTo>
                  <a:lnTo>
                    <a:pt x="189865" y="0"/>
                  </a:lnTo>
                  <a:lnTo>
                    <a:pt x="170815" y="16510"/>
                  </a:lnTo>
                  <a:lnTo>
                    <a:pt x="18415" y="155575"/>
                  </a:lnTo>
                  <a:lnTo>
                    <a:pt x="0" y="172720"/>
                  </a:lnTo>
                  <a:lnTo>
                    <a:pt x="33655" y="210185"/>
                  </a:lnTo>
                  <a:lnTo>
                    <a:pt x="52705" y="193040"/>
                  </a:lnTo>
                  <a:lnTo>
                    <a:pt x="205105" y="5461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617" name="Google Shape;617;p15"/>
            <p:cNvSpPr/>
            <p:nvPr/>
          </p:nvSpPr>
          <p:spPr>
            <a:xfrm>
              <a:off x="3451859" y="5735954"/>
              <a:ext cx="224155" cy="210185"/>
            </a:xfrm>
            <a:custGeom>
              <a:avLst/>
              <a:gdLst/>
              <a:ahLst/>
              <a:cxnLst/>
              <a:rect l="l" t="t" r="r" b="b"/>
              <a:pathLst>
                <a:path w="224155" h="210185" extrusionOk="0">
                  <a:moveTo>
                    <a:pt x="170815" y="16510"/>
                  </a:moveTo>
                  <a:lnTo>
                    <a:pt x="18415" y="155575"/>
                  </a:lnTo>
                  <a:lnTo>
                    <a:pt x="0" y="172720"/>
                  </a:lnTo>
                  <a:lnTo>
                    <a:pt x="33655" y="210185"/>
                  </a:lnTo>
                  <a:lnTo>
                    <a:pt x="52705" y="193040"/>
                  </a:lnTo>
                  <a:lnTo>
                    <a:pt x="205105" y="54610"/>
                  </a:lnTo>
                  <a:lnTo>
                    <a:pt x="224155" y="37465"/>
                  </a:lnTo>
                  <a:lnTo>
                    <a:pt x="18986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618" name="Google Shape;618;p15"/>
            <p:cNvSpPr/>
            <p:nvPr/>
          </p:nvSpPr>
          <p:spPr>
            <a:xfrm>
              <a:off x="4086859" y="6097904"/>
              <a:ext cx="224155" cy="210185"/>
            </a:xfrm>
            <a:custGeom>
              <a:avLst/>
              <a:gdLst/>
              <a:ahLst/>
              <a:cxnLst/>
              <a:rect l="l" t="t" r="r" b="b"/>
              <a:pathLst>
                <a:path w="224155" h="210185" extrusionOk="0">
                  <a:moveTo>
                    <a:pt x="170815" y="16510"/>
                  </a:moveTo>
                  <a:lnTo>
                    <a:pt x="18415" y="155575"/>
                  </a:lnTo>
                  <a:lnTo>
                    <a:pt x="0" y="172720"/>
                  </a:lnTo>
                  <a:lnTo>
                    <a:pt x="33655" y="210185"/>
                  </a:lnTo>
                  <a:lnTo>
                    <a:pt x="52705" y="193040"/>
                  </a:lnTo>
                  <a:lnTo>
                    <a:pt x="205105" y="54610"/>
                  </a:lnTo>
                  <a:lnTo>
                    <a:pt x="224155" y="37465"/>
                  </a:lnTo>
                  <a:lnTo>
                    <a:pt x="18986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619" name="Google Shape;619;p15"/>
            <p:cNvSpPr/>
            <p:nvPr/>
          </p:nvSpPr>
          <p:spPr>
            <a:xfrm>
              <a:off x="4721859" y="6459854"/>
              <a:ext cx="224155" cy="210185"/>
            </a:xfrm>
            <a:custGeom>
              <a:avLst/>
              <a:gdLst/>
              <a:ahLst/>
              <a:cxnLst/>
              <a:rect l="l" t="t" r="r" b="b"/>
              <a:pathLst>
                <a:path w="224155" h="210185" extrusionOk="0">
                  <a:moveTo>
                    <a:pt x="170815" y="16510"/>
                  </a:moveTo>
                  <a:lnTo>
                    <a:pt x="18415" y="155575"/>
                  </a:lnTo>
                  <a:lnTo>
                    <a:pt x="0" y="172720"/>
                  </a:lnTo>
                  <a:lnTo>
                    <a:pt x="33655" y="210185"/>
                  </a:lnTo>
                  <a:lnTo>
                    <a:pt x="52705" y="193040"/>
                  </a:lnTo>
                  <a:lnTo>
                    <a:pt x="205105" y="54610"/>
                  </a:lnTo>
                  <a:lnTo>
                    <a:pt x="224155" y="37465"/>
                  </a:lnTo>
                  <a:lnTo>
                    <a:pt x="18986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620" name="Google Shape;620;p15"/>
            <p:cNvSpPr/>
            <p:nvPr/>
          </p:nvSpPr>
          <p:spPr>
            <a:xfrm>
              <a:off x="5506720" y="6821805"/>
              <a:ext cx="73025" cy="36194"/>
            </a:xfrm>
            <a:custGeom>
              <a:avLst/>
              <a:gdLst/>
              <a:ahLst/>
              <a:cxnLst/>
              <a:rect l="l" t="t" r="r" b="b"/>
              <a:pathLst>
                <a:path w="73025" h="36194" extrusionOk="0">
                  <a:moveTo>
                    <a:pt x="20955" y="16510"/>
                  </a:moveTo>
                  <a:lnTo>
                    <a:pt x="0" y="36195"/>
                  </a:lnTo>
                  <a:lnTo>
                    <a:pt x="73025" y="36195"/>
                  </a:lnTo>
                  <a:lnTo>
                    <a:pt x="4000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621" name="Google Shape;621;p15"/>
            <p:cNvSpPr/>
            <p:nvPr/>
          </p:nvSpPr>
          <p:spPr>
            <a:xfrm>
              <a:off x="463550" y="3573145"/>
              <a:ext cx="224155" cy="191770"/>
            </a:xfrm>
            <a:custGeom>
              <a:avLst/>
              <a:gdLst/>
              <a:ahLst/>
              <a:cxnLst/>
              <a:rect l="l" t="t" r="r" b="b"/>
              <a:pathLst>
                <a:path w="224155" h="191770" extrusionOk="0">
                  <a:moveTo>
                    <a:pt x="0" y="151765"/>
                  </a:moveTo>
                  <a:lnTo>
                    <a:pt x="31750" y="191770"/>
                  </a:lnTo>
                  <a:lnTo>
                    <a:pt x="51435" y="175895"/>
                  </a:lnTo>
                  <a:lnTo>
                    <a:pt x="203835" y="55880"/>
                  </a:lnTo>
                  <a:lnTo>
                    <a:pt x="224155" y="40005"/>
                  </a:lnTo>
                  <a:lnTo>
                    <a:pt x="192405" y="0"/>
                  </a:lnTo>
                  <a:lnTo>
                    <a:pt x="172720" y="15875"/>
                  </a:lnTo>
                  <a:lnTo>
                    <a:pt x="20320" y="13652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622" name="Google Shape;622;p15"/>
            <p:cNvSpPr/>
            <p:nvPr/>
          </p:nvSpPr>
          <p:spPr>
            <a:xfrm>
              <a:off x="1098550" y="3935095"/>
              <a:ext cx="224155" cy="191770"/>
            </a:xfrm>
            <a:custGeom>
              <a:avLst/>
              <a:gdLst/>
              <a:ahLst/>
              <a:cxnLst/>
              <a:rect l="l" t="t" r="r" b="b"/>
              <a:pathLst>
                <a:path w="224155" h="191770" extrusionOk="0">
                  <a:moveTo>
                    <a:pt x="203835" y="55880"/>
                  </a:moveTo>
                  <a:lnTo>
                    <a:pt x="224155" y="40005"/>
                  </a:lnTo>
                  <a:lnTo>
                    <a:pt x="192405" y="0"/>
                  </a:lnTo>
                  <a:lnTo>
                    <a:pt x="172720" y="15875"/>
                  </a:lnTo>
                  <a:lnTo>
                    <a:pt x="20320" y="136525"/>
                  </a:lnTo>
                  <a:lnTo>
                    <a:pt x="0" y="151765"/>
                  </a:lnTo>
                  <a:lnTo>
                    <a:pt x="31750" y="191770"/>
                  </a:lnTo>
                  <a:lnTo>
                    <a:pt x="51435" y="17589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623" name="Google Shape;623;p15"/>
            <p:cNvSpPr/>
            <p:nvPr/>
          </p:nvSpPr>
          <p:spPr>
            <a:xfrm>
              <a:off x="1733550" y="4297045"/>
              <a:ext cx="224154" cy="191770"/>
            </a:xfrm>
            <a:custGeom>
              <a:avLst/>
              <a:gdLst/>
              <a:ahLst/>
              <a:cxnLst/>
              <a:rect l="l" t="t" r="r" b="b"/>
              <a:pathLst>
                <a:path w="224154" h="191770" extrusionOk="0">
                  <a:moveTo>
                    <a:pt x="203835" y="55880"/>
                  </a:moveTo>
                  <a:lnTo>
                    <a:pt x="224155" y="40005"/>
                  </a:lnTo>
                  <a:lnTo>
                    <a:pt x="192405" y="0"/>
                  </a:lnTo>
                  <a:lnTo>
                    <a:pt x="172720" y="15875"/>
                  </a:lnTo>
                  <a:lnTo>
                    <a:pt x="20320" y="136525"/>
                  </a:lnTo>
                  <a:lnTo>
                    <a:pt x="0" y="151765"/>
                  </a:lnTo>
                  <a:lnTo>
                    <a:pt x="31750" y="191770"/>
                  </a:lnTo>
                  <a:lnTo>
                    <a:pt x="51435" y="17589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624" name="Google Shape;624;p15"/>
            <p:cNvSpPr/>
            <p:nvPr/>
          </p:nvSpPr>
          <p:spPr>
            <a:xfrm>
              <a:off x="2368550" y="4658995"/>
              <a:ext cx="224154" cy="191770"/>
            </a:xfrm>
            <a:custGeom>
              <a:avLst/>
              <a:gdLst/>
              <a:ahLst/>
              <a:cxnLst/>
              <a:rect l="l" t="t" r="r" b="b"/>
              <a:pathLst>
                <a:path w="224154" h="191770" extrusionOk="0">
                  <a:moveTo>
                    <a:pt x="203835" y="55880"/>
                  </a:moveTo>
                  <a:lnTo>
                    <a:pt x="224155" y="40005"/>
                  </a:lnTo>
                  <a:lnTo>
                    <a:pt x="192405" y="0"/>
                  </a:lnTo>
                  <a:lnTo>
                    <a:pt x="172720" y="15875"/>
                  </a:lnTo>
                  <a:lnTo>
                    <a:pt x="20320" y="136525"/>
                  </a:lnTo>
                  <a:lnTo>
                    <a:pt x="0" y="151765"/>
                  </a:lnTo>
                  <a:lnTo>
                    <a:pt x="31750" y="191770"/>
                  </a:lnTo>
                  <a:lnTo>
                    <a:pt x="51435" y="17589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625" name="Google Shape;625;p15"/>
            <p:cNvSpPr/>
            <p:nvPr/>
          </p:nvSpPr>
          <p:spPr>
            <a:xfrm>
              <a:off x="3003550" y="5020945"/>
              <a:ext cx="224154" cy="191770"/>
            </a:xfrm>
            <a:custGeom>
              <a:avLst/>
              <a:gdLst/>
              <a:ahLst/>
              <a:cxnLst/>
              <a:rect l="l" t="t" r="r" b="b"/>
              <a:pathLst>
                <a:path w="224154" h="191770" extrusionOk="0">
                  <a:moveTo>
                    <a:pt x="51435" y="175895"/>
                  </a:moveTo>
                  <a:lnTo>
                    <a:pt x="203835" y="55880"/>
                  </a:lnTo>
                  <a:lnTo>
                    <a:pt x="224155" y="40005"/>
                  </a:lnTo>
                  <a:lnTo>
                    <a:pt x="192405" y="0"/>
                  </a:lnTo>
                  <a:lnTo>
                    <a:pt x="172720" y="15875"/>
                  </a:lnTo>
                  <a:lnTo>
                    <a:pt x="20320" y="136525"/>
                  </a:lnTo>
                  <a:lnTo>
                    <a:pt x="0" y="151765"/>
                  </a:lnTo>
                  <a:lnTo>
                    <a:pt x="31750" y="19177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626" name="Google Shape;626;p15"/>
            <p:cNvSpPr/>
            <p:nvPr/>
          </p:nvSpPr>
          <p:spPr>
            <a:xfrm>
              <a:off x="3638550" y="5382895"/>
              <a:ext cx="224154" cy="191770"/>
            </a:xfrm>
            <a:custGeom>
              <a:avLst/>
              <a:gdLst/>
              <a:ahLst/>
              <a:cxnLst/>
              <a:rect l="l" t="t" r="r" b="b"/>
              <a:pathLst>
                <a:path w="224154" h="191770" extrusionOk="0">
                  <a:moveTo>
                    <a:pt x="224155" y="40005"/>
                  </a:moveTo>
                  <a:lnTo>
                    <a:pt x="192405" y="0"/>
                  </a:lnTo>
                  <a:lnTo>
                    <a:pt x="172720" y="15875"/>
                  </a:lnTo>
                  <a:lnTo>
                    <a:pt x="20320" y="136525"/>
                  </a:lnTo>
                  <a:lnTo>
                    <a:pt x="0" y="151765"/>
                  </a:lnTo>
                  <a:lnTo>
                    <a:pt x="31750" y="191770"/>
                  </a:lnTo>
                  <a:lnTo>
                    <a:pt x="51435" y="175895"/>
                  </a:lnTo>
                  <a:lnTo>
                    <a:pt x="203835" y="558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627" name="Google Shape;627;p15"/>
            <p:cNvSpPr/>
            <p:nvPr/>
          </p:nvSpPr>
          <p:spPr>
            <a:xfrm>
              <a:off x="4273550" y="5744845"/>
              <a:ext cx="224154" cy="191770"/>
            </a:xfrm>
            <a:custGeom>
              <a:avLst/>
              <a:gdLst/>
              <a:ahLst/>
              <a:cxnLst/>
              <a:rect l="l" t="t" r="r" b="b"/>
              <a:pathLst>
                <a:path w="224154" h="191770" extrusionOk="0">
                  <a:moveTo>
                    <a:pt x="172720" y="15875"/>
                  </a:moveTo>
                  <a:lnTo>
                    <a:pt x="20320" y="136525"/>
                  </a:lnTo>
                  <a:lnTo>
                    <a:pt x="0" y="151765"/>
                  </a:lnTo>
                  <a:lnTo>
                    <a:pt x="31750" y="191770"/>
                  </a:lnTo>
                  <a:lnTo>
                    <a:pt x="51435" y="175895"/>
                  </a:lnTo>
                  <a:lnTo>
                    <a:pt x="203835" y="55880"/>
                  </a:lnTo>
                  <a:lnTo>
                    <a:pt x="224155" y="40005"/>
                  </a:lnTo>
                  <a:lnTo>
                    <a:pt x="19240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628" name="Google Shape;628;p15"/>
            <p:cNvSpPr/>
            <p:nvPr/>
          </p:nvSpPr>
          <p:spPr>
            <a:xfrm>
              <a:off x="4908550" y="6106795"/>
              <a:ext cx="224154" cy="191770"/>
            </a:xfrm>
            <a:custGeom>
              <a:avLst/>
              <a:gdLst/>
              <a:ahLst/>
              <a:cxnLst/>
              <a:rect l="l" t="t" r="r" b="b"/>
              <a:pathLst>
                <a:path w="224154" h="191770" extrusionOk="0">
                  <a:moveTo>
                    <a:pt x="172720" y="15875"/>
                  </a:moveTo>
                  <a:lnTo>
                    <a:pt x="20320" y="136525"/>
                  </a:lnTo>
                  <a:lnTo>
                    <a:pt x="0" y="151765"/>
                  </a:lnTo>
                  <a:lnTo>
                    <a:pt x="31750" y="191770"/>
                  </a:lnTo>
                  <a:lnTo>
                    <a:pt x="51435" y="175895"/>
                  </a:lnTo>
                  <a:lnTo>
                    <a:pt x="203835" y="55880"/>
                  </a:lnTo>
                  <a:lnTo>
                    <a:pt x="224155" y="40005"/>
                  </a:lnTo>
                  <a:lnTo>
                    <a:pt x="19240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629" name="Google Shape;629;p15"/>
            <p:cNvSpPr/>
            <p:nvPr/>
          </p:nvSpPr>
          <p:spPr>
            <a:xfrm>
              <a:off x="5543550" y="6468745"/>
              <a:ext cx="224154" cy="191770"/>
            </a:xfrm>
            <a:custGeom>
              <a:avLst/>
              <a:gdLst/>
              <a:ahLst/>
              <a:cxnLst/>
              <a:rect l="l" t="t" r="r" b="b"/>
              <a:pathLst>
                <a:path w="224154" h="191770" extrusionOk="0">
                  <a:moveTo>
                    <a:pt x="172720" y="15875"/>
                  </a:moveTo>
                  <a:lnTo>
                    <a:pt x="20320" y="136525"/>
                  </a:lnTo>
                  <a:lnTo>
                    <a:pt x="0" y="151765"/>
                  </a:lnTo>
                  <a:lnTo>
                    <a:pt x="31750" y="191770"/>
                  </a:lnTo>
                  <a:lnTo>
                    <a:pt x="51435" y="175895"/>
                  </a:lnTo>
                  <a:lnTo>
                    <a:pt x="203835" y="55880"/>
                  </a:lnTo>
                  <a:lnTo>
                    <a:pt x="224155" y="40005"/>
                  </a:lnTo>
                  <a:lnTo>
                    <a:pt x="19240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630" name="Google Shape;630;p15"/>
            <p:cNvSpPr/>
            <p:nvPr/>
          </p:nvSpPr>
          <p:spPr>
            <a:xfrm>
              <a:off x="6336665" y="6830694"/>
              <a:ext cx="55879" cy="27305"/>
            </a:xfrm>
            <a:custGeom>
              <a:avLst/>
              <a:gdLst/>
              <a:ahLst/>
              <a:cxnLst/>
              <a:rect l="l" t="t" r="r" b="b"/>
              <a:pathLst>
                <a:path w="55879" h="27305" extrusionOk="0">
                  <a:moveTo>
                    <a:pt x="14605" y="15875"/>
                  </a:moveTo>
                  <a:lnTo>
                    <a:pt x="0" y="27305"/>
                  </a:lnTo>
                  <a:lnTo>
                    <a:pt x="55880" y="27305"/>
                  </a:lnTo>
                  <a:lnTo>
                    <a:pt x="3429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631" name="Google Shape;631;p15"/>
            <p:cNvSpPr/>
            <p:nvPr/>
          </p:nvSpPr>
          <p:spPr>
            <a:xfrm>
              <a:off x="0" y="2861310"/>
              <a:ext cx="209550" cy="167639"/>
            </a:xfrm>
            <a:custGeom>
              <a:avLst/>
              <a:gdLst/>
              <a:ahLst/>
              <a:cxnLst/>
              <a:rect l="l" t="t" r="r" b="b"/>
              <a:pathLst>
                <a:path w="209550" h="167639" extrusionOk="0">
                  <a:moveTo>
                    <a:pt x="35560" y="154305"/>
                  </a:moveTo>
                  <a:lnTo>
                    <a:pt x="187960" y="56515"/>
                  </a:lnTo>
                  <a:lnTo>
                    <a:pt x="209550" y="43180"/>
                  </a:lnTo>
                  <a:lnTo>
                    <a:pt x="181610" y="0"/>
                  </a:lnTo>
                  <a:lnTo>
                    <a:pt x="160655" y="13970"/>
                  </a:lnTo>
                  <a:lnTo>
                    <a:pt x="8255" y="111125"/>
                  </a:lnTo>
                  <a:lnTo>
                    <a:pt x="0" y="116205"/>
                  </a:lnTo>
                  <a:lnTo>
                    <a:pt x="0" y="145415"/>
                  </a:lnTo>
                  <a:lnTo>
                    <a:pt x="13970" y="1676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632" name="Google Shape;632;p15"/>
            <p:cNvSpPr/>
            <p:nvPr/>
          </p:nvSpPr>
          <p:spPr>
            <a:xfrm>
              <a:off x="621665" y="3223260"/>
              <a:ext cx="222884" cy="167639"/>
            </a:xfrm>
            <a:custGeom>
              <a:avLst/>
              <a:gdLst/>
              <a:ahLst/>
              <a:cxnLst/>
              <a:rect l="l" t="t" r="r" b="b"/>
              <a:pathLst>
                <a:path w="222884" h="167639" extrusionOk="0">
                  <a:moveTo>
                    <a:pt x="21590" y="111125"/>
                  </a:moveTo>
                  <a:lnTo>
                    <a:pt x="0" y="125095"/>
                  </a:lnTo>
                  <a:lnTo>
                    <a:pt x="27305" y="167640"/>
                  </a:lnTo>
                  <a:lnTo>
                    <a:pt x="48895" y="154305"/>
                  </a:lnTo>
                  <a:lnTo>
                    <a:pt x="201295" y="56515"/>
                  </a:lnTo>
                  <a:lnTo>
                    <a:pt x="222885" y="43180"/>
                  </a:lnTo>
                  <a:lnTo>
                    <a:pt x="194945" y="0"/>
                  </a:lnTo>
                  <a:lnTo>
                    <a:pt x="173990" y="1397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633" name="Google Shape;633;p15"/>
            <p:cNvSpPr/>
            <p:nvPr/>
          </p:nvSpPr>
          <p:spPr>
            <a:xfrm>
              <a:off x="1256664" y="3585209"/>
              <a:ext cx="222885" cy="167640"/>
            </a:xfrm>
            <a:custGeom>
              <a:avLst/>
              <a:gdLst/>
              <a:ahLst/>
              <a:cxnLst/>
              <a:rect l="l" t="t" r="r" b="b"/>
              <a:pathLst>
                <a:path w="222885" h="167640" extrusionOk="0">
                  <a:moveTo>
                    <a:pt x="222885" y="43180"/>
                  </a:moveTo>
                  <a:lnTo>
                    <a:pt x="194945" y="0"/>
                  </a:lnTo>
                  <a:lnTo>
                    <a:pt x="173990" y="13970"/>
                  </a:lnTo>
                  <a:lnTo>
                    <a:pt x="21590" y="111125"/>
                  </a:lnTo>
                  <a:lnTo>
                    <a:pt x="0" y="125095"/>
                  </a:lnTo>
                  <a:lnTo>
                    <a:pt x="27305" y="167640"/>
                  </a:lnTo>
                  <a:lnTo>
                    <a:pt x="48895" y="154305"/>
                  </a:lnTo>
                  <a:lnTo>
                    <a:pt x="201295"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634" name="Google Shape;634;p15"/>
            <p:cNvSpPr/>
            <p:nvPr/>
          </p:nvSpPr>
          <p:spPr>
            <a:xfrm>
              <a:off x="1891664" y="3947159"/>
              <a:ext cx="222885" cy="167640"/>
            </a:xfrm>
            <a:custGeom>
              <a:avLst/>
              <a:gdLst/>
              <a:ahLst/>
              <a:cxnLst/>
              <a:rect l="l" t="t" r="r" b="b"/>
              <a:pathLst>
                <a:path w="222885" h="167640" extrusionOk="0">
                  <a:moveTo>
                    <a:pt x="222885" y="43180"/>
                  </a:moveTo>
                  <a:lnTo>
                    <a:pt x="194945" y="0"/>
                  </a:lnTo>
                  <a:lnTo>
                    <a:pt x="173990" y="13970"/>
                  </a:lnTo>
                  <a:lnTo>
                    <a:pt x="21590" y="111125"/>
                  </a:lnTo>
                  <a:lnTo>
                    <a:pt x="0" y="125095"/>
                  </a:lnTo>
                  <a:lnTo>
                    <a:pt x="27305" y="167640"/>
                  </a:lnTo>
                  <a:lnTo>
                    <a:pt x="48895" y="154305"/>
                  </a:lnTo>
                  <a:lnTo>
                    <a:pt x="201295"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635" name="Google Shape;635;p15"/>
            <p:cNvSpPr/>
            <p:nvPr/>
          </p:nvSpPr>
          <p:spPr>
            <a:xfrm>
              <a:off x="2526664" y="4309109"/>
              <a:ext cx="222885" cy="167640"/>
            </a:xfrm>
            <a:custGeom>
              <a:avLst/>
              <a:gdLst/>
              <a:ahLst/>
              <a:cxnLst/>
              <a:rect l="l" t="t" r="r" b="b"/>
              <a:pathLst>
                <a:path w="222885" h="167640" extrusionOk="0">
                  <a:moveTo>
                    <a:pt x="222885" y="43180"/>
                  </a:moveTo>
                  <a:lnTo>
                    <a:pt x="194945" y="0"/>
                  </a:lnTo>
                  <a:lnTo>
                    <a:pt x="173990" y="13970"/>
                  </a:lnTo>
                  <a:lnTo>
                    <a:pt x="21590" y="111125"/>
                  </a:lnTo>
                  <a:lnTo>
                    <a:pt x="0" y="125095"/>
                  </a:lnTo>
                  <a:lnTo>
                    <a:pt x="27305" y="167640"/>
                  </a:lnTo>
                  <a:lnTo>
                    <a:pt x="48895" y="154305"/>
                  </a:lnTo>
                  <a:lnTo>
                    <a:pt x="201295"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636" name="Google Shape;636;p15"/>
            <p:cNvSpPr/>
            <p:nvPr/>
          </p:nvSpPr>
          <p:spPr>
            <a:xfrm>
              <a:off x="3161664" y="4671059"/>
              <a:ext cx="222885" cy="167640"/>
            </a:xfrm>
            <a:custGeom>
              <a:avLst/>
              <a:gdLst/>
              <a:ahLst/>
              <a:cxnLst/>
              <a:rect l="l" t="t" r="r" b="b"/>
              <a:pathLst>
                <a:path w="222885" h="167640" extrusionOk="0">
                  <a:moveTo>
                    <a:pt x="222885" y="43180"/>
                  </a:moveTo>
                  <a:lnTo>
                    <a:pt x="194945" y="0"/>
                  </a:lnTo>
                  <a:lnTo>
                    <a:pt x="173990" y="13970"/>
                  </a:lnTo>
                  <a:lnTo>
                    <a:pt x="21590" y="111125"/>
                  </a:lnTo>
                  <a:lnTo>
                    <a:pt x="0" y="125095"/>
                  </a:lnTo>
                  <a:lnTo>
                    <a:pt x="27305" y="167640"/>
                  </a:lnTo>
                  <a:lnTo>
                    <a:pt x="48895" y="154305"/>
                  </a:lnTo>
                  <a:lnTo>
                    <a:pt x="201295"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637" name="Google Shape;637;p15"/>
            <p:cNvSpPr/>
            <p:nvPr/>
          </p:nvSpPr>
          <p:spPr>
            <a:xfrm>
              <a:off x="3796665" y="5033009"/>
              <a:ext cx="222884" cy="167640"/>
            </a:xfrm>
            <a:custGeom>
              <a:avLst/>
              <a:gdLst/>
              <a:ahLst/>
              <a:cxnLst/>
              <a:rect l="l" t="t" r="r" b="b"/>
              <a:pathLst>
                <a:path w="222884" h="167640" extrusionOk="0">
                  <a:moveTo>
                    <a:pt x="48895" y="154305"/>
                  </a:moveTo>
                  <a:lnTo>
                    <a:pt x="201295" y="56515"/>
                  </a:lnTo>
                  <a:lnTo>
                    <a:pt x="222885" y="43180"/>
                  </a:lnTo>
                  <a:lnTo>
                    <a:pt x="194945" y="0"/>
                  </a:lnTo>
                  <a:lnTo>
                    <a:pt x="173990" y="13970"/>
                  </a:lnTo>
                  <a:lnTo>
                    <a:pt x="21590" y="111125"/>
                  </a:lnTo>
                  <a:lnTo>
                    <a:pt x="0" y="125095"/>
                  </a:lnTo>
                  <a:lnTo>
                    <a:pt x="27305" y="1676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638" name="Google Shape;638;p15"/>
            <p:cNvSpPr/>
            <p:nvPr/>
          </p:nvSpPr>
          <p:spPr>
            <a:xfrm>
              <a:off x="4431665" y="5394959"/>
              <a:ext cx="222884" cy="167640"/>
            </a:xfrm>
            <a:custGeom>
              <a:avLst/>
              <a:gdLst/>
              <a:ahLst/>
              <a:cxnLst/>
              <a:rect l="l" t="t" r="r" b="b"/>
              <a:pathLst>
                <a:path w="222884" h="167640" extrusionOk="0">
                  <a:moveTo>
                    <a:pt x="173990" y="13970"/>
                  </a:moveTo>
                  <a:lnTo>
                    <a:pt x="21590" y="111125"/>
                  </a:lnTo>
                  <a:lnTo>
                    <a:pt x="0" y="125095"/>
                  </a:lnTo>
                  <a:lnTo>
                    <a:pt x="27305" y="167640"/>
                  </a:lnTo>
                  <a:lnTo>
                    <a:pt x="48895" y="154305"/>
                  </a:lnTo>
                  <a:lnTo>
                    <a:pt x="201295" y="56515"/>
                  </a:lnTo>
                  <a:lnTo>
                    <a:pt x="222885" y="43180"/>
                  </a:lnTo>
                  <a:lnTo>
                    <a:pt x="19494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639" name="Google Shape;639;p15"/>
            <p:cNvSpPr/>
            <p:nvPr/>
          </p:nvSpPr>
          <p:spPr>
            <a:xfrm>
              <a:off x="5066665" y="5756909"/>
              <a:ext cx="222884" cy="167640"/>
            </a:xfrm>
            <a:custGeom>
              <a:avLst/>
              <a:gdLst/>
              <a:ahLst/>
              <a:cxnLst/>
              <a:rect l="l" t="t" r="r" b="b"/>
              <a:pathLst>
                <a:path w="222884" h="167640" extrusionOk="0">
                  <a:moveTo>
                    <a:pt x="173990" y="13970"/>
                  </a:moveTo>
                  <a:lnTo>
                    <a:pt x="21590" y="111125"/>
                  </a:lnTo>
                  <a:lnTo>
                    <a:pt x="0" y="125095"/>
                  </a:lnTo>
                  <a:lnTo>
                    <a:pt x="27305" y="167640"/>
                  </a:lnTo>
                  <a:lnTo>
                    <a:pt x="48895" y="154305"/>
                  </a:lnTo>
                  <a:lnTo>
                    <a:pt x="201295" y="56515"/>
                  </a:lnTo>
                  <a:lnTo>
                    <a:pt x="222885" y="43180"/>
                  </a:lnTo>
                  <a:lnTo>
                    <a:pt x="19494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640" name="Google Shape;640;p15"/>
            <p:cNvSpPr/>
            <p:nvPr/>
          </p:nvSpPr>
          <p:spPr>
            <a:xfrm>
              <a:off x="5701665" y="6118859"/>
              <a:ext cx="222884" cy="167640"/>
            </a:xfrm>
            <a:custGeom>
              <a:avLst/>
              <a:gdLst/>
              <a:ahLst/>
              <a:cxnLst/>
              <a:rect l="l" t="t" r="r" b="b"/>
              <a:pathLst>
                <a:path w="222884" h="167640" extrusionOk="0">
                  <a:moveTo>
                    <a:pt x="173990" y="13970"/>
                  </a:moveTo>
                  <a:lnTo>
                    <a:pt x="21590" y="111125"/>
                  </a:lnTo>
                  <a:lnTo>
                    <a:pt x="0" y="125095"/>
                  </a:lnTo>
                  <a:lnTo>
                    <a:pt x="27305" y="167640"/>
                  </a:lnTo>
                  <a:lnTo>
                    <a:pt x="48895" y="154305"/>
                  </a:lnTo>
                  <a:lnTo>
                    <a:pt x="201295" y="56515"/>
                  </a:lnTo>
                  <a:lnTo>
                    <a:pt x="222885" y="43180"/>
                  </a:lnTo>
                  <a:lnTo>
                    <a:pt x="19494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641" name="Google Shape;641;p15"/>
            <p:cNvSpPr/>
            <p:nvPr/>
          </p:nvSpPr>
          <p:spPr>
            <a:xfrm>
              <a:off x="6336665" y="6480809"/>
              <a:ext cx="222884" cy="167640"/>
            </a:xfrm>
            <a:custGeom>
              <a:avLst/>
              <a:gdLst/>
              <a:ahLst/>
              <a:cxnLst/>
              <a:rect l="l" t="t" r="r" b="b"/>
              <a:pathLst>
                <a:path w="222884" h="167640" extrusionOk="0">
                  <a:moveTo>
                    <a:pt x="173990" y="13970"/>
                  </a:moveTo>
                  <a:lnTo>
                    <a:pt x="21590" y="111125"/>
                  </a:lnTo>
                  <a:lnTo>
                    <a:pt x="0" y="125095"/>
                  </a:lnTo>
                  <a:lnTo>
                    <a:pt x="27305" y="167640"/>
                  </a:lnTo>
                  <a:lnTo>
                    <a:pt x="48895" y="154305"/>
                  </a:lnTo>
                  <a:lnTo>
                    <a:pt x="201295" y="56515"/>
                  </a:lnTo>
                  <a:lnTo>
                    <a:pt x="222885" y="43180"/>
                  </a:lnTo>
                  <a:lnTo>
                    <a:pt x="19494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642" name="Google Shape;642;p15"/>
            <p:cNvSpPr/>
            <p:nvPr/>
          </p:nvSpPr>
          <p:spPr>
            <a:xfrm>
              <a:off x="7143115" y="6842759"/>
              <a:ext cx="33654" cy="15240"/>
            </a:xfrm>
            <a:custGeom>
              <a:avLst/>
              <a:gdLst/>
              <a:ahLst/>
              <a:cxnLst/>
              <a:rect l="l" t="t" r="r" b="b"/>
              <a:pathLst>
                <a:path w="33654" h="15240" extrusionOk="0">
                  <a:moveTo>
                    <a:pt x="2540" y="13970"/>
                  </a:moveTo>
                  <a:lnTo>
                    <a:pt x="0" y="15240"/>
                  </a:lnTo>
                  <a:lnTo>
                    <a:pt x="33655" y="15240"/>
                  </a:lnTo>
                  <a:lnTo>
                    <a:pt x="2349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643" name="Google Shape;643;p15"/>
            <p:cNvSpPr/>
            <p:nvPr/>
          </p:nvSpPr>
          <p:spPr>
            <a:xfrm>
              <a:off x="109220" y="2514600"/>
              <a:ext cx="219709" cy="137795"/>
            </a:xfrm>
            <a:custGeom>
              <a:avLst/>
              <a:gdLst/>
              <a:ahLst/>
              <a:cxnLst/>
              <a:rect l="l" t="t" r="r" b="b"/>
              <a:pathLst>
                <a:path w="219709" h="137795" extrusionOk="0">
                  <a:moveTo>
                    <a:pt x="44450" y="127000"/>
                  </a:moveTo>
                  <a:lnTo>
                    <a:pt x="196850" y="56515"/>
                  </a:lnTo>
                  <a:lnTo>
                    <a:pt x="219710" y="45720"/>
                  </a:lnTo>
                  <a:lnTo>
                    <a:pt x="198755" y="0"/>
                  </a:lnTo>
                  <a:lnTo>
                    <a:pt x="175895" y="10160"/>
                  </a:lnTo>
                  <a:lnTo>
                    <a:pt x="23495" y="80645"/>
                  </a:lnTo>
                  <a:lnTo>
                    <a:pt x="0" y="91440"/>
                  </a:lnTo>
                  <a:lnTo>
                    <a:pt x="21590" y="13779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644" name="Google Shape;644;p15"/>
            <p:cNvSpPr/>
            <p:nvPr/>
          </p:nvSpPr>
          <p:spPr>
            <a:xfrm>
              <a:off x="744219" y="2876550"/>
              <a:ext cx="219710" cy="137795"/>
            </a:xfrm>
            <a:custGeom>
              <a:avLst/>
              <a:gdLst/>
              <a:ahLst/>
              <a:cxnLst/>
              <a:rect l="l" t="t" r="r" b="b"/>
              <a:pathLst>
                <a:path w="219710" h="137795" extrusionOk="0">
                  <a:moveTo>
                    <a:pt x="219710" y="45720"/>
                  </a:moveTo>
                  <a:lnTo>
                    <a:pt x="198755" y="0"/>
                  </a:lnTo>
                  <a:lnTo>
                    <a:pt x="175895" y="10160"/>
                  </a:lnTo>
                  <a:lnTo>
                    <a:pt x="23495" y="80645"/>
                  </a:lnTo>
                  <a:lnTo>
                    <a:pt x="0" y="91440"/>
                  </a:lnTo>
                  <a:lnTo>
                    <a:pt x="21590" y="137795"/>
                  </a:lnTo>
                  <a:lnTo>
                    <a:pt x="44450" y="127000"/>
                  </a:lnTo>
                  <a:lnTo>
                    <a:pt x="196850"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645" name="Google Shape;645;p15"/>
            <p:cNvSpPr/>
            <p:nvPr/>
          </p:nvSpPr>
          <p:spPr>
            <a:xfrm>
              <a:off x="1379219" y="3238500"/>
              <a:ext cx="219710" cy="137795"/>
            </a:xfrm>
            <a:custGeom>
              <a:avLst/>
              <a:gdLst/>
              <a:ahLst/>
              <a:cxnLst/>
              <a:rect l="l" t="t" r="r" b="b"/>
              <a:pathLst>
                <a:path w="219710" h="137795" extrusionOk="0">
                  <a:moveTo>
                    <a:pt x="0" y="91440"/>
                  </a:moveTo>
                  <a:lnTo>
                    <a:pt x="21590" y="137795"/>
                  </a:lnTo>
                  <a:lnTo>
                    <a:pt x="44450" y="127000"/>
                  </a:lnTo>
                  <a:lnTo>
                    <a:pt x="196850" y="56515"/>
                  </a:lnTo>
                  <a:lnTo>
                    <a:pt x="219710" y="45720"/>
                  </a:lnTo>
                  <a:lnTo>
                    <a:pt x="198755" y="0"/>
                  </a:lnTo>
                  <a:lnTo>
                    <a:pt x="175895" y="10160"/>
                  </a:lnTo>
                  <a:lnTo>
                    <a:pt x="23495" y="8064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646" name="Google Shape;646;p15"/>
            <p:cNvSpPr/>
            <p:nvPr/>
          </p:nvSpPr>
          <p:spPr>
            <a:xfrm>
              <a:off x="2014220" y="3600450"/>
              <a:ext cx="219709" cy="137795"/>
            </a:xfrm>
            <a:custGeom>
              <a:avLst/>
              <a:gdLst/>
              <a:ahLst/>
              <a:cxnLst/>
              <a:rect l="l" t="t" r="r" b="b"/>
              <a:pathLst>
                <a:path w="219709" h="137795" extrusionOk="0">
                  <a:moveTo>
                    <a:pt x="219710" y="45720"/>
                  </a:moveTo>
                  <a:lnTo>
                    <a:pt x="198755" y="0"/>
                  </a:lnTo>
                  <a:lnTo>
                    <a:pt x="175895" y="10160"/>
                  </a:lnTo>
                  <a:lnTo>
                    <a:pt x="23495" y="80645"/>
                  </a:lnTo>
                  <a:lnTo>
                    <a:pt x="0" y="91440"/>
                  </a:lnTo>
                  <a:lnTo>
                    <a:pt x="21590" y="137795"/>
                  </a:lnTo>
                  <a:lnTo>
                    <a:pt x="44450" y="127000"/>
                  </a:lnTo>
                  <a:lnTo>
                    <a:pt x="196850"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647" name="Google Shape;647;p15"/>
            <p:cNvSpPr/>
            <p:nvPr/>
          </p:nvSpPr>
          <p:spPr>
            <a:xfrm>
              <a:off x="2649220" y="3962400"/>
              <a:ext cx="219709" cy="137795"/>
            </a:xfrm>
            <a:custGeom>
              <a:avLst/>
              <a:gdLst/>
              <a:ahLst/>
              <a:cxnLst/>
              <a:rect l="l" t="t" r="r" b="b"/>
              <a:pathLst>
                <a:path w="219709" h="137795" extrusionOk="0">
                  <a:moveTo>
                    <a:pt x="219710" y="45720"/>
                  </a:moveTo>
                  <a:lnTo>
                    <a:pt x="198755" y="0"/>
                  </a:lnTo>
                  <a:lnTo>
                    <a:pt x="175895" y="10160"/>
                  </a:lnTo>
                  <a:lnTo>
                    <a:pt x="23495" y="80645"/>
                  </a:lnTo>
                  <a:lnTo>
                    <a:pt x="0" y="91440"/>
                  </a:lnTo>
                  <a:lnTo>
                    <a:pt x="21590" y="137795"/>
                  </a:lnTo>
                  <a:lnTo>
                    <a:pt x="44450" y="127000"/>
                  </a:lnTo>
                  <a:lnTo>
                    <a:pt x="196850"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648" name="Google Shape;648;p15"/>
            <p:cNvSpPr/>
            <p:nvPr/>
          </p:nvSpPr>
          <p:spPr>
            <a:xfrm>
              <a:off x="3284220" y="4324350"/>
              <a:ext cx="219709" cy="137795"/>
            </a:xfrm>
            <a:custGeom>
              <a:avLst/>
              <a:gdLst/>
              <a:ahLst/>
              <a:cxnLst/>
              <a:rect l="l" t="t" r="r" b="b"/>
              <a:pathLst>
                <a:path w="219709" h="137795" extrusionOk="0">
                  <a:moveTo>
                    <a:pt x="219710" y="45720"/>
                  </a:moveTo>
                  <a:lnTo>
                    <a:pt x="198755" y="0"/>
                  </a:lnTo>
                  <a:lnTo>
                    <a:pt x="175895" y="10160"/>
                  </a:lnTo>
                  <a:lnTo>
                    <a:pt x="23495" y="80645"/>
                  </a:lnTo>
                  <a:lnTo>
                    <a:pt x="0" y="91440"/>
                  </a:lnTo>
                  <a:lnTo>
                    <a:pt x="21590" y="137795"/>
                  </a:lnTo>
                  <a:lnTo>
                    <a:pt x="44450" y="127000"/>
                  </a:lnTo>
                  <a:lnTo>
                    <a:pt x="196850"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649" name="Google Shape;649;p15"/>
            <p:cNvSpPr/>
            <p:nvPr/>
          </p:nvSpPr>
          <p:spPr>
            <a:xfrm>
              <a:off x="3919220" y="4686300"/>
              <a:ext cx="219709" cy="137795"/>
            </a:xfrm>
            <a:custGeom>
              <a:avLst/>
              <a:gdLst/>
              <a:ahLst/>
              <a:cxnLst/>
              <a:rect l="l" t="t" r="r" b="b"/>
              <a:pathLst>
                <a:path w="219709" h="137795" extrusionOk="0">
                  <a:moveTo>
                    <a:pt x="219710" y="45720"/>
                  </a:moveTo>
                  <a:lnTo>
                    <a:pt x="198755" y="0"/>
                  </a:lnTo>
                  <a:lnTo>
                    <a:pt x="175895" y="10160"/>
                  </a:lnTo>
                  <a:lnTo>
                    <a:pt x="23495" y="80645"/>
                  </a:lnTo>
                  <a:lnTo>
                    <a:pt x="0" y="91440"/>
                  </a:lnTo>
                  <a:lnTo>
                    <a:pt x="21590" y="137795"/>
                  </a:lnTo>
                  <a:lnTo>
                    <a:pt x="44450" y="127000"/>
                  </a:lnTo>
                  <a:lnTo>
                    <a:pt x="196850"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650" name="Google Shape;650;p15"/>
            <p:cNvSpPr/>
            <p:nvPr/>
          </p:nvSpPr>
          <p:spPr>
            <a:xfrm>
              <a:off x="4554220" y="5048250"/>
              <a:ext cx="219709" cy="137795"/>
            </a:xfrm>
            <a:custGeom>
              <a:avLst/>
              <a:gdLst/>
              <a:ahLst/>
              <a:cxnLst/>
              <a:rect l="l" t="t" r="r" b="b"/>
              <a:pathLst>
                <a:path w="219709" h="137795" extrusionOk="0">
                  <a:moveTo>
                    <a:pt x="44450" y="127000"/>
                  </a:moveTo>
                  <a:lnTo>
                    <a:pt x="196850" y="56515"/>
                  </a:lnTo>
                  <a:lnTo>
                    <a:pt x="219710" y="45720"/>
                  </a:lnTo>
                  <a:lnTo>
                    <a:pt x="198755" y="0"/>
                  </a:lnTo>
                  <a:lnTo>
                    <a:pt x="175895" y="10160"/>
                  </a:lnTo>
                  <a:lnTo>
                    <a:pt x="23495" y="80645"/>
                  </a:lnTo>
                  <a:lnTo>
                    <a:pt x="0" y="91440"/>
                  </a:lnTo>
                  <a:lnTo>
                    <a:pt x="21590" y="13779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651" name="Google Shape;651;p15"/>
            <p:cNvSpPr/>
            <p:nvPr/>
          </p:nvSpPr>
          <p:spPr>
            <a:xfrm>
              <a:off x="5189220" y="5410200"/>
              <a:ext cx="219709" cy="137795"/>
            </a:xfrm>
            <a:custGeom>
              <a:avLst/>
              <a:gdLst/>
              <a:ahLst/>
              <a:cxnLst/>
              <a:rect l="l" t="t" r="r" b="b"/>
              <a:pathLst>
                <a:path w="219709" h="137795" extrusionOk="0">
                  <a:moveTo>
                    <a:pt x="175895" y="10160"/>
                  </a:moveTo>
                  <a:lnTo>
                    <a:pt x="23495" y="80645"/>
                  </a:lnTo>
                  <a:lnTo>
                    <a:pt x="0" y="91440"/>
                  </a:lnTo>
                  <a:lnTo>
                    <a:pt x="21590" y="137795"/>
                  </a:lnTo>
                  <a:lnTo>
                    <a:pt x="44450" y="127000"/>
                  </a:lnTo>
                  <a:lnTo>
                    <a:pt x="196850" y="56515"/>
                  </a:lnTo>
                  <a:lnTo>
                    <a:pt x="219710" y="45720"/>
                  </a:lnTo>
                  <a:lnTo>
                    <a:pt x="19875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652" name="Google Shape;652;p15"/>
            <p:cNvSpPr/>
            <p:nvPr/>
          </p:nvSpPr>
          <p:spPr>
            <a:xfrm>
              <a:off x="5824220" y="5772150"/>
              <a:ext cx="219709" cy="137795"/>
            </a:xfrm>
            <a:custGeom>
              <a:avLst/>
              <a:gdLst/>
              <a:ahLst/>
              <a:cxnLst/>
              <a:rect l="l" t="t" r="r" b="b"/>
              <a:pathLst>
                <a:path w="219709" h="137795" extrusionOk="0">
                  <a:moveTo>
                    <a:pt x="175895" y="10160"/>
                  </a:moveTo>
                  <a:lnTo>
                    <a:pt x="23495" y="80645"/>
                  </a:lnTo>
                  <a:lnTo>
                    <a:pt x="0" y="91440"/>
                  </a:lnTo>
                  <a:lnTo>
                    <a:pt x="21590" y="137795"/>
                  </a:lnTo>
                  <a:lnTo>
                    <a:pt x="44450" y="127000"/>
                  </a:lnTo>
                  <a:lnTo>
                    <a:pt x="196850" y="56515"/>
                  </a:lnTo>
                  <a:lnTo>
                    <a:pt x="219710" y="45720"/>
                  </a:lnTo>
                  <a:lnTo>
                    <a:pt x="19875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653" name="Google Shape;653;p15"/>
            <p:cNvSpPr/>
            <p:nvPr/>
          </p:nvSpPr>
          <p:spPr>
            <a:xfrm>
              <a:off x="6459220" y="6134100"/>
              <a:ext cx="219710" cy="137795"/>
            </a:xfrm>
            <a:custGeom>
              <a:avLst/>
              <a:gdLst/>
              <a:ahLst/>
              <a:cxnLst/>
              <a:rect l="l" t="t" r="r" b="b"/>
              <a:pathLst>
                <a:path w="219710" h="137795" extrusionOk="0">
                  <a:moveTo>
                    <a:pt x="175895" y="10160"/>
                  </a:moveTo>
                  <a:lnTo>
                    <a:pt x="23495" y="80645"/>
                  </a:lnTo>
                  <a:lnTo>
                    <a:pt x="0" y="91440"/>
                  </a:lnTo>
                  <a:lnTo>
                    <a:pt x="21590" y="137795"/>
                  </a:lnTo>
                  <a:lnTo>
                    <a:pt x="44450" y="127000"/>
                  </a:lnTo>
                  <a:lnTo>
                    <a:pt x="196850" y="56515"/>
                  </a:lnTo>
                  <a:lnTo>
                    <a:pt x="219710" y="45720"/>
                  </a:lnTo>
                  <a:lnTo>
                    <a:pt x="19875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654" name="Google Shape;654;p15"/>
            <p:cNvSpPr/>
            <p:nvPr/>
          </p:nvSpPr>
          <p:spPr>
            <a:xfrm>
              <a:off x="7094219" y="6496050"/>
              <a:ext cx="219710" cy="137794"/>
            </a:xfrm>
            <a:custGeom>
              <a:avLst/>
              <a:gdLst/>
              <a:ahLst/>
              <a:cxnLst/>
              <a:rect l="l" t="t" r="r" b="b"/>
              <a:pathLst>
                <a:path w="219710" h="137794" extrusionOk="0">
                  <a:moveTo>
                    <a:pt x="175895" y="10160"/>
                  </a:moveTo>
                  <a:lnTo>
                    <a:pt x="23495" y="80645"/>
                  </a:lnTo>
                  <a:lnTo>
                    <a:pt x="0" y="91440"/>
                  </a:lnTo>
                  <a:lnTo>
                    <a:pt x="21590" y="137795"/>
                  </a:lnTo>
                  <a:lnTo>
                    <a:pt x="44450" y="127000"/>
                  </a:lnTo>
                  <a:lnTo>
                    <a:pt x="196850" y="56515"/>
                  </a:lnTo>
                  <a:lnTo>
                    <a:pt x="219711" y="45720"/>
                  </a:lnTo>
                  <a:lnTo>
                    <a:pt x="19875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655" name="Google Shape;655;p15"/>
            <p:cNvSpPr/>
            <p:nvPr/>
          </p:nvSpPr>
          <p:spPr>
            <a:xfrm>
              <a:off x="192404" y="2169795"/>
              <a:ext cx="214629" cy="102869"/>
            </a:xfrm>
            <a:custGeom>
              <a:avLst/>
              <a:gdLst/>
              <a:ahLst/>
              <a:cxnLst/>
              <a:rect l="l" t="t" r="r" b="b"/>
              <a:pathLst>
                <a:path w="214629" h="102869" extrusionOk="0">
                  <a:moveTo>
                    <a:pt x="24765" y="47625"/>
                  </a:moveTo>
                  <a:lnTo>
                    <a:pt x="0" y="53975"/>
                  </a:lnTo>
                  <a:lnTo>
                    <a:pt x="13335" y="102870"/>
                  </a:lnTo>
                  <a:lnTo>
                    <a:pt x="37465" y="96520"/>
                  </a:lnTo>
                  <a:lnTo>
                    <a:pt x="189865" y="55880"/>
                  </a:lnTo>
                  <a:lnTo>
                    <a:pt x="214630" y="48895"/>
                  </a:lnTo>
                  <a:lnTo>
                    <a:pt x="201295" y="0"/>
                  </a:lnTo>
                  <a:lnTo>
                    <a:pt x="177165" y="635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656" name="Google Shape;656;p15"/>
            <p:cNvSpPr/>
            <p:nvPr/>
          </p:nvSpPr>
          <p:spPr>
            <a:xfrm>
              <a:off x="827405" y="2531745"/>
              <a:ext cx="214630" cy="102869"/>
            </a:xfrm>
            <a:custGeom>
              <a:avLst/>
              <a:gdLst/>
              <a:ahLst/>
              <a:cxnLst/>
              <a:rect l="l" t="t" r="r" b="b"/>
              <a:pathLst>
                <a:path w="214630" h="102869" extrusionOk="0">
                  <a:moveTo>
                    <a:pt x="214630" y="48895"/>
                  </a:moveTo>
                  <a:lnTo>
                    <a:pt x="201295" y="0"/>
                  </a:lnTo>
                  <a:lnTo>
                    <a:pt x="177165" y="6350"/>
                  </a:lnTo>
                  <a:lnTo>
                    <a:pt x="24765" y="47625"/>
                  </a:lnTo>
                  <a:lnTo>
                    <a:pt x="0" y="53975"/>
                  </a:lnTo>
                  <a:lnTo>
                    <a:pt x="13335" y="102870"/>
                  </a:lnTo>
                  <a:lnTo>
                    <a:pt x="37465" y="96520"/>
                  </a:lnTo>
                  <a:lnTo>
                    <a:pt x="189865" y="558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657" name="Google Shape;657;p15"/>
            <p:cNvSpPr/>
            <p:nvPr/>
          </p:nvSpPr>
          <p:spPr>
            <a:xfrm>
              <a:off x="1462405" y="2893695"/>
              <a:ext cx="214630" cy="102869"/>
            </a:xfrm>
            <a:custGeom>
              <a:avLst/>
              <a:gdLst/>
              <a:ahLst/>
              <a:cxnLst/>
              <a:rect l="l" t="t" r="r" b="b"/>
              <a:pathLst>
                <a:path w="214630" h="102869" extrusionOk="0">
                  <a:moveTo>
                    <a:pt x="214630" y="48895"/>
                  </a:moveTo>
                  <a:lnTo>
                    <a:pt x="201295" y="0"/>
                  </a:lnTo>
                  <a:lnTo>
                    <a:pt x="177165" y="6350"/>
                  </a:lnTo>
                  <a:lnTo>
                    <a:pt x="24765" y="47625"/>
                  </a:lnTo>
                  <a:lnTo>
                    <a:pt x="0" y="53975"/>
                  </a:lnTo>
                  <a:lnTo>
                    <a:pt x="13335" y="102870"/>
                  </a:lnTo>
                  <a:lnTo>
                    <a:pt x="37465" y="96520"/>
                  </a:lnTo>
                  <a:lnTo>
                    <a:pt x="189865" y="558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658" name="Google Shape;658;p15"/>
            <p:cNvSpPr/>
            <p:nvPr/>
          </p:nvSpPr>
          <p:spPr>
            <a:xfrm>
              <a:off x="2097404" y="3255645"/>
              <a:ext cx="214630" cy="102870"/>
            </a:xfrm>
            <a:custGeom>
              <a:avLst/>
              <a:gdLst/>
              <a:ahLst/>
              <a:cxnLst/>
              <a:rect l="l" t="t" r="r" b="b"/>
              <a:pathLst>
                <a:path w="214630" h="102870" extrusionOk="0">
                  <a:moveTo>
                    <a:pt x="37465" y="96520"/>
                  </a:moveTo>
                  <a:lnTo>
                    <a:pt x="189865" y="55880"/>
                  </a:lnTo>
                  <a:lnTo>
                    <a:pt x="214630" y="48895"/>
                  </a:lnTo>
                  <a:lnTo>
                    <a:pt x="201295" y="0"/>
                  </a:lnTo>
                  <a:lnTo>
                    <a:pt x="177165" y="6350"/>
                  </a:lnTo>
                  <a:lnTo>
                    <a:pt x="24765" y="47625"/>
                  </a:lnTo>
                  <a:lnTo>
                    <a:pt x="0" y="53975"/>
                  </a:lnTo>
                  <a:lnTo>
                    <a:pt x="13335" y="10287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659" name="Google Shape;659;p15"/>
            <p:cNvSpPr/>
            <p:nvPr/>
          </p:nvSpPr>
          <p:spPr>
            <a:xfrm>
              <a:off x="2732404" y="3617595"/>
              <a:ext cx="214630" cy="102870"/>
            </a:xfrm>
            <a:custGeom>
              <a:avLst/>
              <a:gdLst/>
              <a:ahLst/>
              <a:cxnLst/>
              <a:rect l="l" t="t" r="r" b="b"/>
              <a:pathLst>
                <a:path w="214630" h="102870" extrusionOk="0">
                  <a:moveTo>
                    <a:pt x="214630" y="48895"/>
                  </a:moveTo>
                  <a:lnTo>
                    <a:pt x="201295" y="0"/>
                  </a:lnTo>
                  <a:lnTo>
                    <a:pt x="177165" y="6350"/>
                  </a:lnTo>
                  <a:lnTo>
                    <a:pt x="24765" y="47625"/>
                  </a:lnTo>
                  <a:lnTo>
                    <a:pt x="0" y="53975"/>
                  </a:lnTo>
                  <a:lnTo>
                    <a:pt x="13335" y="102870"/>
                  </a:lnTo>
                  <a:lnTo>
                    <a:pt x="37465" y="96520"/>
                  </a:lnTo>
                  <a:lnTo>
                    <a:pt x="189865" y="558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660" name="Google Shape;660;p15"/>
            <p:cNvSpPr/>
            <p:nvPr/>
          </p:nvSpPr>
          <p:spPr>
            <a:xfrm>
              <a:off x="3367404" y="3979545"/>
              <a:ext cx="214629" cy="102870"/>
            </a:xfrm>
            <a:custGeom>
              <a:avLst/>
              <a:gdLst/>
              <a:ahLst/>
              <a:cxnLst/>
              <a:rect l="l" t="t" r="r" b="b"/>
              <a:pathLst>
                <a:path w="214629" h="102870" extrusionOk="0">
                  <a:moveTo>
                    <a:pt x="214630" y="48895"/>
                  </a:moveTo>
                  <a:lnTo>
                    <a:pt x="201295" y="0"/>
                  </a:lnTo>
                  <a:lnTo>
                    <a:pt x="177165" y="6350"/>
                  </a:lnTo>
                  <a:lnTo>
                    <a:pt x="24765" y="47625"/>
                  </a:lnTo>
                  <a:lnTo>
                    <a:pt x="0" y="53975"/>
                  </a:lnTo>
                  <a:lnTo>
                    <a:pt x="13335" y="102870"/>
                  </a:lnTo>
                  <a:lnTo>
                    <a:pt x="37465" y="96520"/>
                  </a:lnTo>
                  <a:lnTo>
                    <a:pt x="189865" y="558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661" name="Google Shape;661;p15"/>
            <p:cNvSpPr/>
            <p:nvPr/>
          </p:nvSpPr>
          <p:spPr>
            <a:xfrm>
              <a:off x="4002404" y="4341495"/>
              <a:ext cx="214629" cy="102870"/>
            </a:xfrm>
            <a:custGeom>
              <a:avLst/>
              <a:gdLst/>
              <a:ahLst/>
              <a:cxnLst/>
              <a:rect l="l" t="t" r="r" b="b"/>
              <a:pathLst>
                <a:path w="214629" h="102870" extrusionOk="0">
                  <a:moveTo>
                    <a:pt x="214630" y="48895"/>
                  </a:moveTo>
                  <a:lnTo>
                    <a:pt x="201295" y="0"/>
                  </a:lnTo>
                  <a:lnTo>
                    <a:pt x="177165" y="6350"/>
                  </a:lnTo>
                  <a:lnTo>
                    <a:pt x="24765" y="47625"/>
                  </a:lnTo>
                  <a:lnTo>
                    <a:pt x="0" y="53975"/>
                  </a:lnTo>
                  <a:lnTo>
                    <a:pt x="13335" y="102870"/>
                  </a:lnTo>
                  <a:lnTo>
                    <a:pt x="37465" y="96520"/>
                  </a:lnTo>
                  <a:lnTo>
                    <a:pt x="189865" y="558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662" name="Google Shape;662;p15"/>
            <p:cNvSpPr/>
            <p:nvPr/>
          </p:nvSpPr>
          <p:spPr>
            <a:xfrm>
              <a:off x="4637404" y="4703445"/>
              <a:ext cx="214629" cy="102870"/>
            </a:xfrm>
            <a:custGeom>
              <a:avLst/>
              <a:gdLst/>
              <a:ahLst/>
              <a:cxnLst/>
              <a:rect l="l" t="t" r="r" b="b"/>
              <a:pathLst>
                <a:path w="214629" h="102870" extrusionOk="0">
                  <a:moveTo>
                    <a:pt x="214630" y="48895"/>
                  </a:moveTo>
                  <a:lnTo>
                    <a:pt x="201295" y="0"/>
                  </a:lnTo>
                  <a:lnTo>
                    <a:pt x="177165" y="6350"/>
                  </a:lnTo>
                  <a:lnTo>
                    <a:pt x="24765" y="47625"/>
                  </a:lnTo>
                  <a:lnTo>
                    <a:pt x="0" y="53975"/>
                  </a:lnTo>
                  <a:lnTo>
                    <a:pt x="13335" y="102870"/>
                  </a:lnTo>
                  <a:lnTo>
                    <a:pt x="37465" y="96520"/>
                  </a:lnTo>
                  <a:lnTo>
                    <a:pt x="189865" y="558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663" name="Google Shape;663;p15"/>
            <p:cNvSpPr/>
            <p:nvPr/>
          </p:nvSpPr>
          <p:spPr>
            <a:xfrm>
              <a:off x="5272404" y="5065395"/>
              <a:ext cx="214629" cy="102870"/>
            </a:xfrm>
            <a:custGeom>
              <a:avLst/>
              <a:gdLst/>
              <a:ahLst/>
              <a:cxnLst/>
              <a:rect l="l" t="t" r="r" b="b"/>
              <a:pathLst>
                <a:path w="214629" h="102870" extrusionOk="0">
                  <a:moveTo>
                    <a:pt x="177165" y="6350"/>
                  </a:moveTo>
                  <a:lnTo>
                    <a:pt x="24765" y="47625"/>
                  </a:lnTo>
                  <a:lnTo>
                    <a:pt x="0" y="53975"/>
                  </a:lnTo>
                  <a:lnTo>
                    <a:pt x="13335" y="102870"/>
                  </a:lnTo>
                  <a:lnTo>
                    <a:pt x="37465" y="96520"/>
                  </a:lnTo>
                  <a:lnTo>
                    <a:pt x="189865" y="55880"/>
                  </a:lnTo>
                  <a:lnTo>
                    <a:pt x="214630" y="48895"/>
                  </a:lnTo>
                  <a:lnTo>
                    <a:pt x="20129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664" name="Google Shape;664;p15"/>
            <p:cNvSpPr/>
            <p:nvPr/>
          </p:nvSpPr>
          <p:spPr>
            <a:xfrm>
              <a:off x="5907404" y="5427345"/>
              <a:ext cx="214629" cy="102870"/>
            </a:xfrm>
            <a:custGeom>
              <a:avLst/>
              <a:gdLst/>
              <a:ahLst/>
              <a:cxnLst/>
              <a:rect l="l" t="t" r="r" b="b"/>
              <a:pathLst>
                <a:path w="214629" h="102870" extrusionOk="0">
                  <a:moveTo>
                    <a:pt x="177165" y="6350"/>
                  </a:moveTo>
                  <a:lnTo>
                    <a:pt x="24765" y="47625"/>
                  </a:lnTo>
                  <a:lnTo>
                    <a:pt x="0" y="53975"/>
                  </a:lnTo>
                  <a:lnTo>
                    <a:pt x="13335" y="102870"/>
                  </a:lnTo>
                  <a:lnTo>
                    <a:pt x="37465" y="96520"/>
                  </a:lnTo>
                  <a:lnTo>
                    <a:pt x="189865" y="55880"/>
                  </a:lnTo>
                  <a:lnTo>
                    <a:pt x="214630" y="48895"/>
                  </a:lnTo>
                  <a:lnTo>
                    <a:pt x="20129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665" name="Google Shape;665;p15"/>
            <p:cNvSpPr/>
            <p:nvPr/>
          </p:nvSpPr>
          <p:spPr>
            <a:xfrm>
              <a:off x="6542405" y="5789295"/>
              <a:ext cx="214629" cy="102870"/>
            </a:xfrm>
            <a:custGeom>
              <a:avLst/>
              <a:gdLst/>
              <a:ahLst/>
              <a:cxnLst/>
              <a:rect l="l" t="t" r="r" b="b"/>
              <a:pathLst>
                <a:path w="214629" h="102870" extrusionOk="0">
                  <a:moveTo>
                    <a:pt x="177164" y="6350"/>
                  </a:moveTo>
                  <a:lnTo>
                    <a:pt x="24764" y="47625"/>
                  </a:lnTo>
                  <a:lnTo>
                    <a:pt x="0" y="53975"/>
                  </a:lnTo>
                  <a:lnTo>
                    <a:pt x="13335" y="102870"/>
                  </a:lnTo>
                  <a:lnTo>
                    <a:pt x="37464" y="96520"/>
                  </a:lnTo>
                  <a:lnTo>
                    <a:pt x="189864" y="55880"/>
                  </a:lnTo>
                  <a:lnTo>
                    <a:pt x="214630" y="48895"/>
                  </a:lnTo>
                  <a:lnTo>
                    <a:pt x="20129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666" name="Google Shape;666;p15"/>
            <p:cNvSpPr/>
            <p:nvPr/>
          </p:nvSpPr>
          <p:spPr>
            <a:xfrm>
              <a:off x="7177405" y="6151245"/>
              <a:ext cx="214629" cy="102870"/>
            </a:xfrm>
            <a:custGeom>
              <a:avLst/>
              <a:gdLst/>
              <a:ahLst/>
              <a:cxnLst/>
              <a:rect l="l" t="t" r="r" b="b"/>
              <a:pathLst>
                <a:path w="214629" h="102870" extrusionOk="0">
                  <a:moveTo>
                    <a:pt x="177164" y="6350"/>
                  </a:moveTo>
                  <a:lnTo>
                    <a:pt x="24764" y="47625"/>
                  </a:lnTo>
                  <a:lnTo>
                    <a:pt x="0" y="53975"/>
                  </a:lnTo>
                  <a:lnTo>
                    <a:pt x="13335" y="102870"/>
                  </a:lnTo>
                  <a:lnTo>
                    <a:pt x="37464" y="96520"/>
                  </a:lnTo>
                  <a:lnTo>
                    <a:pt x="189864" y="55880"/>
                  </a:lnTo>
                  <a:lnTo>
                    <a:pt x="214630" y="48895"/>
                  </a:lnTo>
                  <a:lnTo>
                    <a:pt x="20129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667" name="Google Shape;667;p15"/>
            <p:cNvSpPr/>
            <p:nvPr/>
          </p:nvSpPr>
          <p:spPr>
            <a:xfrm>
              <a:off x="7812405" y="6513194"/>
              <a:ext cx="214629" cy="102870"/>
            </a:xfrm>
            <a:custGeom>
              <a:avLst/>
              <a:gdLst/>
              <a:ahLst/>
              <a:cxnLst/>
              <a:rect l="l" t="t" r="r" b="b"/>
              <a:pathLst>
                <a:path w="214629" h="102870" extrusionOk="0">
                  <a:moveTo>
                    <a:pt x="177164" y="6350"/>
                  </a:moveTo>
                  <a:lnTo>
                    <a:pt x="24764" y="47625"/>
                  </a:lnTo>
                  <a:lnTo>
                    <a:pt x="0" y="53975"/>
                  </a:lnTo>
                  <a:lnTo>
                    <a:pt x="13335" y="102870"/>
                  </a:lnTo>
                  <a:lnTo>
                    <a:pt x="37464" y="96520"/>
                  </a:lnTo>
                  <a:lnTo>
                    <a:pt x="189864" y="55880"/>
                  </a:lnTo>
                  <a:lnTo>
                    <a:pt x="214630" y="48895"/>
                  </a:lnTo>
                  <a:lnTo>
                    <a:pt x="20129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668" name="Google Shape;668;p15"/>
            <p:cNvSpPr/>
            <p:nvPr/>
          </p:nvSpPr>
          <p:spPr>
            <a:xfrm>
              <a:off x="233045" y="1827529"/>
              <a:ext cx="206374" cy="63500"/>
            </a:xfrm>
            <a:custGeom>
              <a:avLst/>
              <a:gdLst/>
              <a:ahLst/>
              <a:cxnLst/>
              <a:rect l="l" t="t" r="r" b="b"/>
              <a:pathLst>
                <a:path w="206374" h="63500" extrusionOk="0">
                  <a:moveTo>
                    <a:pt x="206375" y="50800"/>
                  </a:moveTo>
                  <a:lnTo>
                    <a:pt x="203200" y="0"/>
                  </a:lnTo>
                  <a:lnTo>
                    <a:pt x="177800" y="1905"/>
                  </a:lnTo>
                  <a:lnTo>
                    <a:pt x="25400" y="11430"/>
                  </a:lnTo>
                  <a:lnTo>
                    <a:pt x="0" y="12700"/>
                  </a:lnTo>
                  <a:lnTo>
                    <a:pt x="3175" y="63500"/>
                  </a:lnTo>
                  <a:lnTo>
                    <a:pt x="28575" y="62230"/>
                  </a:lnTo>
                  <a:lnTo>
                    <a:pt x="180975" y="5270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669" name="Google Shape;669;p15"/>
            <p:cNvSpPr/>
            <p:nvPr/>
          </p:nvSpPr>
          <p:spPr>
            <a:xfrm>
              <a:off x="868044" y="2189479"/>
              <a:ext cx="206375" cy="63500"/>
            </a:xfrm>
            <a:custGeom>
              <a:avLst/>
              <a:gdLst/>
              <a:ahLst/>
              <a:cxnLst/>
              <a:rect l="l" t="t" r="r" b="b"/>
              <a:pathLst>
                <a:path w="206375" h="63500" extrusionOk="0">
                  <a:moveTo>
                    <a:pt x="206375" y="50800"/>
                  </a:moveTo>
                  <a:lnTo>
                    <a:pt x="203200" y="0"/>
                  </a:lnTo>
                  <a:lnTo>
                    <a:pt x="177800" y="1905"/>
                  </a:lnTo>
                  <a:lnTo>
                    <a:pt x="25400" y="11430"/>
                  </a:lnTo>
                  <a:lnTo>
                    <a:pt x="0" y="12700"/>
                  </a:lnTo>
                  <a:lnTo>
                    <a:pt x="3175" y="63500"/>
                  </a:lnTo>
                  <a:lnTo>
                    <a:pt x="28575" y="62230"/>
                  </a:lnTo>
                  <a:lnTo>
                    <a:pt x="180975" y="5270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670" name="Google Shape;670;p15"/>
            <p:cNvSpPr/>
            <p:nvPr/>
          </p:nvSpPr>
          <p:spPr>
            <a:xfrm>
              <a:off x="1503044" y="2551429"/>
              <a:ext cx="206375" cy="63500"/>
            </a:xfrm>
            <a:custGeom>
              <a:avLst/>
              <a:gdLst/>
              <a:ahLst/>
              <a:cxnLst/>
              <a:rect l="l" t="t" r="r" b="b"/>
              <a:pathLst>
                <a:path w="206375" h="63500" extrusionOk="0">
                  <a:moveTo>
                    <a:pt x="206375" y="50800"/>
                  </a:moveTo>
                  <a:lnTo>
                    <a:pt x="203200" y="0"/>
                  </a:lnTo>
                  <a:lnTo>
                    <a:pt x="177800" y="1905"/>
                  </a:lnTo>
                  <a:lnTo>
                    <a:pt x="25400" y="11430"/>
                  </a:lnTo>
                  <a:lnTo>
                    <a:pt x="0" y="12700"/>
                  </a:lnTo>
                  <a:lnTo>
                    <a:pt x="3175" y="63500"/>
                  </a:lnTo>
                  <a:lnTo>
                    <a:pt x="28575" y="62230"/>
                  </a:lnTo>
                  <a:lnTo>
                    <a:pt x="180975" y="5270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671" name="Google Shape;671;p15"/>
            <p:cNvSpPr/>
            <p:nvPr/>
          </p:nvSpPr>
          <p:spPr>
            <a:xfrm>
              <a:off x="2138045" y="2913379"/>
              <a:ext cx="206375" cy="63500"/>
            </a:xfrm>
            <a:custGeom>
              <a:avLst/>
              <a:gdLst/>
              <a:ahLst/>
              <a:cxnLst/>
              <a:rect l="l" t="t" r="r" b="b"/>
              <a:pathLst>
                <a:path w="206375" h="63500" extrusionOk="0">
                  <a:moveTo>
                    <a:pt x="206375" y="50800"/>
                  </a:moveTo>
                  <a:lnTo>
                    <a:pt x="203200" y="0"/>
                  </a:lnTo>
                  <a:lnTo>
                    <a:pt x="177800" y="1905"/>
                  </a:lnTo>
                  <a:lnTo>
                    <a:pt x="25400" y="11430"/>
                  </a:lnTo>
                  <a:lnTo>
                    <a:pt x="0" y="12700"/>
                  </a:lnTo>
                  <a:lnTo>
                    <a:pt x="3175" y="63500"/>
                  </a:lnTo>
                  <a:lnTo>
                    <a:pt x="28575" y="62230"/>
                  </a:lnTo>
                  <a:lnTo>
                    <a:pt x="180975" y="5270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672" name="Google Shape;672;p15"/>
            <p:cNvSpPr/>
            <p:nvPr/>
          </p:nvSpPr>
          <p:spPr>
            <a:xfrm>
              <a:off x="2773045" y="3275329"/>
              <a:ext cx="206375" cy="63500"/>
            </a:xfrm>
            <a:custGeom>
              <a:avLst/>
              <a:gdLst/>
              <a:ahLst/>
              <a:cxnLst/>
              <a:rect l="l" t="t" r="r" b="b"/>
              <a:pathLst>
                <a:path w="206375" h="63500" extrusionOk="0">
                  <a:moveTo>
                    <a:pt x="206375" y="50800"/>
                  </a:moveTo>
                  <a:lnTo>
                    <a:pt x="203200" y="0"/>
                  </a:lnTo>
                  <a:lnTo>
                    <a:pt x="177800" y="1905"/>
                  </a:lnTo>
                  <a:lnTo>
                    <a:pt x="25400" y="11430"/>
                  </a:lnTo>
                  <a:lnTo>
                    <a:pt x="0" y="12700"/>
                  </a:lnTo>
                  <a:lnTo>
                    <a:pt x="3175" y="63500"/>
                  </a:lnTo>
                  <a:lnTo>
                    <a:pt x="28575" y="62230"/>
                  </a:lnTo>
                  <a:lnTo>
                    <a:pt x="180975" y="5270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673" name="Google Shape;673;p15"/>
            <p:cNvSpPr/>
            <p:nvPr/>
          </p:nvSpPr>
          <p:spPr>
            <a:xfrm>
              <a:off x="3408045" y="3637279"/>
              <a:ext cx="206375" cy="63500"/>
            </a:xfrm>
            <a:custGeom>
              <a:avLst/>
              <a:gdLst/>
              <a:ahLst/>
              <a:cxnLst/>
              <a:rect l="l" t="t" r="r" b="b"/>
              <a:pathLst>
                <a:path w="206375" h="63500" extrusionOk="0">
                  <a:moveTo>
                    <a:pt x="206375" y="50800"/>
                  </a:moveTo>
                  <a:lnTo>
                    <a:pt x="203200" y="0"/>
                  </a:lnTo>
                  <a:lnTo>
                    <a:pt x="177800" y="1905"/>
                  </a:lnTo>
                  <a:lnTo>
                    <a:pt x="25400" y="11430"/>
                  </a:lnTo>
                  <a:lnTo>
                    <a:pt x="0" y="12700"/>
                  </a:lnTo>
                  <a:lnTo>
                    <a:pt x="3175" y="63500"/>
                  </a:lnTo>
                  <a:lnTo>
                    <a:pt x="28575" y="62230"/>
                  </a:lnTo>
                  <a:lnTo>
                    <a:pt x="180975" y="5270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674" name="Google Shape;674;p15"/>
            <p:cNvSpPr/>
            <p:nvPr/>
          </p:nvSpPr>
          <p:spPr>
            <a:xfrm>
              <a:off x="4043045" y="3999229"/>
              <a:ext cx="206375" cy="63500"/>
            </a:xfrm>
            <a:custGeom>
              <a:avLst/>
              <a:gdLst/>
              <a:ahLst/>
              <a:cxnLst/>
              <a:rect l="l" t="t" r="r" b="b"/>
              <a:pathLst>
                <a:path w="206375" h="63500" extrusionOk="0">
                  <a:moveTo>
                    <a:pt x="206375" y="50800"/>
                  </a:moveTo>
                  <a:lnTo>
                    <a:pt x="203200" y="0"/>
                  </a:lnTo>
                  <a:lnTo>
                    <a:pt x="177800" y="1905"/>
                  </a:lnTo>
                  <a:lnTo>
                    <a:pt x="25400" y="11430"/>
                  </a:lnTo>
                  <a:lnTo>
                    <a:pt x="0" y="12700"/>
                  </a:lnTo>
                  <a:lnTo>
                    <a:pt x="3175" y="63500"/>
                  </a:lnTo>
                  <a:lnTo>
                    <a:pt x="28575" y="62230"/>
                  </a:lnTo>
                  <a:lnTo>
                    <a:pt x="180975" y="5270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675" name="Google Shape;675;p15"/>
            <p:cNvSpPr/>
            <p:nvPr/>
          </p:nvSpPr>
          <p:spPr>
            <a:xfrm>
              <a:off x="4678045" y="4361179"/>
              <a:ext cx="206375" cy="63500"/>
            </a:xfrm>
            <a:custGeom>
              <a:avLst/>
              <a:gdLst/>
              <a:ahLst/>
              <a:cxnLst/>
              <a:rect l="l" t="t" r="r" b="b"/>
              <a:pathLst>
                <a:path w="206375" h="63500" extrusionOk="0">
                  <a:moveTo>
                    <a:pt x="206375" y="50800"/>
                  </a:moveTo>
                  <a:lnTo>
                    <a:pt x="203200" y="0"/>
                  </a:lnTo>
                  <a:lnTo>
                    <a:pt x="177800" y="1905"/>
                  </a:lnTo>
                  <a:lnTo>
                    <a:pt x="25400" y="11430"/>
                  </a:lnTo>
                  <a:lnTo>
                    <a:pt x="0" y="12700"/>
                  </a:lnTo>
                  <a:lnTo>
                    <a:pt x="3175" y="63500"/>
                  </a:lnTo>
                  <a:lnTo>
                    <a:pt x="28575" y="62230"/>
                  </a:lnTo>
                  <a:lnTo>
                    <a:pt x="180975" y="5270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676" name="Google Shape;676;p15"/>
            <p:cNvSpPr/>
            <p:nvPr/>
          </p:nvSpPr>
          <p:spPr>
            <a:xfrm>
              <a:off x="5313045" y="4723129"/>
              <a:ext cx="206375" cy="63500"/>
            </a:xfrm>
            <a:custGeom>
              <a:avLst/>
              <a:gdLst/>
              <a:ahLst/>
              <a:cxnLst/>
              <a:rect l="l" t="t" r="r" b="b"/>
              <a:pathLst>
                <a:path w="206375" h="63500" extrusionOk="0">
                  <a:moveTo>
                    <a:pt x="203200" y="0"/>
                  </a:moveTo>
                  <a:lnTo>
                    <a:pt x="177800" y="1905"/>
                  </a:lnTo>
                  <a:lnTo>
                    <a:pt x="25400" y="11430"/>
                  </a:lnTo>
                  <a:lnTo>
                    <a:pt x="0" y="12700"/>
                  </a:lnTo>
                  <a:lnTo>
                    <a:pt x="3175" y="63500"/>
                  </a:lnTo>
                  <a:lnTo>
                    <a:pt x="28575" y="62230"/>
                  </a:lnTo>
                  <a:lnTo>
                    <a:pt x="180975" y="52705"/>
                  </a:lnTo>
                  <a:lnTo>
                    <a:pt x="206375" y="5080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677" name="Google Shape;677;p15"/>
            <p:cNvSpPr/>
            <p:nvPr/>
          </p:nvSpPr>
          <p:spPr>
            <a:xfrm>
              <a:off x="5948045" y="5085079"/>
              <a:ext cx="206375" cy="63500"/>
            </a:xfrm>
            <a:custGeom>
              <a:avLst/>
              <a:gdLst/>
              <a:ahLst/>
              <a:cxnLst/>
              <a:rect l="l" t="t" r="r" b="b"/>
              <a:pathLst>
                <a:path w="206375" h="63500" extrusionOk="0">
                  <a:moveTo>
                    <a:pt x="177800" y="1905"/>
                  </a:moveTo>
                  <a:lnTo>
                    <a:pt x="25400" y="11430"/>
                  </a:lnTo>
                  <a:lnTo>
                    <a:pt x="0" y="12700"/>
                  </a:lnTo>
                  <a:lnTo>
                    <a:pt x="3175" y="63500"/>
                  </a:lnTo>
                  <a:lnTo>
                    <a:pt x="28575" y="62230"/>
                  </a:lnTo>
                  <a:lnTo>
                    <a:pt x="180975" y="52705"/>
                  </a:lnTo>
                  <a:lnTo>
                    <a:pt x="206375" y="50800"/>
                  </a:lnTo>
                  <a:lnTo>
                    <a:pt x="20320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678" name="Google Shape;678;p15"/>
            <p:cNvSpPr/>
            <p:nvPr/>
          </p:nvSpPr>
          <p:spPr>
            <a:xfrm>
              <a:off x="6583044" y="5447029"/>
              <a:ext cx="206375" cy="63500"/>
            </a:xfrm>
            <a:custGeom>
              <a:avLst/>
              <a:gdLst/>
              <a:ahLst/>
              <a:cxnLst/>
              <a:rect l="l" t="t" r="r" b="b"/>
              <a:pathLst>
                <a:path w="206375" h="63500" extrusionOk="0">
                  <a:moveTo>
                    <a:pt x="177800" y="1905"/>
                  </a:moveTo>
                  <a:lnTo>
                    <a:pt x="25400" y="11430"/>
                  </a:lnTo>
                  <a:lnTo>
                    <a:pt x="0" y="12700"/>
                  </a:lnTo>
                  <a:lnTo>
                    <a:pt x="3175" y="63500"/>
                  </a:lnTo>
                  <a:lnTo>
                    <a:pt x="28575" y="62230"/>
                  </a:lnTo>
                  <a:lnTo>
                    <a:pt x="180975" y="52705"/>
                  </a:lnTo>
                  <a:lnTo>
                    <a:pt x="206375" y="50800"/>
                  </a:lnTo>
                  <a:lnTo>
                    <a:pt x="20320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679" name="Google Shape;679;p15"/>
            <p:cNvSpPr/>
            <p:nvPr/>
          </p:nvSpPr>
          <p:spPr>
            <a:xfrm>
              <a:off x="7218044" y="5808979"/>
              <a:ext cx="206375" cy="63500"/>
            </a:xfrm>
            <a:custGeom>
              <a:avLst/>
              <a:gdLst/>
              <a:ahLst/>
              <a:cxnLst/>
              <a:rect l="l" t="t" r="r" b="b"/>
              <a:pathLst>
                <a:path w="206375" h="63500" extrusionOk="0">
                  <a:moveTo>
                    <a:pt x="177800" y="1905"/>
                  </a:moveTo>
                  <a:lnTo>
                    <a:pt x="25400" y="11430"/>
                  </a:lnTo>
                  <a:lnTo>
                    <a:pt x="0" y="12700"/>
                  </a:lnTo>
                  <a:lnTo>
                    <a:pt x="3175" y="63500"/>
                  </a:lnTo>
                  <a:lnTo>
                    <a:pt x="28575" y="62230"/>
                  </a:lnTo>
                  <a:lnTo>
                    <a:pt x="180975" y="52705"/>
                  </a:lnTo>
                  <a:lnTo>
                    <a:pt x="206375" y="50800"/>
                  </a:lnTo>
                  <a:lnTo>
                    <a:pt x="20320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680" name="Google Shape;680;p15"/>
            <p:cNvSpPr/>
            <p:nvPr/>
          </p:nvSpPr>
          <p:spPr>
            <a:xfrm>
              <a:off x="7853044" y="6170929"/>
              <a:ext cx="206375" cy="63500"/>
            </a:xfrm>
            <a:custGeom>
              <a:avLst/>
              <a:gdLst/>
              <a:ahLst/>
              <a:cxnLst/>
              <a:rect l="l" t="t" r="r" b="b"/>
              <a:pathLst>
                <a:path w="206375" h="63500" extrusionOk="0">
                  <a:moveTo>
                    <a:pt x="177800" y="1905"/>
                  </a:moveTo>
                  <a:lnTo>
                    <a:pt x="25400" y="11430"/>
                  </a:lnTo>
                  <a:lnTo>
                    <a:pt x="0" y="12700"/>
                  </a:lnTo>
                  <a:lnTo>
                    <a:pt x="3175" y="63500"/>
                  </a:lnTo>
                  <a:lnTo>
                    <a:pt x="28575" y="62230"/>
                  </a:lnTo>
                  <a:lnTo>
                    <a:pt x="180975" y="52705"/>
                  </a:lnTo>
                  <a:lnTo>
                    <a:pt x="206375" y="50800"/>
                  </a:lnTo>
                  <a:lnTo>
                    <a:pt x="20320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681" name="Google Shape;681;p15"/>
            <p:cNvSpPr/>
            <p:nvPr/>
          </p:nvSpPr>
          <p:spPr>
            <a:xfrm>
              <a:off x="8488044" y="6532880"/>
              <a:ext cx="206375" cy="63500"/>
            </a:xfrm>
            <a:custGeom>
              <a:avLst/>
              <a:gdLst/>
              <a:ahLst/>
              <a:cxnLst/>
              <a:rect l="l" t="t" r="r" b="b"/>
              <a:pathLst>
                <a:path w="206375" h="63500" extrusionOk="0">
                  <a:moveTo>
                    <a:pt x="177800" y="1905"/>
                  </a:moveTo>
                  <a:lnTo>
                    <a:pt x="25400" y="11430"/>
                  </a:lnTo>
                  <a:lnTo>
                    <a:pt x="0" y="12700"/>
                  </a:lnTo>
                  <a:lnTo>
                    <a:pt x="3175" y="63500"/>
                  </a:lnTo>
                  <a:lnTo>
                    <a:pt x="28575" y="62230"/>
                  </a:lnTo>
                  <a:lnTo>
                    <a:pt x="180975" y="52705"/>
                  </a:lnTo>
                  <a:lnTo>
                    <a:pt x="206375" y="50800"/>
                  </a:lnTo>
                  <a:lnTo>
                    <a:pt x="20320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682" name="Google Shape;682;p15"/>
            <p:cNvSpPr/>
            <p:nvPr/>
          </p:nvSpPr>
          <p:spPr>
            <a:xfrm>
              <a:off x="222250" y="1457325"/>
              <a:ext cx="209550" cy="80010"/>
            </a:xfrm>
            <a:custGeom>
              <a:avLst/>
              <a:gdLst/>
              <a:ahLst/>
              <a:cxnLst/>
              <a:rect l="l" t="t" r="r" b="b"/>
              <a:pathLst>
                <a:path w="209550" h="80010" extrusionOk="0">
                  <a:moveTo>
                    <a:pt x="32385" y="3810"/>
                  </a:moveTo>
                  <a:lnTo>
                    <a:pt x="6985" y="0"/>
                  </a:lnTo>
                  <a:lnTo>
                    <a:pt x="0" y="50800"/>
                  </a:lnTo>
                  <a:lnTo>
                    <a:pt x="24765" y="53975"/>
                  </a:lnTo>
                  <a:lnTo>
                    <a:pt x="177165" y="76200"/>
                  </a:lnTo>
                  <a:lnTo>
                    <a:pt x="202565" y="80010"/>
                  </a:lnTo>
                  <a:lnTo>
                    <a:pt x="209550" y="29845"/>
                  </a:lnTo>
                  <a:lnTo>
                    <a:pt x="184785" y="2603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683" name="Google Shape;683;p15"/>
            <p:cNvSpPr/>
            <p:nvPr/>
          </p:nvSpPr>
          <p:spPr>
            <a:xfrm>
              <a:off x="857250" y="1819275"/>
              <a:ext cx="209550" cy="80010"/>
            </a:xfrm>
            <a:custGeom>
              <a:avLst/>
              <a:gdLst/>
              <a:ahLst/>
              <a:cxnLst/>
              <a:rect l="l" t="t" r="r" b="b"/>
              <a:pathLst>
                <a:path w="209550" h="80010" extrusionOk="0">
                  <a:moveTo>
                    <a:pt x="6985" y="0"/>
                  </a:moveTo>
                  <a:lnTo>
                    <a:pt x="0" y="50800"/>
                  </a:lnTo>
                  <a:lnTo>
                    <a:pt x="24765" y="53975"/>
                  </a:lnTo>
                  <a:lnTo>
                    <a:pt x="177165" y="76200"/>
                  </a:lnTo>
                  <a:lnTo>
                    <a:pt x="202565" y="80010"/>
                  </a:lnTo>
                  <a:lnTo>
                    <a:pt x="209550" y="29845"/>
                  </a:lnTo>
                  <a:lnTo>
                    <a:pt x="184785" y="26035"/>
                  </a:lnTo>
                  <a:lnTo>
                    <a:pt x="32385" y="381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684" name="Google Shape;684;p15"/>
            <p:cNvSpPr/>
            <p:nvPr/>
          </p:nvSpPr>
          <p:spPr>
            <a:xfrm>
              <a:off x="1492250" y="2181225"/>
              <a:ext cx="209550" cy="80010"/>
            </a:xfrm>
            <a:custGeom>
              <a:avLst/>
              <a:gdLst/>
              <a:ahLst/>
              <a:cxnLst/>
              <a:rect l="l" t="t" r="r" b="b"/>
              <a:pathLst>
                <a:path w="209550" h="80010" extrusionOk="0">
                  <a:moveTo>
                    <a:pt x="6985" y="0"/>
                  </a:moveTo>
                  <a:lnTo>
                    <a:pt x="0" y="50800"/>
                  </a:lnTo>
                  <a:lnTo>
                    <a:pt x="24765" y="53975"/>
                  </a:lnTo>
                  <a:lnTo>
                    <a:pt x="177165" y="76200"/>
                  </a:lnTo>
                  <a:lnTo>
                    <a:pt x="202565" y="80010"/>
                  </a:lnTo>
                  <a:lnTo>
                    <a:pt x="209550" y="29845"/>
                  </a:lnTo>
                  <a:lnTo>
                    <a:pt x="184785" y="26035"/>
                  </a:lnTo>
                  <a:lnTo>
                    <a:pt x="32385" y="381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685" name="Google Shape;685;p15"/>
            <p:cNvSpPr/>
            <p:nvPr/>
          </p:nvSpPr>
          <p:spPr>
            <a:xfrm>
              <a:off x="2127250" y="2543175"/>
              <a:ext cx="209550" cy="80010"/>
            </a:xfrm>
            <a:custGeom>
              <a:avLst/>
              <a:gdLst/>
              <a:ahLst/>
              <a:cxnLst/>
              <a:rect l="l" t="t" r="r" b="b"/>
              <a:pathLst>
                <a:path w="209550" h="80010" extrusionOk="0">
                  <a:moveTo>
                    <a:pt x="6985" y="0"/>
                  </a:moveTo>
                  <a:lnTo>
                    <a:pt x="0" y="50800"/>
                  </a:lnTo>
                  <a:lnTo>
                    <a:pt x="24765" y="53975"/>
                  </a:lnTo>
                  <a:lnTo>
                    <a:pt x="177165" y="76200"/>
                  </a:lnTo>
                  <a:lnTo>
                    <a:pt x="202565" y="80010"/>
                  </a:lnTo>
                  <a:lnTo>
                    <a:pt x="209550" y="29845"/>
                  </a:lnTo>
                  <a:lnTo>
                    <a:pt x="184785" y="26035"/>
                  </a:lnTo>
                  <a:lnTo>
                    <a:pt x="32385" y="381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686" name="Google Shape;686;p15"/>
            <p:cNvSpPr/>
            <p:nvPr/>
          </p:nvSpPr>
          <p:spPr>
            <a:xfrm>
              <a:off x="2762250" y="2905125"/>
              <a:ext cx="209550" cy="80010"/>
            </a:xfrm>
            <a:custGeom>
              <a:avLst/>
              <a:gdLst/>
              <a:ahLst/>
              <a:cxnLst/>
              <a:rect l="l" t="t" r="r" b="b"/>
              <a:pathLst>
                <a:path w="209550" h="80010" extrusionOk="0">
                  <a:moveTo>
                    <a:pt x="177165" y="76200"/>
                  </a:moveTo>
                  <a:lnTo>
                    <a:pt x="202565" y="80010"/>
                  </a:lnTo>
                  <a:lnTo>
                    <a:pt x="209550" y="29845"/>
                  </a:lnTo>
                  <a:lnTo>
                    <a:pt x="184785" y="26035"/>
                  </a:lnTo>
                  <a:lnTo>
                    <a:pt x="32385" y="3810"/>
                  </a:lnTo>
                  <a:lnTo>
                    <a:pt x="6985" y="0"/>
                  </a:lnTo>
                  <a:lnTo>
                    <a:pt x="0" y="50800"/>
                  </a:lnTo>
                  <a:lnTo>
                    <a:pt x="24765" y="5397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687" name="Google Shape;687;p15"/>
            <p:cNvSpPr/>
            <p:nvPr/>
          </p:nvSpPr>
          <p:spPr>
            <a:xfrm>
              <a:off x="3397250" y="3267075"/>
              <a:ext cx="209550" cy="80009"/>
            </a:xfrm>
            <a:custGeom>
              <a:avLst/>
              <a:gdLst/>
              <a:ahLst/>
              <a:cxnLst/>
              <a:rect l="l" t="t" r="r" b="b"/>
              <a:pathLst>
                <a:path w="209550" h="80009" extrusionOk="0">
                  <a:moveTo>
                    <a:pt x="177165" y="76200"/>
                  </a:moveTo>
                  <a:lnTo>
                    <a:pt x="202565" y="80010"/>
                  </a:lnTo>
                  <a:lnTo>
                    <a:pt x="209550" y="29845"/>
                  </a:lnTo>
                  <a:lnTo>
                    <a:pt x="184785" y="26035"/>
                  </a:lnTo>
                  <a:lnTo>
                    <a:pt x="32385" y="3810"/>
                  </a:lnTo>
                  <a:lnTo>
                    <a:pt x="6985" y="0"/>
                  </a:lnTo>
                  <a:lnTo>
                    <a:pt x="0" y="50800"/>
                  </a:lnTo>
                  <a:lnTo>
                    <a:pt x="24765" y="5397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688" name="Google Shape;688;p15"/>
            <p:cNvSpPr/>
            <p:nvPr/>
          </p:nvSpPr>
          <p:spPr>
            <a:xfrm>
              <a:off x="4032250" y="3629025"/>
              <a:ext cx="209550" cy="80009"/>
            </a:xfrm>
            <a:custGeom>
              <a:avLst/>
              <a:gdLst/>
              <a:ahLst/>
              <a:cxnLst/>
              <a:rect l="l" t="t" r="r" b="b"/>
              <a:pathLst>
                <a:path w="209550" h="80009" extrusionOk="0">
                  <a:moveTo>
                    <a:pt x="177165" y="76200"/>
                  </a:moveTo>
                  <a:lnTo>
                    <a:pt x="202565" y="80010"/>
                  </a:lnTo>
                  <a:lnTo>
                    <a:pt x="209550" y="29845"/>
                  </a:lnTo>
                  <a:lnTo>
                    <a:pt x="184785" y="26035"/>
                  </a:lnTo>
                  <a:lnTo>
                    <a:pt x="32385" y="3810"/>
                  </a:lnTo>
                  <a:lnTo>
                    <a:pt x="6985" y="0"/>
                  </a:lnTo>
                  <a:lnTo>
                    <a:pt x="0" y="50800"/>
                  </a:lnTo>
                  <a:lnTo>
                    <a:pt x="24765" y="5397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689" name="Google Shape;689;p15"/>
            <p:cNvSpPr/>
            <p:nvPr/>
          </p:nvSpPr>
          <p:spPr>
            <a:xfrm>
              <a:off x="4667250" y="3990975"/>
              <a:ext cx="209550" cy="80009"/>
            </a:xfrm>
            <a:custGeom>
              <a:avLst/>
              <a:gdLst/>
              <a:ahLst/>
              <a:cxnLst/>
              <a:rect l="l" t="t" r="r" b="b"/>
              <a:pathLst>
                <a:path w="209550" h="80009" extrusionOk="0">
                  <a:moveTo>
                    <a:pt x="177165" y="76200"/>
                  </a:moveTo>
                  <a:lnTo>
                    <a:pt x="202565" y="80010"/>
                  </a:lnTo>
                  <a:lnTo>
                    <a:pt x="209550" y="29845"/>
                  </a:lnTo>
                  <a:lnTo>
                    <a:pt x="184785" y="26035"/>
                  </a:lnTo>
                  <a:lnTo>
                    <a:pt x="32385" y="3810"/>
                  </a:lnTo>
                  <a:lnTo>
                    <a:pt x="6985" y="0"/>
                  </a:lnTo>
                  <a:lnTo>
                    <a:pt x="0" y="50800"/>
                  </a:lnTo>
                  <a:lnTo>
                    <a:pt x="24765" y="5397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690" name="Google Shape;690;p15"/>
            <p:cNvSpPr/>
            <p:nvPr/>
          </p:nvSpPr>
          <p:spPr>
            <a:xfrm>
              <a:off x="5302250" y="4352925"/>
              <a:ext cx="209550" cy="80009"/>
            </a:xfrm>
            <a:custGeom>
              <a:avLst/>
              <a:gdLst/>
              <a:ahLst/>
              <a:cxnLst/>
              <a:rect l="l" t="t" r="r" b="b"/>
              <a:pathLst>
                <a:path w="209550" h="80009" extrusionOk="0">
                  <a:moveTo>
                    <a:pt x="177165" y="76200"/>
                  </a:moveTo>
                  <a:lnTo>
                    <a:pt x="202565" y="80010"/>
                  </a:lnTo>
                  <a:lnTo>
                    <a:pt x="209550" y="29845"/>
                  </a:lnTo>
                  <a:lnTo>
                    <a:pt x="184785" y="26035"/>
                  </a:lnTo>
                  <a:lnTo>
                    <a:pt x="32385" y="3810"/>
                  </a:lnTo>
                  <a:lnTo>
                    <a:pt x="6985" y="0"/>
                  </a:lnTo>
                  <a:lnTo>
                    <a:pt x="0" y="50800"/>
                  </a:lnTo>
                  <a:lnTo>
                    <a:pt x="24765" y="5397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691" name="Google Shape;691;p15"/>
            <p:cNvSpPr/>
            <p:nvPr/>
          </p:nvSpPr>
          <p:spPr>
            <a:xfrm>
              <a:off x="5937250" y="4714875"/>
              <a:ext cx="209550" cy="80009"/>
            </a:xfrm>
            <a:custGeom>
              <a:avLst/>
              <a:gdLst/>
              <a:ahLst/>
              <a:cxnLst/>
              <a:rect l="l" t="t" r="r" b="b"/>
              <a:pathLst>
                <a:path w="209550" h="80009" extrusionOk="0">
                  <a:moveTo>
                    <a:pt x="177165" y="76200"/>
                  </a:moveTo>
                  <a:lnTo>
                    <a:pt x="202565" y="80010"/>
                  </a:lnTo>
                  <a:lnTo>
                    <a:pt x="209550" y="29845"/>
                  </a:lnTo>
                  <a:lnTo>
                    <a:pt x="184785" y="26035"/>
                  </a:lnTo>
                  <a:lnTo>
                    <a:pt x="32385" y="3810"/>
                  </a:lnTo>
                  <a:lnTo>
                    <a:pt x="6985" y="0"/>
                  </a:lnTo>
                  <a:lnTo>
                    <a:pt x="0" y="50800"/>
                  </a:lnTo>
                  <a:lnTo>
                    <a:pt x="24765" y="5397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692" name="Google Shape;692;p15"/>
            <p:cNvSpPr/>
            <p:nvPr/>
          </p:nvSpPr>
          <p:spPr>
            <a:xfrm>
              <a:off x="6572250" y="5076825"/>
              <a:ext cx="209550" cy="80009"/>
            </a:xfrm>
            <a:custGeom>
              <a:avLst/>
              <a:gdLst/>
              <a:ahLst/>
              <a:cxnLst/>
              <a:rect l="l" t="t" r="r" b="b"/>
              <a:pathLst>
                <a:path w="209550" h="80009" extrusionOk="0">
                  <a:moveTo>
                    <a:pt x="177165" y="76200"/>
                  </a:moveTo>
                  <a:lnTo>
                    <a:pt x="202565" y="80010"/>
                  </a:lnTo>
                  <a:lnTo>
                    <a:pt x="209550" y="29845"/>
                  </a:lnTo>
                  <a:lnTo>
                    <a:pt x="184785" y="26035"/>
                  </a:lnTo>
                  <a:lnTo>
                    <a:pt x="32385" y="3810"/>
                  </a:lnTo>
                  <a:lnTo>
                    <a:pt x="6985" y="0"/>
                  </a:lnTo>
                  <a:lnTo>
                    <a:pt x="0" y="50800"/>
                  </a:lnTo>
                  <a:lnTo>
                    <a:pt x="24765" y="5397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693" name="Google Shape;693;p15"/>
            <p:cNvSpPr/>
            <p:nvPr/>
          </p:nvSpPr>
          <p:spPr>
            <a:xfrm>
              <a:off x="7207250" y="5438775"/>
              <a:ext cx="209550" cy="80009"/>
            </a:xfrm>
            <a:custGeom>
              <a:avLst/>
              <a:gdLst/>
              <a:ahLst/>
              <a:cxnLst/>
              <a:rect l="l" t="t" r="r" b="b"/>
              <a:pathLst>
                <a:path w="209550" h="80009" extrusionOk="0">
                  <a:moveTo>
                    <a:pt x="177165" y="76200"/>
                  </a:moveTo>
                  <a:lnTo>
                    <a:pt x="202565" y="80010"/>
                  </a:lnTo>
                  <a:lnTo>
                    <a:pt x="209550" y="29845"/>
                  </a:lnTo>
                  <a:lnTo>
                    <a:pt x="184785" y="26035"/>
                  </a:lnTo>
                  <a:lnTo>
                    <a:pt x="32385" y="3810"/>
                  </a:lnTo>
                  <a:lnTo>
                    <a:pt x="6985" y="0"/>
                  </a:lnTo>
                  <a:lnTo>
                    <a:pt x="0" y="50800"/>
                  </a:lnTo>
                  <a:lnTo>
                    <a:pt x="24765" y="5397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694" name="Google Shape;694;p15"/>
            <p:cNvSpPr/>
            <p:nvPr/>
          </p:nvSpPr>
          <p:spPr>
            <a:xfrm>
              <a:off x="7842250" y="5800725"/>
              <a:ext cx="209550" cy="80009"/>
            </a:xfrm>
            <a:custGeom>
              <a:avLst/>
              <a:gdLst/>
              <a:ahLst/>
              <a:cxnLst/>
              <a:rect l="l" t="t" r="r" b="b"/>
              <a:pathLst>
                <a:path w="209550" h="80009" extrusionOk="0">
                  <a:moveTo>
                    <a:pt x="32385" y="3810"/>
                  </a:moveTo>
                  <a:lnTo>
                    <a:pt x="6985" y="0"/>
                  </a:lnTo>
                  <a:lnTo>
                    <a:pt x="0" y="50800"/>
                  </a:lnTo>
                  <a:lnTo>
                    <a:pt x="24765" y="53975"/>
                  </a:lnTo>
                  <a:lnTo>
                    <a:pt x="177165" y="76200"/>
                  </a:lnTo>
                  <a:lnTo>
                    <a:pt x="202565" y="80010"/>
                  </a:lnTo>
                  <a:lnTo>
                    <a:pt x="209550" y="29845"/>
                  </a:lnTo>
                  <a:lnTo>
                    <a:pt x="184785" y="2603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695" name="Google Shape;695;p15"/>
            <p:cNvSpPr/>
            <p:nvPr/>
          </p:nvSpPr>
          <p:spPr>
            <a:xfrm>
              <a:off x="8477250" y="6162675"/>
              <a:ext cx="209550" cy="80009"/>
            </a:xfrm>
            <a:custGeom>
              <a:avLst/>
              <a:gdLst/>
              <a:ahLst/>
              <a:cxnLst/>
              <a:rect l="l" t="t" r="r" b="b"/>
              <a:pathLst>
                <a:path w="209550" h="80009" extrusionOk="0">
                  <a:moveTo>
                    <a:pt x="177165" y="76200"/>
                  </a:moveTo>
                  <a:lnTo>
                    <a:pt x="202565" y="80010"/>
                  </a:lnTo>
                  <a:lnTo>
                    <a:pt x="209550" y="29845"/>
                  </a:lnTo>
                  <a:lnTo>
                    <a:pt x="184785" y="26035"/>
                  </a:lnTo>
                  <a:lnTo>
                    <a:pt x="32385" y="3810"/>
                  </a:lnTo>
                  <a:lnTo>
                    <a:pt x="6985" y="0"/>
                  </a:lnTo>
                  <a:lnTo>
                    <a:pt x="0" y="50800"/>
                  </a:lnTo>
                  <a:lnTo>
                    <a:pt x="24765" y="5397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696" name="Google Shape;696;p15"/>
            <p:cNvSpPr/>
            <p:nvPr/>
          </p:nvSpPr>
          <p:spPr>
            <a:xfrm>
              <a:off x="9112250" y="6524625"/>
              <a:ext cx="209550" cy="80009"/>
            </a:xfrm>
            <a:custGeom>
              <a:avLst/>
              <a:gdLst/>
              <a:ahLst/>
              <a:cxnLst/>
              <a:rect l="l" t="t" r="r" b="b"/>
              <a:pathLst>
                <a:path w="209550" h="80009" extrusionOk="0">
                  <a:moveTo>
                    <a:pt x="32385" y="3810"/>
                  </a:moveTo>
                  <a:lnTo>
                    <a:pt x="6985" y="0"/>
                  </a:lnTo>
                  <a:lnTo>
                    <a:pt x="0" y="50800"/>
                  </a:lnTo>
                  <a:lnTo>
                    <a:pt x="24765" y="53975"/>
                  </a:lnTo>
                  <a:lnTo>
                    <a:pt x="177165" y="76200"/>
                  </a:lnTo>
                  <a:lnTo>
                    <a:pt x="202565" y="80010"/>
                  </a:lnTo>
                  <a:lnTo>
                    <a:pt x="209550" y="29845"/>
                  </a:lnTo>
                  <a:lnTo>
                    <a:pt x="184785" y="2603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697" name="Google Shape;697;p15"/>
            <p:cNvSpPr/>
            <p:nvPr/>
          </p:nvSpPr>
          <p:spPr>
            <a:xfrm>
              <a:off x="164464" y="1076960"/>
              <a:ext cx="217169" cy="117475"/>
            </a:xfrm>
            <a:custGeom>
              <a:avLst/>
              <a:gdLst/>
              <a:ahLst/>
              <a:cxnLst/>
              <a:rect l="l" t="t" r="r" b="b"/>
              <a:pathLst>
                <a:path w="217169" h="117475" extrusionOk="0">
                  <a:moveTo>
                    <a:pt x="40640" y="8255"/>
                  </a:moveTo>
                  <a:lnTo>
                    <a:pt x="16510" y="0"/>
                  </a:lnTo>
                  <a:lnTo>
                    <a:pt x="0" y="47625"/>
                  </a:lnTo>
                  <a:lnTo>
                    <a:pt x="24130" y="55880"/>
                  </a:lnTo>
                  <a:lnTo>
                    <a:pt x="176530" y="109220"/>
                  </a:lnTo>
                  <a:lnTo>
                    <a:pt x="200025" y="117475"/>
                  </a:lnTo>
                  <a:lnTo>
                    <a:pt x="217170" y="69215"/>
                  </a:lnTo>
                  <a:lnTo>
                    <a:pt x="193040" y="6096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698" name="Google Shape;698;p15"/>
            <p:cNvSpPr/>
            <p:nvPr/>
          </p:nvSpPr>
          <p:spPr>
            <a:xfrm>
              <a:off x="799465" y="1438910"/>
              <a:ext cx="217170" cy="117475"/>
            </a:xfrm>
            <a:custGeom>
              <a:avLst/>
              <a:gdLst/>
              <a:ahLst/>
              <a:cxnLst/>
              <a:rect l="l" t="t" r="r" b="b"/>
              <a:pathLst>
                <a:path w="217170" h="117475" extrusionOk="0">
                  <a:moveTo>
                    <a:pt x="40640" y="8255"/>
                  </a:moveTo>
                  <a:lnTo>
                    <a:pt x="16510" y="0"/>
                  </a:lnTo>
                  <a:lnTo>
                    <a:pt x="0" y="47625"/>
                  </a:lnTo>
                  <a:lnTo>
                    <a:pt x="24130" y="55880"/>
                  </a:lnTo>
                  <a:lnTo>
                    <a:pt x="176530" y="109220"/>
                  </a:lnTo>
                  <a:lnTo>
                    <a:pt x="200025" y="117475"/>
                  </a:lnTo>
                  <a:lnTo>
                    <a:pt x="217170" y="69215"/>
                  </a:lnTo>
                  <a:lnTo>
                    <a:pt x="193040" y="6096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699" name="Google Shape;699;p15"/>
            <p:cNvSpPr/>
            <p:nvPr/>
          </p:nvSpPr>
          <p:spPr>
            <a:xfrm>
              <a:off x="1434464" y="1800860"/>
              <a:ext cx="217170" cy="117475"/>
            </a:xfrm>
            <a:custGeom>
              <a:avLst/>
              <a:gdLst/>
              <a:ahLst/>
              <a:cxnLst/>
              <a:rect l="l" t="t" r="r" b="b"/>
              <a:pathLst>
                <a:path w="217170" h="117475" extrusionOk="0">
                  <a:moveTo>
                    <a:pt x="40640" y="8255"/>
                  </a:moveTo>
                  <a:lnTo>
                    <a:pt x="16510" y="0"/>
                  </a:lnTo>
                  <a:lnTo>
                    <a:pt x="0" y="47625"/>
                  </a:lnTo>
                  <a:lnTo>
                    <a:pt x="24130" y="55880"/>
                  </a:lnTo>
                  <a:lnTo>
                    <a:pt x="176530" y="109220"/>
                  </a:lnTo>
                  <a:lnTo>
                    <a:pt x="200025" y="117475"/>
                  </a:lnTo>
                  <a:lnTo>
                    <a:pt x="217170" y="69215"/>
                  </a:lnTo>
                  <a:lnTo>
                    <a:pt x="193040" y="6096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00" name="Google Shape;700;p15"/>
            <p:cNvSpPr/>
            <p:nvPr/>
          </p:nvSpPr>
          <p:spPr>
            <a:xfrm>
              <a:off x="2069464" y="2162810"/>
              <a:ext cx="217170" cy="117475"/>
            </a:xfrm>
            <a:custGeom>
              <a:avLst/>
              <a:gdLst/>
              <a:ahLst/>
              <a:cxnLst/>
              <a:rect l="l" t="t" r="r" b="b"/>
              <a:pathLst>
                <a:path w="217170" h="117475" extrusionOk="0">
                  <a:moveTo>
                    <a:pt x="176530" y="109220"/>
                  </a:moveTo>
                  <a:lnTo>
                    <a:pt x="200025" y="117475"/>
                  </a:lnTo>
                  <a:lnTo>
                    <a:pt x="217170" y="69215"/>
                  </a:lnTo>
                  <a:lnTo>
                    <a:pt x="193040" y="60960"/>
                  </a:lnTo>
                  <a:lnTo>
                    <a:pt x="40640" y="8255"/>
                  </a:lnTo>
                  <a:lnTo>
                    <a:pt x="16510" y="0"/>
                  </a:lnTo>
                  <a:lnTo>
                    <a:pt x="0" y="47625"/>
                  </a:lnTo>
                  <a:lnTo>
                    <a:pt x="24130" y="558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01" name="Google Shape;701;p15"/>
            <p:cNvSpPr/>
            <p:nvPr/>
          </p:nvSpPr>
          <p:spPr>
            <a:xfrm>
              <a:off x="2704464" y="2524760"/>
              <a:ext cx="217170" cy="117475"/>
            </a:xfrm>
            <a:custGeom>
              <a:avLst/>
              <a:gdLst/>
              <a:ahLst/>
              <a:cxnLst/>
              <a:rect l="l" t="t" r="r" b="b"/>
              <a:pathLst>
                <a:path w="217170" h="117475" extrusionOk="0">
                  <a:moveTo>
                    <a:pt x="176530" y="109220"/>
                  </a:moveTo>
                  <a:lnTo>
                    <a:pt x="200025" y="117475"/>
                  </a:lnTo>
                  <a:lnTo>
                    <a:pt x="217170" y="69215"/>
                  </a:lnTo>
                  <a:lnTo>
                    <a:pt x="193040" y="60960"/>
                  </a:lnTo>
                  <a:lnTo>
                    <a:pt x="40640" y="8255"/>
                  </a:lnTo>
                  <a:lnTo>
                    <a:pt x="16510" y="0"/>
                  </a:lnTo>
                  <a:lnTo>
                    <a:pt x="0" y="47625"/>
                  </a:lnTo>
                  <a:lnTo>
                    <a:pt x="24130" y="558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02" name="Google Shape;702;p15"/>
            <p:cNvSpPr/>
            <p:nvPr/>
          </p:nvSpPr>
          <p:spPr>
            <a:xfrm>
              <a:off x="3339465" y="2886710"/>
              <a:ext cx="217169" cy="117475"/>
            </a:xfrm>
            <a:custGeom>
              <a:avLst/>
              <a:gdLst/>
              <a:ahLst/>
              <a:cxnLst/>
              <a:rect l="l" t="t" r="r" b="b"/>
              <a:pathLst>
                <a:path w="217169" h="117475" extrusionOk="0">
                  <a:moveTo>
                    <a:pt x="176530" y="109220"/>
                  </a:moveTo>
                  <a:lnTo>
                    <a:pt x="200025" y="117475"/>
                  </a:lnTo>
                  <a:lnTo>
                    <a:pt x="217170" y="69215"/>
                  </a:lnTo>
                  <a:lnTo>
                    <a:pt x="193040" y="60960"/>
                  </a:lnTo>
                  <a:lnTo>
                    <a:pt x="40640" y="8255"/>
                  </a:lnTo>
                  <a:lnTo>
                    <a:pt x="16510" y="0"/>
                  </a:lnTo>
                  <a:lnTo>
                    <a:pt x="0" y="47625"/>
                  </a:lnTo>
                  <a:lnTo>
                    <a:pt x="24130" y="558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03" name="Google Shape;703;p15"/>
            <p:cNvSpPr/>
            <p:nvPr/>
          </p:nvSpPr>
          <p:spPr>
            <a:xfrm>
              <a:off x="3974465" y="3248660"/>
              <a:ext cx="217169" cy="117474"/>
            </a:xfrm>
            <a:custGeom>
              <a:avLst/>
              <a:gdLst/>
              <a:ahLst/>
              <a:cxnLst/>
              <a:rect l="l" t="t" r="r" b="b"/>
              <a:pathLst>
                <a:path w="217169" h="117474" extrusionOk="0">
                  <a:moveTo>
                    <a:pt x="176530" y="109220"/>
                  </a:moveTo>
                  <a:lnTo>
                    <a:pt x="200025" y="117475"/>
                  </a:lnTo>
                  <a:lnTo>
                    <a:pt x="217170" y="69215"/>
                  </a:lnTo>
                  <a:lnTo>
                    <a:pt x="193040" y="60960"/>
                  </a:lnTo>
                  <a:lnTo>
                    <a:pt x="40640" y="8255"/>
                  </a:lnTo>
                  <a:lnTo>
                    <a:pt x="16510" y="0"/>
                  </a:lnTo>
                  <a:lnTo>
                    <a:pt x="0" y="47625"/>
                  </a:lnTo>
                  <a:lnTo>
                    <a:pt x="24130" y="558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04" name="Google Shape;704;p15"/>
            <p:cNvSpPr/>
            <p:nvPr/>
          </p:nvSpPr>
          <p:spPr>
            <a:xfrm>
              <a:off x="4609465" y="3610609"/>
              <a:ext cx="217169" cy="117475"/>
            </a:xfrm>
            <a:custGeom>
              <a:avLst/>
              <a:gdLst/>
              <a:ahLst/>
              <a:cxnLst/>
              <a:rect l="l" t="t" r="r" b="b"/>
              <a:pathLst>
                <a:path w="217169" h="117475" extrusionOk="0">
                  <a:moveTo>
                    <a:pt x="200025" y="117475"/>
                  </a:moveTo>
                  <a:lnTo>
                    <a:pt x="217170" y="69215"/>
                  </a:lnTo>
                  <a:lnTo>
                    <a:pt x="193040" y="60960"/>
                  </a:lnTo>
                  <a:lnTo>
                    <a:pt x="40640" y="8255"/>
                  </a:lnTo>
                  <a:lnTo>
                    <a:pt x="16510" y="0"/>
                  </a:lnTo>
                  <a:lnTo>
                    <a:pt x="0" y="47625"/>
                  </a:lnTo>
                  <a:lnTo>
                    <a:pt x="24130" y="55880"/>
                  </a:lnTo>
                  <a:lnTo>
                    <a:pt x="176530" y="10922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05" name="Google Shape;705;p15"/>
            <p:cNvSpPr/>
            <p:nvPr/>
          </p:nvSpPr>
          <p:spPr>
            <a:xfrm>
              <a:off x="5244465" y="3972559"/>
              <a:ext cx="217169" cy="117475"/>
            </a:xfrm>
            <a:custGeom>
              <a:avLst/>
              <a:gdLst/>
              <a:ahLst/>
              <a:cxnLst/>
              <a:rect l="l" t="t" r="r" b="b"/>
              <a:pathLst>
                <a:path w="217169" h="117475" extrusionOk="0">
                  <a:moveTo>
                    <a:pt x="176530" y="109220"/>
                  </a:moveTo>
                  <a:lnTo>
                    <a:pt x="200025" y="117475"/>
                  </a:lnTo>
                  <a:lnTo>
                    <a:pt x="217170" y="69215"/>
                  </a:lnTo>
                  <a:lnTo>
                    <a:pt x="193040" y="60960"/>
                  </a:lnTo>
                  <a:lnTo>
                    <a:pt x="40640" y="8255"/>
                  </a:lnTo>
                  <a:lnTo>
                    <a:pt x="16510" y="0"/>
                  </a:lnTo>
                  <a:lnTo>
                    <a:pt x="0" y="47625"/>
                  </a:lnTo>
                  <a:lnTo>
                    <a:pt x="24130" y="558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06" name="Google Shape;706;p15"/>
            <p:cNvSpPr/>
            <p:nvPr/>
          </p:nvSpPr>
          <p:spPr>
            <a:xfrm>
              <a:off x="5879465" y="4334509"/>
              <a:ext cx="217169" cy="117475"/>
            </a:xfrm>
            <a:custGeom>
              <a:avLst/>
              <a:gdLst/>
              <a:ahLst/>
              <a:cxnLst/>
              <a:rect l="l" t="t" r="r" b="b"/>
              <a:pathLst>
                <a:path w="217169" h="117475" extrusionOk="0">
                  <a:moveTo>
                    <a:pt x="176530" y="109220"/>
                  </a:moveTo>
                  <a:lnTo>
                    <a:pt x="200025" y="117475"/>
                  </a:lnTo>
                  <a:lnTo>
                    <a:pt x="217170" y="69215"/>
                  </a:lnTo>
                  <a:lnTo>
                    <a:pt x="193040" y="60960"/>
                  </a:lnTo>
                  <a:lnTo>
                    <a:pt x="40640" y="8255"/>
                  </a:lnTo>
                  <a:lnTo>
                    <a:pt x="16510" y="0"/>
                  </a:lnTo>
                  <a:lnTo>
                    <a:pt x="0" y="47625"/>
                  </a:lnTo>
                  <a:lnTo>
                    <a:pt x="24130" y="558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07" name="Google Shape;707;p15"/>
            <p:cNvSpPr/>
            <p:nvPr/>
          </p:nvSpPr>
          <p:spPr>
            <a:xfrm>
              <a:off x="6514465" y="4696459"/>
              <a:ext cx="217169" cy="117475"/>
            </a:xfrm>
            <a:custGeom>
              <a:avLst/>
              <a:gdLst/>
              <a:ahLst/>
              <a:cxnLst/>
              <a:rect l="l" t="t" r="r" b="b"/>
              <a:pathLst>
                <a:path w="217169" h="117475" extrusionOk="0">
                  <a:moveTo>
                    <a:pt x="176530" y="109220"/>
                  </a:moveTo>
                  <a:lnTo>
                    <a:pt x="200025" y="117475"/>
                  </a:lnTo>
                  <a:lnTo>
                    <a:pt x="217170" y="69215"/>
                  </a:lnTo>
                  <a:lnTo>
                    <a:pt x="193040" y="60960"/>
                  </a:lnTo>
                  <a:lnTo>
                    <a:pt x="40640" y="8255"/>
                  </a:lnTo>
                  <a:lnTo>
                    <a:pt x="16510" y="0"/>
                  </a:lnTo>
                  <a:lnTo>
                    <a:pt x="0" y="47625"/>
                  </a:lnTo>
                  <a:lnTo>
                    <a:pt x="24130" y="558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08" name="Google Shape;708;p15"/>
            <p:cNvSpPr/>
            <p:nvPr/>
          </p:nvSpPr>
          <p:spPr>
            <a:xfrm>
              <a:off x="7149465" y="5058409"/>
              <a:ext cx="217169" cy="117475"/>
            </a:xfrm>
            <a:custGeom>
              <a:avLst/>
              <a:gdLst/>
              <a:ahLst/>
              <a:cxnLst/>
              <a:rect l="l" t="t" r="r" b="b"/>
              <a:pathLst>
                <a:path w="217169" h="117475" extrusionOk="0">
                  <a:moveTo>
                    <a:pt x="16510" y="0"/>
                  </a:moveTo>
                  <a:lnTo>
                    <a:pt x="0" y="47625"/>
                  </a:lnTo>
                  <a:lnTo>
                    <a:pt x="24130" y="55880"/>
                  </a:lnTo>
                  <a:lnTo>
                    <a:pt x="176530" y="109220"/>
                  </a:lnTo>
                  <a:lnTo>
                    <a:pt x="200025" y="117475"/>
                  </a:lnTo>
                  <a:lnTo>
                    <a:pt x="217170" y="69215"/>
                  </a:lnTo>
                  <a:lnTo>
                    <a:pt x="193040" y="60960"/>
                  </a:lnTo>
                  <a:lnTo>
                    <a:pt x="40640" y="825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09" name="Google Shape;709;p15"/>
            <p:cNvSpPr/>
            <p:nvPr/>
          </p:nvSpPr>
          <p:spPr>
            <a:xfrm>
              <a:off x="7784465" y="5420359"/>
              <a:ext cx="217169" cy="117475"/>
            </a:xfrm>
            <a:custGeom>
              <a:avLst/>
              <a:gdLst/>
              <a:ahLst/>
              <a:cxnLst/>
              <a:rect l="l" t="t" r="r" b="b"/>
              <a:pathLst>
                <a:path w="217169" h="117475" extrusionOk="0">
                  <a:moveTo>
                    <a:pt x="200025" y="117475"/>
                  </a:moveTo>
                  <a:lnTo>
                    <a:pt x="217170" y="69215"/>
                  </a:lnTo>
                  <a:lnTo>
                    <a:pt x="193040" y="60960"/>
                  </a:lnTo>
                  <a:lnTo>
                    <a:pt x="40640" y="8255"/>
                  </a:lnTo>
                  <a:lnTo>
                    <a:pt x="16510" y="0"/>
                  </a:lnTo>
                  <a:lnTo>
                    <a:pt x="0" y="47625"/>
                  </a:lnTo>
                  <a:lnTo>
                    <a:pt x="24130" y="55880"/>
                  </a:lnTo>
                  <a:lnTo>
                    <a:pt x="176530" y="10922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10" name="Google Shape;710;p15"/>
            <p:cNvSpPr/>
            <p:nvPr/>
          </p:nvSpPr>
          <p:spPr>
            <a:xfrm>
              <a:off x="8419465" y="5782309"/>
              <a:ext cx="217169" cy="117475"/>
            </a:xfrm>
            <a:custGeom>
              <a:avLst/>
              <a:gdLst/>
              <a:ahLst/>
              <a:cxnLst/>
              <a:rect l="l" t="t" r="r" b="b"/>
              <a:pathLst>
                <a:path w="217169" h="117475" extrusionOk="0">
                  <a:moveTo>
                    <a:pt x="200025" y="117475"/>
                  </a:moveTo>
                  <a:lnTo>
                    <a:pt x="217170" y="69215"/>
                  </a:lnTo>
                  <a:lnTo>
                    <a:pt x="193040" y="60960"/>
                  </a:lnTo>
                  <a:lnTo>
                    <a:pt x="40640" y="8255"/>
                  </a:lnTo>
                  <a:lnTo>
                    <a:pt x="16510" y="0"/>
                  </a:lnTo>
                  <a:lnTo>
                    <a:pt x="0" y="47625"/>
                  </a:lnTo>
                  <a:lnTo>
                    <a:pt x="24130" y="55880"/>
                  </a:lnTo>
                  <a:lnTo>
                    <a:pt x="176530" y="10922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11" name="Google Shape;711;p15"/>
            <p:cNvSpPr/>
            <p:nvPr/>
          </p:nvSpPr>
          <p:spPr>
            <a:xfrm>
              <a:off x="9054465" y="6144259"/>
              <a:ext cx="217169" cy="117475"/>
            </a:xfrm>
            <a:custGeom>
              <a:avLst/>
              <a:gdLst/>
              <a:ahLst/>
              <a:cxnLst/>
              <a:rect l="l" t="t" r="r" b="b"/>
              <a:pathLst>
                <a:path w="217169" h="117475" extrusionOk="0">
                  <a:moveTo>
                    <a:pt x="200025" y="117475"/>
                  </a:moveTo>
                  <a:lnTo>
                    <a:pt x="217170" y="69215"/>
                  </a:lnTo>
                  <a:lnTo>
                    <a:pt x="193040" y="60960"/>
                  </a:lnTo>
                  <a:lnTo>
                    <a:pt x="40640" y="8255"/>
                  </a:lnTo>
                  <a:lnTo>
                    <a:pt x="16510" y="0"/>
                  </a:lnTo>
                  <a:lnTo>
                    <a:pt x="0" y="47625"/>
                  </a:lnTo>
                  <a:lnTo>
                    <a:pt x="24130" y="55880"/>
                  </a:lnTo>
                  <a:lnTo>
                    <a:pt x="176530" y="10922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12" name="Google Shape;712;p15"/>
            <p:cNvSpPr/>
            <p:nvPr/>
          </p:nvSpPr>
          <p:spPr>
            <a:xfrm>
              <a:off x="9689465" y="6506209"/>
              <a:ext cx="217169" cy="117475"/>
            </a:xfrm>
            <a:custGeom>
              <a:avLst/>
              <a:gdLst/>
              <a:ahLst/>
              <a:cxnLst/>
              <a:rect l="l" t="t" r="r" b="b"/>
              <a:pathLst>
                <a:path w="217169" h="117475" extrusionOk="0">
                  <a:moveTo>
                    <a:pt x="40640" y="8255"/>
                  </a:moveTo>
                  <a:lnTo>
                    <a:pt x="16510" y="0"/>
                  </a:lnTo>
                  <a:lnTo>
                    <a:pt x="0" y="47625"/>
                  </a:lnTo>
                  <a:lnTo>
                    <a:pt x="24130" y="55880"/>
                  </a:lnTo>
                  <a:lnTo>
                    <a:pt x="176530" y="109220"/>
                  </a:lnTo>
                  <a:lnTo>
                    <a:pt x="200025" y="117475"/>
                  </a:lnTo>
                  <a:lnTo>
                    <a:pt x="217170" y="69215"/>
                  </a:lnTo>
                  <a:lnTo>
                    <a:pt x="193040" y="6096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13" name="Google Shape;713;p15"/>
            <p:cNvSpPr/>
            <p:nvPr/>
          </p:nvSpPr>
          <p:spPr>
            <a:xfrm>
              <a:off x="65405" y="698500"/>
              <a:ext cx="220979" cy="149860"/>
            </a:xfrm>
            <a:custGeom>
              <a:avLst/>
              <a:gdLst/>
              <a:ahLst/>
              <a:cxnLst/>
              <a:rect l="l" t="t" r="r" b="b"/>
              <a:pathLst>
                <a:path w="220979" h="149860" extrusionOk="0">
                  <a:moveTo>
                    <a:pt x="46355" y="12065"/>
                  </a:moveTo>
                  <a:lnTo>
                    <a:pt x="23495" y="0"/>
                  </a:lnTo>
                  <a:lnTo>
                    <a:pt x="0" y="44450"/>
                  </a:lnTo>
                  <a:lnTo>
                    <a:pt x="22225" y="56515"/>
                  </a:lnTo>
                  <a:lnTo>
                    <a:pt x="174625" y="138430"/>
                  </a:lnTo>
                  <a:lnTo>
                    <a:pt x="196850" y="149860"/>
                  </a:lnTo>
                  <a:lnTo>
                    <a:pt x="220980" y="105410"/>
                  </a:lnTo>
                  <a:lnTo>
                    <a:pt x="198755" y="9334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14" name="Google Shape;714;p15"/>
            <p:cNvSpPr/>
            <p:nvPr/>
          </p:nvSpPr>
          <p:spPr>
            <a:xfrm>
              <a:off x="700405" y="1060450"/>
              <a:ext cx="220980" cy="149860"/>
            </a:xfrm>
            <a:custGeom>
              <a:avLst/>
              <a:gdLst/>
              <a:ahLst/>
              <a:cxnLst/>
              <a:rect l="l" t="t" r="r" b="b"/>
              <a:pathLst>
                <a:path w="220980" h="149860" extrusionOk="0">
                  <a:moveTo>
                    <a:pt x="46355" y="12065"/>
                  </a:moveTo>
                  <a:lnTo>
                    <a:pt x="23495" y="0"/>
                  </a:lnTo>
                  <a:lnTo>
                    <a:pt x="0" y="44450"/>
                  </a:lnTo>
                  <a:lnTo>
                    <a:pt x="22225" y="56515"/>
                  </a:lnTo>
                  <a:lnTo>
                    <a:pt x="174625" y="138430"/>
                  </a:lnTo>
                  <a:lnTo>
                    <a:pt x="196850" y="149860"/>
                  </a:lnTo>
                  <a:lnTo>
                    <a:pt x="220980" y="105410"/>
                  </a:lnTo>
                  <a:lnTo>
                    <a:pt x="198755" y="9334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15" name="Google Shape;715;p15"/>
            <p:cNvSpPr/>
            <p:nvPr/>
          </p:nvSpPr>
          <p:spPr>
            <a:xfrm>
              <a:off x="1335405" y="1422400"/>
              <a:ext cx="220980" cy="149860"/>
            </a:xfrm>
            <a:custGeom>
              <a:avLst/>
              <a:gdLst/>
              <a:ahLst/>
              <a:cxnLst/>
              <a:rect l="l" t="t" r="r" b="b"/>
              <a:pathLst>
                <a:path w="220980" h="149860" extrusionOk="0">
                  <a:moveTo>
                    <a:pt x="23495" y="0"/>
                  </a:moveTo>
                  <a:lnTo>
                    <a:pt x="0" y="44450"/>
                  </a:lnTo>
                  <a:lnTo>
                    <a:pt x="22225" y="56515"/>
                  </a:lnTo>
                  <a:lnTo>
                    <a:pt x="174625" y="138430"/>
                  </a:lnTo>
                  <a:lnTo>
                    <a:pt x="196850" y="149860"/>
                  </a:lnTo>
                  <a:lnTo>
                    <a:pt x="220980" y="105410"/>
                  </a:lnTo>
                  <a:lnTo>
                    <a:pt x="198755" y="93345"/>
                  </a:lnTo>
                  <a:lnTo>
                    <a:pt x="46355" y="1206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16" name="Google Shape;716;p15"/>
            <p:cNvSpPr/>
            <p:nvPr/>
          </p:nvSpPr>
          <p:spPr>
            <a:xfrm>
              <a:off x="1970404" y="1784350"/>
              <a:ext cx="220980" cy="149860"/>
            </a:xfrm>
            <a:custGeom>
              <a:avLst/>
              <a:gdLst/>
              <a:ahLst/>
              <a:cxnLst/>
              <a:rect l="l" t="t" r="r" b="b"/>
              <a:pathLst>
                <a:path w="220980" h="149860" extrusionOk="0">
                  <a:moveTo>
                    <a:pt x="174625" y="138430"/>
                  </a:moveTo>
                  <a:lnTo>
                    <a:pt x="196850" y="149860"/>
                  </a:lnTo>
                  <a:lnTo>
                    <a:pt x="220980" y="105410"/>
                  </a:lnTo>
                  <a:lnTo>
                    <a:pt x="198755" y="93345"/>
                  </a:lnTo>
                  <a:lnTo>
                    <a:pt x="46355" y="12065"/>
                  </a:lnTo>
                  <a:lnTo>
                    <a:pt x="23495" y="0"/>
                  </a:lnTo>
                  <a:lnTo>
                    <a:pt x="0" y="44450"/>
                  </a:lnTo>
                  <a:lnTo>
                    <a:pt x="22225"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17" name="Google Shape;717;p15"/>
            <p:cNvSpPr/>
            <p:nvPr/>
          </p:nvSpPr>
          <p:spPr>
            <a:xfrm>
              <a:off x="2605404" y="2146300"/>
              <a:ext cx="220980" cy="149860"/>
            </a:xfrm>
            <a:custGeom>
              <a:avLst/>
              <a:gdLst/>
              <a:ahLst/>
              <a:cxnLst/>
              <a:rect l="l" t="t" r="r" b="b"/>
              <a:pathLst>
                <a:path w="220980" h="149860" extrusionOk="0">
                  <a:moveTo>
                    <a:pt x="174625" y="138430"/>
                  </a:moveTo>
                  <a:lnTo>
                    <a:pt x="196850" y="149860"/>
                  </a:lnTo>
                  <a:lnTo>
                    <a:pt x="220980" y="105410"/>
                  </a:lnTo>
                  <a:lnTo>
                    <a:pt x="198755" y="93345"/>
                  </a:lnTo>
                  <a:lnTo>
                    <a:pt x="46355" y="12065"/>
                  </a:lnTo>
                  <a:lnTo>
                    <a:pt x="23495" y="0"/>
                  </a:lnTo>
                  <a:lnTo>
                    <a:pt x="0" y="44450"/>
                  </a:lnTo>
                  <a:lnTo>
                    <a:pt x="22225"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18" name="Google Shape;718;p15"/>
            <p:cNvSpPr/>
            <p:nvPr/>
          </p:nvSpPr>
          <p:spPr>
            <a:xfrm>
              <a:off x="3240404" y="2508250"/>
              <a:ext cx="220979" cy="149860"/>
            </a:xfrm>
            <a:custGeom>
              <a:avLst/>
              <a:gdLst/>
              <a:ahLst/>
              <a:cxnLst/>
              <a:rect l="l" t="t" r="r" b="b"/>
              <a:pathLst>
                <a:path w="220979" h="149860" extrusionOk="0">
                  <a:moveTo>
                    <a:pt x="174625" y="138430"/>
                  </a:moveTo>
                  <a:lnTo>
                    <a:pt x="196850" y="149860"/>
                  </a:lnTo>
                  <a:lnTo>
                    <a:pt x="220980" y="105410"/>
                  </a:lnTo>
                  <a:lnTo>
                    <a:pt x="198755" y="93345"/>
                  </a:lnTo>
                  <a:lnTo>
                    <a:pt x="46355" y="12065"/>
                  </a:lnTo>
                  <a:lnTo>
                    <a:pt x="23495" y="0"/>
                  </a:lnTo>
                  <a:lnTo>
                    <a:pt x="0" y="44450"/>
                  </a:lnTo>
                  <a:lnTo>
                    <a:pt x="22225"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19" name="Google Shape;719;p15"/>
            <p:cNvSpPr/>
            <p:nvPr/>
          </p:nvSpPr>
          <p:spPr>
            <a:xfrm>
              <a:off x="3875404" y="2870200"/>
              <a:ext cx="220979" cy="149860"/>
            </a:xfrm>
            <a:custGeom>
              <a:avLst/>
              <a:gdLst/>
              <a:ahLst/>
              <a:cxnLst/>
              <a:rect l="l" t="t" r="r" b="b"/>
              <a:pathLst>
                <a:path w="220979" h="149860" extrusionOk="0">
                  <a:moveTo>
                    <a:pt x="196850" y="149860"/>
                  </a:moveTo>
                  <a:lnTo>
                    <a:pt x="220980" y="105410"/>
                  </a:lnTo>
                  <a:lnTo>
                    <a:pt x="198755" y="93345"/>
                  </a:lnTo>
                  <a:lnTo>
                    <a:pt x="46355" y="12065"/>
                  </a:lnTo>
                  <a:lnTo>
                    <a:pt x="23495" y="0"/>
                  </a:lnTo>
                  <a:lnTo>
                    <a:pt x="0" y="44450"/>
                  </a:lnTo>
                  <a:lnTo>
                    <a:pt x="22225" y="56515"/>
                  </a:lnTo>
                  <a:lnTo>
                    <a:pt x="174625" y="13843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20" name="Google Shape;720;p15"/>
            <p:cNvSpPr/>
            <p:nvPr/>
          </p:nvSpPr>
          <p:spPr>
            <a:xfrm>
              <a:off x="4510404" y="3232150"/>
              <a:ext cx="220979" cy="149859"/>
            </a:xfrm>
            <a:custGeom>
              <a:avLst/>
              <a:gdLst/>
              <a:ahLst/>
              <a:cxnLst/>
              <a:rect l="l" t="t" r="r" b="b"/>
              <a:pathLst>
                <a:path w="220979" h="149859" extrusionOk="0">
                  <a:moveTo>
                    <a:pt x="174625" y="138430"/>
                  </a:moveTo>
                  <a:lnTo>
                    <a:pt x="196850" y="149860"/>
                  </a:lnTo>
                  <a:lnTo>
                    <a:pt x="220980" y="105410"/>
                  </a:lnTo>
                  <a:lnTo>
                    <a:pt x="198755" y="93345"/>
                  </a:lnTo>
                  <a:lnTo>
                    <a:pt x="46355" y="12065"/>
                  </a:lnTo>
                  <a:lnTo>
                    <a:pt x="23495" y="0"/>
                  </a:lnTo>
                  <a:lnTo>
                    <a:pt x="0" y="44450"/>
                  </a:lnTo>
                  <a:lnTo>
                    <a:pt x="22225"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21" name="Google Shape;721;p15"/>
            <p:cNvSpPr/>
            <p:nvPr/>
          </p:nvSpPr>
          <p:spPr>
            <a:xfrm>
              <a:off x="5145404" y="3594100"/>
              <a:ext cx="220979" cy="149859"/>
            </a:xfrm>
            <a:custGeom>
              <a:avLst/>
              <a:gdLst/>
              <a:ahLst/>
              <a:cxnLst/>
              <a:rect l="l" t="t" r="r" b="b"/>
              <a:pathLst>
                <a:path w="220979" h="149859" extrusionOk="0">
                  <a:moveTo>
                    <a:pt x="174625" y="138430"/>
                  </a:moveTo>
                  <a:lnTo>
                    <a:pt x="196850" y="149860"/>
                  </a:lnTo>
                  <a:lnTo>
                    <a:pt x="220980" y="105410"/>
                  </a:lnTo>
                  <a:lnTo>
                    <a:pt x="198755" y="93345"/>
                  </a:lnTo>
                  <a:lnTo>
                    <a:pt x="46355" y="12065"/>
                  </a:lnTo>
                  <a:lnTo>
                    <a:pt x="23495" y="0"/>
                  </a:lnTo>
                  <a:lnTo>
                    <a:pt x="0" y="44450"/>
                  </a:lnTo>
                  <a:lnTo>
                    <a:pt x="22225"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22" name="Google Shape;722;p15"/>
            <p:cNvSpPr/>
            <p:nvPr/>
          </p:nvSpPr>
          <p:spPr>
            <a:xfrm>
              <a:off x="5780404" y="3956050"/>
              <a:ext cx="220979" cy="149859"/>
            </a:xfrm>
            <a:custGeom>
              <a:avLst/>
              <a:gdLst/>
              <a:ahLst/>
              <a:cxnLst/>
              <a:rect l="l" t="t" r="r" b="b"/>
              <a:pathLst>
                <a:path w="220979" h="149859" extrusionOk="0">
                  <a:moveTo>
                    <a:pt x="174625" y="138430"/>
                  </a:moveTo>
                  <a:lnTo>
                    <a:pt x="196850" y="149860"/>
                  </a:lnTo>
                  <a:lnTo>
                    <a:pt x="220980" y="105410"/>
                  </a:lnTo>
                  <a:lnTo>
                    <a:pt x="198755" y="93345"/>
                  </a:lnTo>
                  <a:lnTo>
                    <a:pt x="46355" y="12065"/>
                  </a:lnTo>
                  <a:lnTo>
                    <a:pt x="23495" y="0"/>
                  </a:lnTo>
                  <a:lnTo>
                    <a:pt x="0" y="44450"/>
                  </a:lnTo>
                  <a:lnTo>
                    <a:pt x="22225"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23" name="Google Shape;723;p15"/>
            <p:cNvSpPr/>
            <p:nvPr/>
          </p:nvSpPr>
          <p:spPr>
            <a:xfrm>
              <a:off x="6415404" y="4318000"/>
              <a:ext cx="220979" cy="149859"/>
            </a:xfrm>
            <a:custGeom>
              <a:avLst/>
              <a:gdLst/>
              <a:ahLst/>
              <a:cxnLst/>
              <a:rect l="l" t="t" r="r" b="b"/>
              <a:pathLst>
                <a:path w="220979" h="149859" extrusionOk="0">
                  <a:moveTo>
                    <a:pt x="23495" y="0"/>
                  </a:moveTo>
                  <a:lnTo>
                    <a:pt x="0" y="44450"/>
                  </a:lnTo>
                  <a:lnTo>
                    <a:pt x="22225" y="56515"/>
                  </a:lnTo>
                  <a:lnTo>
                    <a:pt x="174625" y="138430"/>
                  </a:lnTo>
                  <a:lnTo>
                    <a:pt x="196850" y="149860"/>
                  </a:lnTo>
                  <a:lnTo>
                    <a:pt x="220980" y="105410"/>
                  </a:lnTo>
                  <a:lnTo>
                    <a:pt x="198755" y="93345"/>
                  </a:lnTo>
                  <a:lnTo>
                    <a:pt x="46355" y="1206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24" name="Google Shape;724;p15"/>
            <p:cNvSpPr/>
            <p:nvPr/>
          </p:nvSpPr>
          <p:spPr>
            <a:xfrm>
              <a:off x="7050405" y="4679950"/>
              <a:ext cx="220979" cy="149859"/>
            </a:xfrm>
            <a:custGeom>
              <a:avLst/>
              <a:gdLst/>
              <a:ahLst/>
              <a:cxnLst/>
              <a:rect l="l" t="t" r="r" b="b"/>
              <a:pathLst>
                <a:path w="220979" h="149859" extrusionOk="0">
                  <a:moveTo>
                    <a:pt x="196850" y="149860"/>
                  </a:moveTo>
                  <a:lnTo>
                    <a:pt x="220980" y="105410"/>
                  </a:lnTo>
                  <a:lnTo>
                    <a:pt x="198755" y="93345"/>
                  </a:lnTo>
                  <a:lnTo>
                    <a:pt x="46355" y="12065"/>
                  </a:lnTo>
                  <a:lnTo>
                    <a:pt x="23495" y="0"/>
                  </a:lnTo>
                  <a:lnTo>
                    <a:pt x="0" y="44450"/>
                  </a:lnTo>
                  <a:lnTo>
                    <a:pt x="22225" y="56515"/>
                  </a:lnTo>
                  <a:lnTo>
                    <a:pt x="174625" y="13843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25" name="Google Shape;725;p15"/>
            <p:cNvSpPr/>
            <p:nvPr/>
          </p:nvSpPr>
          <p:spPr>
            <a:xfrm>
              <a:off x="7685405" y="5041900"/>
              <a:ext cx="220979" cy="149859"/>
            </a:xfrm>
            <a:custGeom>
              <a:avLst/>
              <a:gdLst/>
              <a:ahLst/>
              <a:cxnLst/>
              <a:rect l="l" t="t" r="r" b="b"/>
              <a:pathLst>
                <a:path w="220979" h="149859" extrusionOk="0">
                  <a:moveTo>
                    <a:pt x="196850" y="149860"/>
                  </a:moveTo>
                  <a:lnTo>
                    <a:pt x="220980" y="105410"/>
                  </a:lnTo>
                  <a:lnTo>
                    <a:pt x="198755" y="93345"/>
                  </a:lnTo>
                  <a:lnTo>
                    <a:pt x="46355" y="12065"/>
                  </a:lnTo>
                  <a:lnTo>
                    <a:pt x="23495" y="0"/>
                  </a:lnTo>
                  <a:lnTo>
                    <a:pt x="0" y="44450"/>
                  </a:lnTo>
                  <a:lnTo>
                    <a:pt x="22225" y="56515"/>
                  </a:lnTo>
                  <a:lnTo>
                    <a:pt x="174625" y="13843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26" name="Google Shape;726;p15"/>
            <p:cNvSpPr/>
            <p:nvPr/>
          </p:nvSpPr>
          <p:spPr>
            <a:xfrm>
              <a:off x="8320405" y="5403850"/>
              <a:ext cx="220979" cy="149859"/>
            </a:xfrm>
            <a:custGeom>
              <a:avLst/>
              <a:gdLst/>
              <a:ahLst/>
              <a:cxnLst/>
              <a:rect l="l" t="t" r="r" b="b"/>
              <a:pathLst>
                <a:path w="220979" h="149859" extrusionOk="0">
                  <a:moveTo>
                    <a:pt x="196850" y="149860"/>
                  </a:moveTo>
                  <a:lnTo>
                    <a:pt x="220980" y="105410"/>
                  </a:lnTo>
                  <a:lnTo>
                    <a:pt x="198755" y="93345"/>
                  </a:lnTo>
                  <a:lnTo>
                    <a:pt x="46355" y="12065"/>
                  </a:lnTo>
                  <a:lnTo>
                    <a:pt x="23495" y="0"/>
                  </a:lnTo>
                  <a:lnTo>
                    <a:pt x="0" y="44450"/>
                  </a:lnTo>
                  <a:lnTo>
                    <a:pt x="22225" y="56515"/>
                  </a:lnTo>
                  <a:lnTo>
                    <a:pt x="174625" y="13843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27" name="Google Shape;727;p15"/>
            <p:cNvSpPr/>
            <p:nvPr/>
          </p:nvSpPr>
          <p:spPr>
            <a:xfrm>
              <a:off x="8955405" y="5765800"/>
              <a:ext cx="220979" cy="149859"/>
            </a:xfrm>
            <a:custGeom>
              <a:avLst/>
              <a:gdLst/>
              <a:ahLst/>
              <a:cxnLst/>
              <a:rect l="l" t="t" r="r" b="b"/>
              <a:pathLst>
                <a:path w="220979" h="149859" extrusionOk="0">
                  <a:moveTo>
                    <a:pt x="196850" y="149860"/>
                  </a:moveTo>
                  <a:lnTo>
                    <a:pt x="220980" y="105410"/>
                  </a:lnTo>
                  <a:lnTo>
                    <a:pt x="198755" y="93345"/>
                  </a:lnTo>
                  <a:lnTo>
                    <a:pt x="46355" y="12065"/>
                  </a:lnTo>
                  <a:lnTo>
                    <a:pt x="23495" y="0"/>
                  </a:lnTo>
                  <a:lnTo>
                    <a:pt x="0" y="44450"/>
                  </a:lnTo>
                  <a:lnTo>
                    <a:pt x="22225" y="56515"/>
                  </a:lnTo>
                  <a:lnTo>
                    <a:pt x="174625" y="13843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28" name="Google Shape;728;p15"/>
            <p:cNvSpPr/>
            <p:nvPr/>
          </p:nvSpPr>
          <p:spPr>
            <a:xfrm>
              <a:off x="9590405" y="6127750"/>
              <a:ext cx="220979" cy="149859"/>
            </a:xfrm>
            <a:custGeom>
              <a:avLst/>
              <a:gdLst/>
              <a:ahLst/>
              <a:cxnLst/>
              <a:rect l="l" t="t" r="r" b="b"/>
              <a:pathLst>
                <a:path w="220979" h="149859" extrusionOk="0">
                  <a:moveTo>
                    <a:pt x="196850" y="149860"/>
                  </a:moveTo>
                  <a:lnTo>
                    <a:pt x="220980" y="105410"/>
                  </a:lnTo>
                  <a:lnTo>
                    <a:pt x="198755" y="93345"/>
                  </a:lnTo>
                  <a:lnTo>
                    <a:pt x="46355" y="12065"/>
                  </a:lnTo>
                  <a:lnTo>
                    <a:pt x="23495" y="0"/>
                  </a:lnTo>
                  <a:lnTo>
                    <a:pt x="0" y="44450"/>
                  </a:lnTo>
                  <a:lnTo>
                    <a:pt x="22225" y="56515"/>
                  </a:lnTo>
                  <a:lnTo>
                    <a:pt x="174625" y="13843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29" name="Google Shape;729;p15"/>
            <p:cNvSpPr/>
            <p:nvPr/>
          </p:nvSpPr>
          <p:spPr>
            <a:xfrm>
              <a:off x="10225405" y="6489700"/>
              <a:ext cx="220979" cy="149859"/>
            </a:xfrm>
            <a:custGeom>
              <a:avLst/>
              <a:gdLst/>
              <a:ahLst/>
              <a:cxnLst/>
              <a:rect l="l" t="t" r="r" b="b"/>
              <a:pathLst>
                <a:path w="220979" h="149859" extrusionOk="0">
                  <a:moveTo>
                    <a:pt x="46355" y="12065"/>
                  </a:moveTo>
                  <a:lnTo>
                    <a:pt x="23495" y="0"/>
                  </a:lnTo>
                  <a:lnTo>
                    <a:pt x="0" y="44450"/>
                  </a:lnTo>
                  <a:lnTo>
                    <a:pt x="22225" y="56515"/>
                  </a:lnTo>
                  <a:lnTo>
                    <a:pt x="174625" y="138430"/>
                  </a:lnTo>
                  <a:lnTo>
                    <a:pt x="196850" y="149860"/>
                  </a:lnTo>
                  <a:lnTo>
                    <a:pt x="220980" y="105410"/>
                  </a:lnTo>
                  <a:lnTo>
                    <a:pt x="198755" y="9334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30" name="Google Shape;730;p15"/>
            <p:cNvSpPr/>
            <p:nvPr/>
          </p:nvSpPr>
          <p:spPr>
            <a:xfrm>
              <a:off x="10880725" y="6851650"/>
              <a:ext cx="15875" cy="6350"/>
            </a:xfrm>
            <a:custGeom>
              <a:avLst/>
              <a:gdLst/>
              <a:ahLst/>
              <a:cxnLst/>
              <a:rect l="l" t="t" r="r" b="b"/>
              <a:pathLst>
                <a:path w="15875" h="6350" extrusionOk="0">
                  <a:moveTo>
                    <a:pt x="0" y="6350"/>
                  </a:moveTo>
                  <a:lnTo>
                    <a:pt x="15875" y="6350"/>
                  </a:lnTo>
                  <a:lnTo>
                    <a:pt x="317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31" name="Google Shape;731;p15"/>
            <p:cNvSpPr/>
            <p:nvPr/>
          </p:nvSpPr>
          <p:spPr>
            <a:xfrm>
              <a:off x="0" y="352425"/>
              <a:ext cx="151129" cy="147955"/>
            </a:xfrm>
            <a:custGeom>
              <a:avLst/>
              <a:gdLst/>
              <a:ahLst/>
              <a:cxnLst/>
              <a:rect l="l" t="t" r="r" b="b"/>
              <a:pathLst>
                <a:path w="151129" h="147955" extrusionOk="0">
                  <a:moveTo>
                    <a:pt x="100965" y="133350"/>
                  </a:moveTo>
                  <a:lnTo>
                    <a:pt x="121920" y="147955"/>
                  </a:lnTo>
                  <a:lnTo>
                    <a:pt x="151130" y="106680"/>
                  </a:lnTo>
                  <a:lnTo>
                    <a:pt x="130175" y="92075"/>
                  </a:lnTo>
                  <a:lnTo>
                    <a:pt x="0" y="0"/>
                  </a:lnTo>
                  <a:lnTo>
                    <a:pt x="0" y="6223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32" name="Google Shape;732;p15"/>
            <p:cNvSpPr/>
            <p:nvPr/>
          </p:nvSpPr>
          <p:spPr>
            <a:xfrm>
              <a:off x="563244" y="684530"/>
              <a:ext cx="222885" cy="177800"/>
            </a:xfrm>
            <a:custGeom>
              <a:avLst/>
              <a:gdLst/>
              <a:ahLst/>
              <a:cxnLst/>
              <a:rect l="l" t="t" r="r" b="b"/>
              <a:pathLst>
                <a:path w="222885" h="177800" extrusionOk="0">
                  <a:moveTo>
                    <a:pt x="49530" y="14605"/>
                  </a:moveTo>
                  <a:lnTo>
                    <a:pt x="29210" y="0"/>
                  </a:lnTo>
                  <a:lnTo>
                    <a:pt x="0" y="41910"/>
                  </a:lnTo>
                  <a:lnTo>
                    <a:pt x="20320" y="56515"/>
                  </a:lnTo>
                  <a:lnTo>
                    <a:pt x="172720" y="163195"/>
                  </a:lnTo>
                  <a:lnTo>
                    <a:pt x="193675" y="177800"/>
                  </a:lnTo>
                  <a:lnTo>
                    <a:pt x="222885" y="136525"/>
                  </a:lnTo>
                  <a:lnTo>
                    <a:pt x="201930" y="12192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33" name="Google Shape;733;p15"/>
            <p:cNvSpPr/>
            <p:nvPr/>
          </p:nvSpPr>
          <p:spPr>
            <a:xfrm>
              <a:off x="1198244" y="1046480"/>
              <a:ext cx="222885" cy="177800"/>
            </a:xfrm>
            <a:custGeom>
              <a:avLst/>
              <a:gdLst/>
              <a:ahLst/>
              <a:cxnLst/>
              <a:rect l="l" t="t" r="r" b="b"/>
              <a:pathLst>
                <a:path w="222885" h="177800" extrusionOk="0">
                  <a:moveTo>
                    <a:pt x="49530" y="14605"/>
                  </a:moveTo>
                  <a:lnTo>
                    <a:pt x="29210" y="0"/>
                  </a:lnTo>
                  <a:lnTo>
                    <a:pt x="0" y="41910"/>
                  </a:lnTo>
                  <a:lnTo>
                    <a:pt x="20320" y="56515"/>
                  </a:lnTo>
                  <a:lnTo>
                    <a:pt x="172720" y="163195"/>
                  </a:lnTo>
                  <a:lnTo>
                    <a:pt x="193675" y="177800"/>
                  </a:lnTo>
                  <a:lnTo>
                    <a:pt x="222885" y="136525"/>
                  </a:lnTo>
                  <a:lnTo>
                    <a:pt x="201930" y="12192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34" name="Google Shape;734;p15"/>
            <p:cNvSpPr/>
            <p:nvPr/>
          </p:nvSpPr>
          <p:spPr>
            <a:xfrm>
              <a:off x="1833245" y="1408430"/>
              <a:ext cx="222884" cy="177800"/>
            </a:xfrm>
            <a:custGeom>
              <a:avLst/>
              <a:gdLst/>
              <a:ahLst/>
              <a:cxnLst/>
              <a:rect l="l" t="t" r="r" b="b"/>
              <a:pathLst>
                <a:path w="222884" h="177800" extrusionOk="0">
                  <a:moveTo>
                    <a:pt x="193675" y="177800"/>
                  </a:moveTo>
                  <a:lnTo>
                    <a:pt x="222885" y="136525"/>
                  </a:lnTo>
                  <a:lnTo>
                    <a:pt x="201930" y="121920"/>
                  </a:lnTo>
                  <a:lnTo>
                    <a:pt x="49530" y="14605"/>
                  </a:lnTo>
                  <a:lnTo>
                    <a:pt x="29210" y="0"/>
                  </a:lnTo>
                  <a:lnTo>
                    <a:pt x="0" y="41910"/>
                  </a:lnTo>
                  <a:lnTo>
                    <a:pt x="20320" y="56515"/>
                  </a:lnTo>
                  <a:lnTo>
                    <a:pt x="172720" y="16319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35" name="Google Shape;735;p15"/>
            <p:cNvSpPr/>
            <p:nvPr/>
          </p:nvSpPr>
          <p:spPr>
            <a:xfrm>
              <a:off x="2468245" y="1770379"/>
              <a:ext cx="222884" cy="177800"/>
            </a:xfrm>
            <a:custGeom>
              <a:avLst/>
              <a:gdLst/>
              <a:ahLst/>
              <a:cxnLst/>
              <a:rect l="l" t="t" r="r" b="b"/>
              <a:pathLst>
                <a:path w="222884" h="177800" extrusionOk="0">
                  <a:moveTo>
                    <a:pt x="193675" y="177800"/>
                  </a:moveTo>
                  <a:lnTo>
                    <a:pt x="222885" y="136525"/>
                  </a:lnTo>
                  <a:lnTo>
                    <a:pt x="201930" y="121920"/>
                  </a:lnTo>
                  <a:lnTo>
                    <a:pt x="49530" y="14605"/>
                  </a:lnTo>
                  <a:lnTo>
                    <a:pt x="29210" y="0"/>
                  </a:lnTo>
                  <a:lnTo>
                    <a:pt x="0" y="41910"/>
                  </a:lnTo>
                  <a:lnTo>
                    <a:pt x="20320" y="56515"/>
                  </a:lnTo>
                  <a:lnTo>
                    <a:pt x="172720" y="16319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36" name="Google Shape;736;p15"/>
            <p:cNvSpPr/>
            <p:nvPr/>
          </p:nvSpPr>
          <p:spPr>
            <a:xfrm>
              <a:off x="3103245" y="2132329"/>
              <a:ext cx="222884" cy="177800"/>
            </a:xfrm>
            <a:custGeom>
              <a:avLst/>
              <a:gdLst/>
              <a:ahLst/>
              <a:cxnLst/>
              <a:rect l="l" t="t" r="r" b="b"/>
              <a:pathLst>
                <a:path w="222884" h="177800" extrusionOk="0">
                  <a:moveTo>
                    <a:pt x="193675" y="177800"/>
                  </a:moveTo>
                  <a:lnTo>
                    <a:pt x="222885" y="136525"/>
                  </a:lnTo>
                  <a:lnTo>
                    <a:pt x="201930" y="121920"/>
                  </a:lnTo>
                  <a:lnTo>
                    <a:pt x="49530" y="14605"/>
                  </a:lnTo>
                  <a:lnTo>
                    <a:pt x="29210" y="0"/>
                  </a:lnTo>
                  <a:lnTo>
                    <a:pt x="0" y="41910"/>
                  </a:lnTo>
                  <a:lnTo>
                    <a:pt x="20320" y="56515"/>
                  </a:lnTo>
                  <a:lnTo>
                    <a:pt x="172720" y="16319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37" name="Google Shape;737;p15"/>
            <p:cNvSpPr/>
            <p:nvPr/>
          </p:nvSpPr>
          <p:spPr>
            <a:xfrm>
              <a:off x="3738245" y="2494279"/>
              <a:ext cx="222884" cy="177800"/>
            </a:xfrm>
            <a:custGeom>
              <a:avLst/>
              <a:gdLst/>
              <a:ahLst/>
              <a:cxnLst/>
              <a:rect l="l" t="t" r="r" b="b"/>
              <a:pathLst>
                <a:path w="222884" h="177800" extrusionOk="0">
                  <a:moveTo>
                    <a:pt x="172720" y="163195"/>
                  </a:moveTo>
                  <a:lnTo>
                    <a:pt x="193675" y="177800"/>
                  </a:lnTo>
                  <a:lnTo>
                    <a:pt x="222885" y="136525"/>
                  </a:lnTo>
                  <a:lnTo>
                    <a:pt x="201930" y="121920"/>
                  </a:lnTo>
                  <a:lnTo>
                    <a:pt x="49530" y="14605"/>
                  </a:lnTo>
                  <a:lnTo>
                    <a:pt x="29210" y="0"/>
                  </a:lnTo>
                  <a:lnTo>
                    <a:pt x="0" y="41910"/>
                  </a:lnTo>
                  <a:lnTo>
                    <a:pt x="20320"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38" name="Google Shape;738;p15"/>
            <p:cNvSpPr/>
            <p:nvPr/>
          </p:nvSpPr>
          <p:spPr>
            <a:xfrm>
              <a:off x="4373245" y="2856229"/>
              <a:ext cx="222884" cy="177800"/>
            </a:xfrm>
            <a:custGeom>
              <a:avLst/>
              <a:gdLst/>
              <a:ahLst/>
              <a:cxnLst/>
              <a:rect l="l" t="t" r="r" b="b"/>
              <a:pathLst>
                <a:path w="222884" h="177800" extrusionOk="0">
                  <a:moveTo>
                    <a:pt x="172720" y="163195"/>
                  </a:moveTo>
                  <a:lnTo>
                    <a:pt x="193675" y="177800"/>
                  </a:lnTo>
                  <a:lnTo>
                    <a:pt x="222885" y="136525"/>
                  </a:lnTo>
                  <a:lnTo>
                    <a:pt x="201930" y="121920"/>
                  </a:lnTo>
                  <a:lnTo>
                    <a:pt x="49530" y="14605"/>
                  </a:lnTo>
                  <a:lnTo>
                    <a:pt x="29210" y="0"/>
                  </a:lnTo>
                  <a:lnTo>
                    <a:pt x="0" y="41910"/>
                  </a:lnTo>
                  <a:lnTo>
                    <a:pt x="20320"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39" name="Google Shape;739;p15"/>
            <p:cNvSpPr/>
            <p:nvPr/>
          </p:nvSpPr>
          <p:spPr>
            <a:xfrm>
              <a:off x="5008245" y="3218179"/>
              <a:ext cx="222884" cy="177800"/>
            </a:xfrm>
            <a:custGeom>
              <a:avLst/>
              <a:gdLst/>
              <a:ahLst/>
              <a:cxnLst/>
              <a:rect l="l" t="t" r="r" b="b"/>
              <a:pathLst>
                <a:path w="222884" h="177800" extrusionOk="0">
                  <a:moveTo>
                    <a:pt x="172720" y="163195"/>
                  </a:moveTo>
                  <a:lnTo>
                    <a:pt x="193675" y="177800"/>
                  </a:lnTo>
                  <a:lnTo>
                    <a:pt x="222885" y="136525"/>
                  </a:lnTo>
                  <a:lnTo>
                    <a:pt x="201930" y="121920"/>
                  </a:lnTo>
                  <a:lnTo>
                    <a:pt x="49530" y="14605"/>
                  </a:lnTo>
                  <a:lnTo>
                    <a:pt x="29210" y="0"/>
                  </a:lnTo>
                  <a:lnTo>
                    <a:pt x="0" y="41910"/>
                  </a:lnTo>
                  <a:lnTo>
                    <a:pt x="20320"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40" name="Google Shape;740;p15"/>
            <p:cNvSpPr/>
            <p:nvPr/>
          </p:nvSpPr>
          <p:spPr>
            <a:xfrm>
              <a:off x="5643245" y="3580129"/>
              <a:ext cx="222884" cy="177800"/>
            </a:xfrm>
            <a:custGeom>
              <a:avLst/>
              <a:gdLst/>
              <a:ahLst/>
              <a:cxnLst/>
              <a:rect l="l" t="t" r="r" b="b"/>
              <a:pathLst>
                <a:path w="222884" h="177800" extrusionOk="0">
                  <a:moveTo>
                    <a:pt x="172720" y="163195"/>
                  </a:moveTo>
                  <a:lnTo>
                    <a:pt x="193675" y="177800"/>
                  </a:lnTo>
                  <a:lnTo>
                    <a:pt x="222885" y="136525"/>
                  </a:lnTo>
                  <a:lnTo>
                    <a:pt x="201930" y="121920"/>
                  </a:lnTo>
                  <a:lnTo>
                    <a:pt x="49530" y="14605"/>
                  </a:lnTo>
                  <a:lnTo>
                    <a:pt x="29210" y="0"/>
                  </a:lnTo>
                  <a:lnTo>
                    <a:pt x="0" y="41910"/>
                  </a:lnTo>
                  <a:lnTo>
                    <a:pt x="20320"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41" name="Google Shape;741;p15"/>
            <p:cNvSpPr/>
            <p:nvPr/>
          </p:nvSpPr>
          <p:spPr>
            <a:xfrm>
              <a:off x="6278245" y="3942079"/>
              <a:ext cx="222884" cy="177800"/>
            </a:xfrm>
            <a:custGeom>
              <a:avLst/>
              <a:gdLst/>
              <a:ahLst/>
              <a:cxnLst/>
              <a:rect l="l" t="t" r="r" b="b"/>
              <a:pathLst>
                <a:path w="222884" h="177800" extrusionOk="0">
                  <a:moveTo>
                    <a:pt x="193675" y="177800"/>
                  </a:moveTo>
                  <a:lnTo>
                    <a:pt x="222885" y="136525"/>
                  </a:lnTo>
                  <a:lnTo>
                    <a:pt x="201930" y="121920"/>
                  </a:lnTo>
                  <a:lnTo>
                    <a:pt x="49530" y="14605"/>
                  </a:lnTo>
                  <a:lnTo>
                    <a:pt x="29210" y="0"/>
                  </a:lnTo>
                  <a:lnTo>
                    <a:pt x="0" y="41910"/>
                  </a:lnTo>
                  <a:lnTo>
                    <a:pt x="20320" y="56515"/>
                  </a:lnTo>
                  <a:lnTo>
                    <a:pt x="172720" y="16319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42" name="Google Shape;742;p15"/>
            <p:cNvSpPr/>
            <p:nvPr/>
          </p:nvSpPr>
          <p:spPr>
            <a:xfrm>
              <a:off x="6913244" y="4304029"/>
              <a:ext cx="222885" cy="177800"/>
            </a:xfrm>
            <a:custGeom>
              <a:avLst/>
              <a:gdLst/>
              <a:ahLst/>
              <a:cxnLst/>
              <a:rect l="l" t="t" r="r" b="b"/>
              <a:pathLst>
                <a:path w="222885" h="177800" extrusionOk="0">
                  <a:moveTo>
                    <a:pt x="193675" y="177800"/>
                  </a:moveTo>
                  <a:lnTo>
                    <a:pt x="222886" y="136525"/>
                  </a:lnTo>
                  <a:lnTo>
                    <a:pt x="201930" y="121920"/>
                  </a:lnTo>
                  <a:lnTo>
                    <a:pt x="49530" y="14605"/>
                  </a:lnTo>
                  <a:lnTo>
                    <a:pt x="29211" y="0"/>
                  </a:lnTo>
                  <a:lnTo>
                    <a:pt x="0" y="41910"/>
                  </a:lnTo>
                  <a:lnTo>
                    <a:pt x="20320" y="56515"/>
                  </a:lnTo>
                  <a:lnTo>
                    <a:pt x="172720" y="16319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43" name="Google Shape;743;p15"/>
            <p:cNvSpPr/>
            <p:nvPr/>
          </p:nvSpPr>
          <p:spPr>
            <a:xfrm>
              <a:off x="7548244" y="4665979"/>
              <a:ext cx="222885" cy="177800"/>
            </a:xfrm>
            <a:custGeom>
              <a:avLst/>
              <a:gdLst/>
              <a:ahLst/>
              <a:cxnLst/>
              <a:rect l="l" t="t" r="r" b="b"/>
              <a:pathLst>
                <a:path w="222885" h="177800" extrusionOk="0">
                  <a:moveTo>
                    <a:pt x="193675" y="177800"/>
                  </a:moveTo>
                  <a:lnTo>
                    <a:pt x="222886" y="136525"/>
                  </a:lnTo>
                  <a:lnTo>
                    <a:pt x="201930" y="121920"/>
                  </a:lnTo>
                  <a:lnTo>
                    <a:pt x="49530" y="14605"/>
                  </a:lnTo>
                  <a:lnTo>
                    <a:pt x="29211" y="0"/>
                  </a:lnTo>
                  <a:lnTo>
                    <a:pt x="0" y="41910"/>
                  </a:lnTo>
                  <a:lnTo>
                    <a:pt x="20320" y="56515"/>
                  </a:lnTo>
                  <a:lnTo>
                    <a:pt x="172720" y="16319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44" name="Google Shape;744;p15"/>
            <p:cNvSpPr/>
            <p:nvPr/>
          </p:nvSpPr>
          <p:spPr>
            <a:xfrm>
              <a:off x="8183244" y="5027929"/>
              <a:ext cx="222885" cy="177800"/>
            </a:xfrm>
            <a:custGeom>
              <a:avLst/>
              <a:gdLst/>
              <a:ahLst/>
              <a:cxnLst/>
              <a:rect l="l" t="t" r="r" b="b"/>
              <a:pathLst>
                <a:path w="222885" h="177800" extrusionOk="0">
                  <a:moveTo>
                    <a:pt x="193675" y="177800"/>
                  </a:moveTo>
                  <a:lnTo>
                    <a:pt x="222886" y="136525"/>
                  </a:lnTo>
                  <a:lnTo>
                    <a:pt x="201930" y="121920"/>
                  </a:lnTo>
                  <a:lnTo>
                    <a:pt x="49530" y="14605"/>
                  </a:lnTo>
                  <a:lnTo>
                    <a:pt x="29211" y="0"/>
                  </a:lnTo>
                  <a:lnTo>
                    <a:pt x="0" y="41910"/>
                  </a:lnTo>
                  <a:lnTo>
                    <a:pt x="20320" y="56515"/>
                  </a:lnTo>
                  <a:lnTo>
                    <a:pt x="172720" y="16319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45" name="Google Shape;745;p15"/>
            <p:cNvSpPr/>
            <p:nvPr/>
          </p:nvSpPr>
          <p:spPr>
            <a:xfrm>
              <a:off x="8818244" y="5389879"/>
              <a:ext cx="222885" cy="177800"/>
            </a:xfrm>
            <a:custGeom>
              <a:avLst/>
              <a:gdLst/>
              <a:ahLst/>
              <a:cxnLst/>
              <a:rect l="l" t="t" r="r" b="b"/>
              <a:pathLst>
                <a:path w="222885" h="177800" extrusionOk="0">
                  <a:moveTo>
                    <a:pt x="193675" y="177800"/>
                  </a:moveTo>
                  <a:lnTo>
                    <a:pt x="222886" y="136525"/>
                  </a:lnTo>
                  <a:lnTo>
                    <a:pt x="201930" y="121920"/>
                  </a:lnTo>
                  <a:lnTo>
                    <a:pt x="49530" y="14605"/>
                  </a:lnTo>
                  <a:lnTo>
                    <a:pt x="29211" y="0"/>
                  </a:lnTo>
                  <a:lnTo>
                    <a:pt x="0" y="41910"/>
                  </a:lnTo>
                  <a:lnTo>
                    <a:pt x="20320" y="56515"/>
                  </a:lnTo>
                  <a:lnTo>
                    <a:pt x="172720" y="16319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46" name="Google Shape;746;p15"/>
            <p:cNvSpPr/>
            <p:nvPr/>
          </p:nvSpPr>
          <p:spPr>
            <a:xfrm>
              <a:off x="9453244" y="5751829"/>
              <a:ext cx="222885" cy="177800"/>
            </a:xfrm>
            <a:custGeom>
              <a:avLst/>
              <a:gdLst/>
              <a:ahLst/>
              <a:cxnLst/>
              <a:rect l="l" t="t" r="r" b="b"/>
              <a:pathLst>
                <a:path w="222885" h="177800" extrusionOk="0">
                  <a:moveTo>
                    <a:pt x="193675" y="177800"/>
                  </a:moveTo>
                  <a:lnTo>
                    <a:pt x="222886" y="136525"/>
                  </a:lnTo>
                  <a:lnTo>
                    <a:pt x="201930" y="121920"/>
                  </a:lnTo>
                  <a:lnTo>
                    <a:pt x="49530" y="14605"/>
                  </a:lnTo>
                  <a:lnTo>
                    <a:pt x="29211" y="0"/>
                  </a:lnTo>
                  <a:lnTo>
                    <a:pt x="0" y="41910"/>
                  </a:lnTo>
                  <a:lnTo>
                    <a:pt x="20320" y="56515"/>
                  </a:lnTo>
                  <a:lnTo>
                    <a:pt x="172720" y="16319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47" name="Google Shape;747;p15"/>
            <p:cNvSpPr/>
            <p:nvPr/>
          </p:nvSpPr>
          <p:spPr>
            <a:xfrm>
              <a:off x="10088244" y="6113779"/>
              <a:ext cx="222885" cy="177800"/>
            </a:xfrm>
            <a:custGeom>
              <a:avLst/>
              <a:gdLst/>
              <a:ahLst/>
              <a:cxnLst/>
              <a:rect l="l" t="t" r="r" b="b"/>
              <a:pathLst>
                <a:path w="222885" h="177800" extrusionOk="0">
                  <a:moveTo>
                    <a:pt x="193675" y="177800"/>
                  </a:moveTo>
                  <a:lnTo>
                    <a:pt x="222886" y="136525"/>
                  </a:lnTo>
                  <a:lnTo>
                    <a:pt x="201930" y="121920"/>
                  </a:lnTo>
                  <a:lnTo>
                    <a:pt x="49530" y="14605"/>
                  </a:lnTo>
                  <a:lnTo>
                    <a:pt x="29211" y="0"/>
                  </a:lnTo>
                  <a:lnTo>
                    <a:pt x="0" y="41910"/>
                  </a:lnTo>
                  <a:lnTo>
                    <a:pt x="20320" y="56515"/>
                  </a:lnTo>
                  <a:lnTo>
                    <a:pt x="172720" y="16319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48" name="Google Shape;748;p15"/>
            <p:cNvSpPr/>
            <p:nvPr/>
          </p:nvSpPr>
          <p:spPr>
            <a:xfrm>
              <a:off x="10723244" y="6475729"/>
              <a:ext cx="222885" cy="177800"/>
            </a:xfrm>
            <a:custGeom>
              <a:avLst/>
              <a:gdLst/>
              <a:ahLst/>
              <a:cxnLst/>
              <a:rect l="l" t="t" r="r" b="b"/>
              <a:pathLst>
                <a:path w="222885" h="177800" extrusionOk="0">
                  <a:moveTo>
                    <a:pt x="49530" y="14605"/>
                  </a:moveTo>
                  <a:lnTo>
                    <a:pt x="29211" y="0"/>
                  </a:lnTo>
                  <a:lnTo>
                    <a:pt x="0" y="41910"/>
                  </a:lnTo>
                  <a:lnTo>
                    <a:pt x="20320" y="56515"/>
                  </a:lnTo>
                  <a:lnTo>
                    <a:pt x="172720" y="163195"/>
                  </a:lnTo>
                  <a:lnTo>
                    <a:pt x="193675" y="177800"/>
                  </a:lnTo>
                  <a:lnTo>
                    <a:pt x="222886" y="136525"/>
                  </a:lnTo>
                  <a:lnTo>
                    <a:pt x="201930" y="12192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49" name="Google Shape;749;p15"/>
            <p:cNvSpPr/>
            <p:nvPr/>
          </p:nvSpPr>
          <p:spPr>
            <a:xfrm>
              <a:off x="11372850" y="6837680"/>
              <a:ext cx="43180" cy="20319"/>
            </a:xfrm>
            <a:custGeom>
              <a:avLst/>
              <a:gdLst/>
              <a:ahLst/>
              <a:cxnLst/>
              <a:rect l="l" t="t" r="r" b="b"/>
              <a:pathLst>
                <a:path w="43180" h="20319" extrusionOk="0">
                  <a:moveTo>
                    <a:pt x="14605" y="0"/>
                  </a:moveTo>
                  <a:lnTo>
                    <a:pt x="0" y="20320"/>
                  </a:lnTo>
                  <a:lnTo>
                    <a:pt x="43180" y="20320"/>
                  </a:lnTo>
                  <a:lnTo>
                    <a:pt x="34925" y="1460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50" name="Google Shape;750;p15"/>
            <p:cNvSpPr/>
            <p:nvPr/>
          </p:nvSpPr>
          <p:spPr>
            <a:xfrm>
              <a:off x="392429" y="311784"/>
              <a:ext cx="224154" cy="199390"/>
            </a:xfrm>
            <a:custGeom>
              <a:avLst/>
              <a:gdLst/>
              <a:ahLst/>
              <a:cxnLst/>
              <a:rect l="l" t="t" r="r" b="b"/>
              <a:pathLst>
                <a:path w="224154" h="199390" extrusionOk="0">
                  <a:moveTo>
                    <a:pt x="19685" y="55245"/>
                  </a:moveTo>
                  <a:lnTo>
                    <a:pt x="172085" y="183515"/>
                  </a:lnTo>
                  <a:lnTo>
                    <a:pt x="191770" y="199390"/>
                  </a:lnTo>
                  <a:lnTo>
                    <a:pt x="224155" y="160655"/>
                  </a:lnTo>
                  <a:lnTo>
                    <a:pt x="205105" y="144145"/>
                  </a:lnTo>
                  <a:lnTo>
                    <a:pt x="52705" y="16510"/>
                  </a:lnTo>
                  <a:lnTo>
                    <a:pt x="33020" y="0"/>
                  </a:lnTo>
                  <a:lnTo>
                    <a:pt x="0" y="3873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51" name="Google Shape;751;p15"/>
            <p:cNvSpPr/>
            <p:nvPr/>
          </p:nvSpPr>
          <p:spPr>
            <a:xfrm>
              <a:off x="1027430" y="673734"/>
              <a:ext cx="224155" cy="199390"/>
            </a:xfrm>
            <a:custGeom>
              <a:avLst/>
              <a:gdLst/>
              <a:ahLst/>
              <a:cxnLst/>
              <a:rect l="l" t="t" r="r" b="b"/>
              <a:pathLst>
                <a:path w="224155" h="199390" extrusionOk="0">
                  <a:moveTo>
                    <a:pt x="52705" y="16510"/>
                  </a:moveTo>
                  <a:lnTo>
                    <a:pt x="33020" y="0"/>
                  </a:lnTo>
                  <a:lnTo>
                    <a:pt x="0" y="38735"/>
                  </a:lnTo>
                  <a:lnTo>
                    <a:pt x="19685" y="55245"/>
                  </a:lnTo>
                  <a:lnTo>
                    <a:pt x="172085" y="183515"/>
                  </a:lnTo>
                  <a:lnTo>
                    <a:pt x="191770" y="199390"/>
                  </a:lnTo>
                  <a:lnTo>
                    <a:pt x="224155" y="160655"/>
                  </a:lnTo>
                  <a:lnTo>
                    <a:pt x="205105" y="14414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52" name="Google Shape;752;p15"/>
            <p:cNvSpPr/>
            <p:nvPr/>
          </p:nvSpPr>
          <p:spPr>
            <a:xfrm>
              <a:off x="1662429" y="1035685"/>
              <a:ext cx="224155" cy="199389"/>
            </a:xfrm>
            <a:custGeom>
              <a:avLst/>
              <a:gdLst/>
              <a:ahLst/>
              <a:cxnLst/>
              <a:rect l="l" t="t" r="r" b="b"/>
              <a:pathLst>
                <a:path w="224155" h="199389" extrusionOk="0">
                  <a:moveTo>
                    <a:pt x="52705" y="16510"/>
                  </a:moveTo>
                  <a:lnTo>
                    <a:pt x="33020" y="0"/>
                  </a:lnTo>
                  <a:lnTo>
                    <a:pt x="0" y="38735"/>
                  </a:lnTo>
                  <a:lnTo>
                    <a:pt x="19685" y="55245"/>
                  </a:lnTo>
                  <a:lnTo>
                    <a:pt x="172085" y="183515"/>
                  </a:lnTo>
                  <a:lnTo>
                    <a:pt x="191770" y="199390"/>
                  </a:lnTo>
                  <a:lnTo>
                    <a:pt x="224155" y="160655"/>
                  </a:lnTo>
                  <a:lnTo>
                    <a:pt x="205105" y="14414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53" name="Google Shape;753;p15"/>
            <p:cNvSpPr/>
            <p:nvPr/>
          </p:nvSpPr>
          <p:spPr>
            <a:xfrm>
              <a:off x="2297429" y="1397635"/>
              <a:ext cx="224155" cy="199389"/>
            </a:xfrm>
            <a:custGeom>
              <a:avLst/>
              <a:gdLst/>
              <a:ahLst/>
              <a:cxnLst/>
              <a:rect l="l" t="t" r="r" b="b"/>
              <a:pathLst>
                <a:path w="224155" h="199389" extrusionOk="0">
                  <a:moveTo>
                    <a:pt x="52705" y="16510"/>
                  </a:moveTo>
                  <a:lnTo>
                    <a:pt x="33020" y="0"/>
                  </a:lnTo>
                  <a:lnTo>
                    <a:pt x="0" y="38735"/>
                  </a:lnTo>
                  <a:lnTo>
                    <a:pt x="19685" y="55245"/>
                  </a:lnTo>
                  <a:lnTo>
                    <a:pt x="172085" y="183515"/>
                  </a:lnTo>
                  <a:lnTo>
                    <a:pt x="191770" y="199390"/>
                  </a:lnTo>
                  <a:lnTo>
                    <a:pt x="224155" y="160655"/>
                  </a:lnTo>
                  <a:lnTo>
                    <a:pt x="205105" y="14414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54" name="Google Shape;754;p15"/>
            <p:cNvSpPr/>
            <p:nvPr/>
          </p:nvSpPr>
          <p:spPr>
            <a:xfrm>
              <a:off x="2932429" y="1759585"/>
              <a:ext cx="224155" cy="199389"/>
            </a:xfrm>
            <a:custGeom>
              <a:avLst/>
              <a:gdLst/>
              <a:ahLst/>
              <a:cxnLst/>
              <a:rect l="l" t="t" r="r" b="b"/>
              <a:pathLst>
                <a:path w="224155" h="199389" extrusionOk="0">
                  <a:moveTo>
                    <a:pt x="191770" y="199390"/>
                  </a:moveTo>
                  <a:lnTo>
                    <a:pt x="224155" y="160655"/>
                  </a:lnTo>
                  <a:lnTo>
                    <a:pt x="205105" y="144145"/>
                  </a:lnTo>
                  <a:lnTo>
                    <a:pt x="52705" y="16510"/>
                  </a:lnTo>
                  <a:lnTo>
                    <a:pt x="33020" y="0"/>
                  </a:lnTo>
                  <a:lnTo>
                    <a:pt x="0" y="38735"/>
                  </a:lnTo>
                  <a:lnTo>
                    <a:pt x="19685" y="55245"/>
                  </a:lnTo>
                  <a:lnTo>
                    <a:pt x="172085" y="183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55" name="Google Shape;755;p15"/>
            <p:cNvSpPr/>
            <p:nvPr/>
          </p:nvSpPr>
          <p:spPr>
            <a:xfrm>
              <a:off x="3567429" y="2121535"/>
              <a:ext cx="224154" cy="199389"/>
            </a:xfrm>
            <a:custGeom>
              <a:avLst/>
              <a:gdLst/>
              <a:ahLst/>
              <a:cxnLst/>
              <a:rect l="l" t="t" r="r" b="b"/>
              <a:pathLst>
                <a:path w="224154" h="199389" extrusionOk="0">
                  <a:moveTo>
                    <a:pt x="191770" y="199390"/>
                  </a:moveTo>
                  <a:lnTo>
                    <a:pt x="224155" y="160655"/>
                  </a:lnTo>
                  <a:lnTo>
                    <a:pt x="205105" y="144145"/>
                  </a:lnTo>
                  <a:lnTo>
                    <a:pt x="52705" y="16510"/>
                  </a:lnTo>
                  <a:lnTo>
                    <a:pt x="33020" y="0"/>
                  </a:lnTo>
                  <a:lnTo>
                    <a:pt x="0" y="38735"/>
                  </a:lnTo>
                  <a:lnTo>
                    <a:pt x="19685" y="55245"/>
                  </a:lnTo>
                  <a:lnTo>
                    <a:pt x="172085" y="183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56" name="Google Shape;756;p15"/>
            <p:cNvSpPr/>
            <p:nvPr/>
          </p:nvSpPr>
          <p:spPr>
            <a:xfrm>
              <a:off x="4202429" y="2483485"/>
              <a:ext cx="224154" cy="199389"/>
            </a:xfrm>
            <a:custGeom>
              <a:avLst/>
              <a:gdLst/>
              <a:ahLst/>
              <a:cxnLst/>
              <a:rect l="l" t="t" r="r" b="b"/>
              <a:pathLst>
                <a:path w="224154" h="199389" extrusionOk="0">
                  <a:moveTo>
                    <a:pt x="191770" y="199390"/>
                  </a:moveTo>
                  <a:lnTo>
                    <a:pt x="224155" y="160655"/>
                  </a:lnTo>
                  <a:lnTo>
                    <a:pt x="205105" y="144145"/>
                  </a:lnTo>
                  <a:lnTo>
                    <a:pt x="52705" y="16510"/>
                  </a:lnTo>
                  <a:lnTo>
                    <a:pt x="33020" y="0"/>
                  </a:lnTo>
                  <a:lnTo>
                    <a:pt x="0" y="38735"/>
                  </a:lnTo>
                  <a:lnTo>
                    <a:pt x="19685" y="55245"/>
                  </a:lnTo>
                  <a:lnTo>
                    <a:pt x="172085" y="183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57" name="Google Shape;757;p15"/>
            <p:cNvSpPr/>
            <p:nvPr/>
          </p:nvSpPr>
          <p:spPr>
            <a:xfrm>
              <a:off x="4837429" y="2845435"/>
              <a:ext cx="224154" cy="199389"/>
            </a:xfrm>
            <a:custGeom>
              <a:avLst/>
              <a:gdLst/>
              <a:ahLst/>
              <a:cxnLst/>
              <a:rect l="l" t="t" r="r" b="b"/>
              <a:pathLst>
                <a:path w="224154" h="199389" extrusionOk="0">
                  <a:moveTo>
                    <a:pt x="191770" y="199390"/>
                  </a:moveTo>
                  <a:lnTo>
                    <a:pt x="224155" y="160655"/>
                  </a:lnTo>
                  <a:lnTo>
                    <a:pt x="205105" y="144145"/>
                  </a:lnTo>
                  <a:lnTo>
                    <a:pt x="52705" y="16510"/>
                  </a:lnTo>
                  <a:lnTo>
                    <a:pt x="33020" y="0"/>
                  </a:lnTo>
                  <a:lnTo>
                    <a:pt x="0" y="38735"/>
                  </a:lnTo>
                  <a:lnTo>
                    <a:pt x="19685" y="55245"/>
                  </a:lnTo>
                  <a:lnTo>
                    <a:pt x="172085" y="183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58" name="Google Shape;758;p15"/>
            <p:cNvSpPr/>
            <p:nvPr/>
          </p:nvSpPr>
          <p:spPr>
            <a:xfrm>
              <a:off x="5472429" y="3207385"/>
              <a:ext cx="224154" cy="199389"/>
            </a:xfrm>
            <a:custGeom>
              <a:avLst/>
              <a:gdLst/>
              <a:ahLst/>
              <a:cxnLst/>
              <a:rect l="l" t="t" r="r" b="b"/>
              <a:pathLst>
                <a:path w="224154" h="199389" extrusionOk="0">
                  <a:moveTo>
                    <a:pt x="191770" y="199390"/>
                  </a:moveTo>
                  <a:lnTo>
                    <a:pt x="224155" y="160655"/>
                  </a:lnTo>
                  <a:lnTo>
                    <a:pt x="205105" y="144145"/>
                  </a:lnTo>
                  <a:lnTo>
                    <a:pt x="52705" y="16510"/>
                  </a:lnTo>
                  <a:lnTo>
                    <a:pt x="33020" y="0"/>
                  </a:lnTo>
                  <a:lnTo>
                    <a:pt x="0" y="38735"/>
                  </a:lnTo>
                  <a:lnTo>
                    <a:pt x="19685" y="55245"/>
                  </a:lnTo>
                  <a:lnTo>
                    <a:pt x="172085" y="183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59" name="Google Shape;759;p15"/>
            <p:cNvSpPr/>
            <p:nvPr/>
          </p:nvSpPr>
          <p:spPr>
            <a:xfrm>
              <a:off x="6107429" y="3569334"/>
              <a:ext cx="224154" cy="199390"/>
            </a:xfrm>
            <a:custGeom>
              <a:avLst/>
              <a:gdLst/>
              <a:ahLst/>
              <a:cxnLst/>
              <a:rect l="l" t="t" r="r" b="b"/>
              <a:pathLst>
                <a:path w="224154" h="199390" extrusionOk="0">
                  <a:moveTo>
                    <a:pt x="191770" y="199390"/>
                  </a:moveTo>
                  <a:lnTo>
                    <a:pt x="224155" y="160655"/>
                  </a:lnTo>
                  <a:lnTo>
                    <a:pt x="205105" y="144145"/>
                  </a:lnTo>
                  <a:lnTo>
                    <a:pt x="52705" y="16510"/>
                  </a:lnTo>
                  <a:lnTo>
                    <a:pt x="33020" y="0"/>
                  </a:lnTo>
                  <a:lnTo>
                    <a:pt x="0" y="38735"/>
                  </a:lnTo>
                  <a:lnTo>
                    <a:pt x="19685" y="55245"/>
                  </a:lnTo>
                  <a:lnTo>
                    <a:pt x="172085" y="183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60" name="Google Shape;760;p15"/>
            <p:cNvSpPr/>
            <p:nvPr/>
          </p:nvSpPr>
          <p:spPr>
            <a:xfrm>
              <a:off x="6742430" y="3931284"/>
              <a:ext cx="224154" cy="199390"/>
            </a:xfrm>
            <a:custGeom>
              <a:avLst/>
              <a:gdLst/>
              <a:ahLst/>
              <a:cxnLst/>
              <a:rect l="l" t="t" r="r" b="b"/>
              <a:pathLst>
                <a:path w="224154" h="199390" extrusionOk="0">
                  <a:moveTo>
                    <a:pt x="191770" y="199390"/>
                  </a:moveTo>
                  <a:lnTo>
                    <a:pt x="224155" y="160655"/>
                  </a:lnTo>
                  <a:lnTo>
                    <a:pt x="205105" y="144145"/>
                  </a:lnTo>
                  <a:lnTo>
                    <a:pt x="52705" y="16510"/>
                  </a:lnTo>
                  <a:lnTo>
                    <a:pt x="33020" y="0"/>
                  </a:lnTo>
                  <a:lnTo>
                    <a:pt x="0" y="38735"/>
                  </a:lnTo>
                  <a:lnTo>
                    <a:pt x="19685" y="55245"/>
                  </a:lnTo>
                  <a:lnTo>
                    <a:pt x="172085" y="183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61" name="Google Shape;761;p15"/>
            <p:cNvSpPr/>
            <p:nvPr/>
          </p:nvSpPr>
          <p:spPr>
            <a:xfrm>
              <a:off x="7377430" y="4293234"/>
              <a:ext cx="224154" cy="199390"/>
            </a:xfrm>
            <a:custGeom>
              <a:avLst/>
              <a:gdLst/>
              <a:ahLst/>
              <a:cxnLst/>
              <a:rect l="l" t="t" r="r" b="b"/>
              <a:pathLst>
                <a:path w="224154" h="199390" extrusionOk="0">
                  <a:moveTo>
                    <a:pt x="191770" y="199390"/>
                  </a:moveTo>
                  <a:lnTo>
                    <a:pt x="224155" y="160655"/>
                  </a:lnTo>
                  <a:lnTo>
                    <a:pt x="205105" y="144145"/>
                  </a:lnTo>
                  <a:lnTo>
                    <a:pt x="52705" y="16510"/>
                  </a:lnTo>
                  <a:lnTo>
                    <a:pt x="33020" y="0"/>
                  </a:lnTo>
                  <a:lnTo>
                    <a:pt x="0" y="38735"/>
                  </a:lnTo>
                  <a:lnTo>
                    <a:pt x="19685" y="55245"/>
                  </a:lnTo>
                  <a:lnTo>
                    <a:pt x="172085" y="183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62" name="Google Shape;762;p15"/>
            <p:cNvSpPr/>
            <p:nvPr/>
          </p:nvSpPr>
          <p:spPr>
            <a:xfrm>
              <a:off x="8012430" y="4655184"/>
              <a:ext cx="224154" cy="199390"/>
            </a:xfrm>
            <a:custGeom>
              <a:avLst/>
              <a:gdLst/>
              <a:ahLst/>
              <a:cxnLst/>
              <a:rect l="l" t="t" r="r" b="b"/>
              <a:pathLst>
                <a:path w="224154" h="199390" extrusionOk="0">
                  <a:moveTo>
                    <a:pt x="191770" y="199390"/>
                  </a:moveTo>
                  <a:lnTo>
                    <a:pt x="224155" y="160655"/>
                  </a:lnTo>
                  <a:lnTo>
                    <a:pt x="205105" y="144145"/>
                  </a:lnTo>
                  <a:lnTo>
                    <a:pt x="52705" y="16510"/>
                  </a:lnTo>
                  <a:lnTo>
                    <a:pt x="33020" y="0"/>
                  </a:lnTo>
                  <a:lnTo>
                    <a:pt x="0" y="38735"/>
                  </a:lnTo>
                  <a:lnTo>
                    <a:pt x="19685" y="55245"/>
                  </a:lnTo>
                  <a:lnTo>
                    <a:pt x="172085" y="183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63" name="Google Shape;763;p15"/>
            <p:cNvSpPr/>
            <p:nvPr/>
          </p:nvSpPr>
          <p:spPr>
            <a:xfrm>
              <a:off x="8647430" y="5017134"/>
              <a:ext cx="224154" cy="199390"/>
            </a:xfrm>
            <a:custGeom>
              <a:avLst/>
              <a:gdLst/>
              <a:ahLst/>
              <a:cxnLst/>
              <a:rect l="l" t="t" r="r" b="b"/>
              <a:pathLst>
                <a:path w="224154" h="199390" extrusionOk="0">
                  <a:moveTo>
                    <a:pt x="172085" y="183515"/>
                  </a:moveTo>
                  <a:lnTo>
                    <a:pt x="191770" y="199390"/>
                  </a:lnTo>
                  <a:lnTo>
                    <a:pt x="224155" y="160655"/>
                  </a:lnTo>
                  <a:lnTo>
                    <a:pt x="205105" y="144145"/>
                  </a:lnTo>
                  <a:lnTo>
                    <a:pt x="52705" y="16510"/>
                  </a:lnTo>
                  <a:lnTo>
                    <a:pt x="33020" y="0"/>
                  </a:lnTo>
                  <a:lnTo>
                    <a:pt x="0" y="38735"/>
                  </a:lnTo>
                  <a:lnTo>
                    <a:pt x="19685" y="5524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64" name="Google Shape;764;p15"/>
            <p:cNvSpPr/>
            <p:nvPr/>
          </p:nvSpPr>
          <p:spPr>
            <a:xfrm>
              <a:off x="9282430" y="5379084"/>
              <a:ext cx="224154" cy="199390"/>
            </a:xfrm>
            <a:custGeom>
              <a:avLst/>
              <a:gdLst/>
              <a:ahLst/>
              <a:cxnLst/>
              <a:rect l="l" t="t" r="r" b="b"/>
              <a:pathLst>
                <a:path w="224154" h="199390" extrusionOk="0">
                  <a:moveTo>
                    <a:pt x="172085" y="183515"/>
                  </a:moveTo>
                  <a:lnTo>
                    <a:pt x="191770" y="199390"/>
                  </a:lnTo>
                  <a:lnTo>
                    <a:pt x="224155" y="160655"/>
                  </a:lnTo>
                  <a:lnTo>
                    <a:pt x="205105" y="144145"/>
                  </a:lnTo>
                  <a:lnTo>
                    <a:pt x="52705" y="16510"/>
                  </a:lnTo>
                  <a:lnTo>
                    <a:pt x="33020" y="0"/>
                  </a:lnTo>
                  <a:lnTo>
                    <a:pt x="0" y="38735"/>
                  </a:lnTo>
                  <a:lnTo>
                    <a:pt x="19685" y="5524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65" name="Google Shape;765;p15"/>
            <p:cNvSpPr/>
            <p:nvPr/>
          </p:nvSpPr>
          <p:spPr>
            <a:xfrm>
              <a:off x="9917430" y="5741034"/>
              <a:ext cx="224154" cy="199390"/>
            </a:xfrm>
            <a:custGeom>
              <a:avLst/>
              <a:gdLst/>
              <a:ahLst/>
              <a:cxnLst/>
              <a:rect l="l" t="t" r="r" b="b"/>
              <a:pathLst>
                <a:path w="224154" h="199390" extrusionOk="0">
                  <a:moveTo>
                    <a:pt x="191770" y="199390"/>
                  </a:moveTo>
                  <a:lnTo>
                    <a:pt x="224155" y="160655"/>
                  </a:lnTo>
                  <a:lnTo>
                    <a:pt x="205105" y="144145"/>
                  </a:lnTo>
                  <a:lnTo>
                    <a:pt x="52705" y="16510"/>
                  </a:lnTo>
                  <a:lnTo>
                    <a:pt x="33020" y="0"/>
                  </a:lnTo>
                  <a:lnTo>
                    <a:pt x="0" y="38735"/>
                  </a:lnTo>
                  <a:lnTo>
                    <a:pt x="19685" y="55245"/>
                  </a:lnTo>
                  <a:lnTo>
                    <a:pt x="172085" y="183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66" name="Google Shape;766;p15"/>
            <p:cNvSpPr/>
            <p:nvPr/>
          </p:nvSpPr>
          <p:spPr>
            <a:xfrm>
              <a:off x="10552430" y="6102984"/>
              <a:ext cx="224154" cy="199390"/>
            </a:xfrm>
            <a:custGeom>
              <a:avLst/>
              <a:gdLst/>
              <a:ahLst/>
              <a:cxnLst/>
              <a:rect l="l" t="t" r="r" b="b"/>
              <a:pathLst>
                <a:path w="224154" h="199390" extrusionOk="0">
                  <a:moveTo>
                    <a:pt x="191770" y="199390"/>
                  </a:moveTo>
                  <a:lnTo>
                    <a:pt x="224155" y="160655"/>
                  </a:lnTo>
                  <a:lnTo>
                    <a:pt x="205105" y="144145"/>
                  </a:lnTo>
                  <a:lnTo>
                    <a:pt x="52705" y="16510"/>
                  </a:lnTo>
                  <a:lnTo>
                    <a:pt x="33020" y="0"/>
                  </a:lnTo>
                  <a:lnTo>
                    <a:pt x="0" y="38735"/>
                  </a:lnTo>
                  <a:lnTo>
                    <a:pt x="19685" y="55245"/>
                  </a:lnTo>
                  <a:lnTo>
                    <a:pt x="172085" y="183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67" name="Google Shape;767;p15"/>
            <p:cNvSpPr/>
            <p:nvPr/>
          </p:nvSpPr>
          <p:spPr>
            <a:xfrm>
              <a:off x="11187430" y="6464934"/>
              <a:ext cx="224154" cy="199390"/>
            </a:xfrm>
            <a:custGeom>
              <a:avLst/>
              <a:gdLst/>
              <a:ahLst/>
              <a:cxnLst/>
              <a:rect l="l" t="t" r="r" b="b"/>
              <a:pathLst>
                <a:path w="224154" h="199390" extrusionOk="0">
                  <a:moveTo>
                    <a:pt x="224155" y="160655"/>
                  </a:moveTo>
                  <a:lnTo>
                    <a:pt x="205105" y="144145"/>
                  </a:lnTo>
                  <a:lnTo>
                    <a:pt x="52705" y="16510"/>
                  </a:lnTo>
                  <a:lnTo>
                    <a:pt x="33020" y="0"/>
                  </a:lnTo>
                  <a:lnTo>
                    <a:pt x="0" y="38735"/>
                  </a:lnTo>
                  <a:lnTo>
                    <a:pt x="19685" y="55245"/>
                  </a:lnTo>
                  <a:lnTo>
                    <a:pt x="172085" y="183515"/>
                  </a:lnTo>
                  <a:lnTo>
                    <a:pt x="191770" y="19939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68" name="Google Shape;768;p15"/>
            <p:cNvSpPr/>
            <p:nvPr/>
          </p:nvSpPr>
          <p:spPr>
            <a:xfrm>
              <a:off x="11829415" y="6826884"/>
              <a:ext cx="62865" cy="31115"/>
            </a:xfrm>
            <a:custGeom>
              <a:avLst/>
              <a:gdLst/>
              <a:ahLst/>
              <a:cxnLst/>
              <a:rect l="l" t="t" r="r" b="b"/>
              <a:pathLst>
                <a:path w="62865" h="31115" extrusionOk="0">
                  <a:moveTo>
                    <a:pt x="26035" y="0"/>
                  </a:moveTo>
                  <a:lnTo>
                    <a:pt x="0" y="31115"/>
                  </a:lnTo>
                  <a:lnTo>
                    <a:pt x="62865" y="31115"/>
                  </a:lnTo>
                  <a:lnTo>
                    <a:pt x="45720" y="1651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69" name="Google Shape;769;p15"/>
            <p:cNvSpPr/>
            <p:nvPr/>
          </p:nvSpPr>
          <p:spPr>
            <a:xfrm>
              <a:off x="218440" y="0"/>
              <a:ext cx="201294" cy="157479"/>
            </a:xfrm>
            <a:custGeom>
              <a:avLst/>
              <a:gdLst/>
              <a:ahLst/>
              <a:cxnLst/>
              <a:rect l="l" t="t" r="r" b="b"/>
              <a:pathLst>
                <a:path w="201294" h="157479" extrusionOk="0">
                  <a:moveTo>
                    <a:pt x="166370" y="157480"/>
                  </a:moveTo>
                  <a:lnTo>
                    <a:pt x="201295" y="120650"/>
                  </a:lnTo>
                  <a:lnTo>
                    <a:pt x="182880" y="103505"/>
                  </a:lnTo>
                  <a:lnTo>
                    <a:pt x="74295" y="0"/>
                  </a:lnTo>
                  <a:lnTo>
                    <a:pt x="0" y="0"/>
                  </a:lnTo>
                  <a:lnTo>
                    <a:pt x="147955" y="14033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70" name="Google Shape;770;p15"/>
            <p:cNvSpPr/>
            <p:nvPr/>
          </p:nvSpPr>
          <p:spPr>
            <a:xfrm>
              <a:off x="830580" y="303529"/>
              <a:ext cx="224155" cy="215900"/>
            </a:xfrm>
            <a:custGeom>
              <a:avLst/>
              <a:gdLst/>
              <a:ahLst/>
              <a:cxnLst/>
              <a:rect l="l" t="t" r="r" b="b"/>
              <a:pathLst>
                <a:path w="224155" h="215900" extrusionOk="0">
                  <a:moveTo>
                    <a:pt x="18415" y="54610"/>
                  </a:moveTo>
                  <a:lnTo>
                    <a:pt x="170815" y="198755"/>
                  </a:lnTo>
                  <a:lnTo>
                    <a:pt x="189230" y="215900"/>
                  </a:lnTo>
                  <a:lnTo>
                    <a:pt x="224155" y="179070"/>
                  </a:lnTo>
                  <a:lnTo>
                    <a:pt x="205740" y="161925"/>
                  </a:lnTo>
                  <a:lnTo>
                    <a:pt x="53340" y="17145"/>
                  </a:lnTo>
                  <a:lnTo>
                    <a:pt x="34925" y="0"/>
                  </a:lnTo>
                  <a:lnTo>
                    <a:pt x="0" y="3683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71" name="Google Shape;771;p15"/>
            <p:cNvSpPr/>
            <p:nvPr/>
          </p:nvSpPr>
          <p:spPr>
            <a:xfrm>
              <a:off x="1465580" y="665480"/>
              <a:ext cx="224155" cy="215900"/>
            </a:xfrm>
            <a:custGeom>
              <a:avLst/>
              <a:gdLst/>
              <a:ahLst/>
              <a:cxnLst/>
              <a:rect l="l" t="t" r="r" b="b"/>
              <a:pathLst>
                <a:path w="224155" h="215900" extrusionOk="0">
                  <a:moveTo>
                    <a:pt x="53340" y="17145"/>
                  </a:moveTo>
                  <a:lnTo>
                    <a:pt x="34925" y="0"/>
                  </a:lnTo>
                  <a:lnTo>
                    <a:pt x="0" y="36830"/>
                  </a:lnTo>
                  <a:lnTo>
                    <a:pt x="18415" y="54610"/>
                  </a:lnTo>
                  <a:lnTo>
                    <a:pt x="170815" y="198755"/>
                  </a:lnTo>
                  <a:lnTo>
                    <a:pt x="189230" y="215900"/>
                  </a:lnTo>
                  <a:lnTo>
                    <a:pt x="224155" y="179070"/>
                  </a:lnTo>
                  <a:lnTo>
                    <a:pt x="205740" y="16192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72" name="Google Shape;772;p15"/>
            <p:cNvSpPr/>
            <p:nvPr/>
          </p:nvSpPr>
          <p:spPr>
            <a:xfrm>
              <a:off x="2100579" y="1027430"/>
              <a:ext cx="224155" cy="215900"/>
            </a:xfrm>
            <a:custGeom>
              <a:avLst/>
              <a:gdLst/>
              <a:ahLst/>
              <a:cxnLst/>
              <a:rect l="l" t="t" r="r" b="b"/>
              <a:pathLst>
                <a:path w="224155" h="215900" extrusionOk="0">
                  <a:moveTo>
                    <a:pt x="53340" y="17145"/>
                  </a:moveTo>
                  <a:lnTo>
                    <a:pt x="34925" y="0"/>
                  </a:lnTo>
                  <a:lnTo>
                    <a:pt x="0" y="36830"/>
                  </a:lnTo>
                  <a:lnTo>
                    <a:pt x="18415" y="54610"/>
                  </a:lnTo>
                  <a:lnTo>
                    <a:pt x="170815" y="198755"/>
                  </a:lnTo>
                  <a:lnTo>
                    <a:pt x="189230" y="215900"/>
                  </a:lnTo>
                  <a:lnTo>
                    <a:pt x="224155" y="179070"/>
                  </a:lnTo>
                  <a:lnTo>
                    <a:pt x="205740" y="16192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73" name="Google Shape;773;p15"/>
            <p:cNvSpPr/>
            <p:nvPr/>
          </p:nvSpPr>
          <p:spPr>
            <a:xfrm>
              <a:off x="2735579" y="1389380"/>
              <a:ext cx="224155" cy="215900"/>
            </a:xfrm>
            <a:custGeom>
              <a:avLst/>
              <a:gdLst/>
              <a:ahLst/>
              <a:cxnLst/>
              <a:rect l="l" t="t" r="r" b="b"/>
              <a:pathLst>
                <a:path w="224155" h="215900" extrusionOk="0">
                  <a:moveTo>
                    <a:pt x="34925" y="0"/>
                  </a:moveTo>
                  <a:lnTo>
                    <a:pt x="0" y="36830"/>
                  </a:lnTo>
                  <a:lnTo>
                    <a:pt x="18415" y="54610"/>
                  </a:lnTo>
                  <a:lnTo>
                    <a:pt x="170815" y="198755"/>
                  </a:lnTo>
                  <a:lnTo>
                    <a:pt x="189230" y="215900"/>
                  </a:lnTo>
                  <a:lnTo>
                    <a:pt x="224155" y="179070"/>
                  </a:lnTo>
                  <a:lnTo>
                    <a:pt x="205740" y="161925"/>
                  </a:lnTo>
                  <a:lnTo>
                    <a:pt x="53340" y="1714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74" name="Google Shape;774;p15"/>
            <p:cNvSpPr/>
            <p:nvPr/>
          </p:nvSpPr>
          <p:spPr>
            <a:xfrm>
              <a:off x="3370579" y="1751329"/>
              <a:ext cx="224154" cy="215900"/>
            </a:xfrm>
            <a:custGeom>
              <a:avLst/>
              <a:gdLst/>
              <a:ahLst/>
              <a:cxnLst/>
              <a:rect l="l" t="t" r="r" b="b"/>
              <a:pathLst>
                <a:path w="224154" h="215900" extrusionOk="0">
                  <a:moveTo>
                    <a:pt x="34925" y="0"/>
                  </a:moveTo>
                  <a:lnTo>
                    <a:pt x="0" y="36830"/>
                  </a:lnTo>
                  <a:lnTo>
                    <a:pt x="18415" y="54610"/>
                  </a:lnTo>
                  <a:lnTo>
                    <a:pt x="170815" y="198755"/>
                  </a:lnTo>
                  <a:lnTo>
                    <a:pt x="189230" y="215900"/>
                  </a:lnTo>
                  <a:lnTo>
                    <a:pt x="224155" y="179070"/>
                  </a:lnTo>
                  <a:lnTo>
                    <a:pt x="205740" y="161925"/>
                  </a:lnTo>
                  <a:lnTo>
                    <a:pt x="53340" y="1714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75" name="Google Shape;775;p15"/>
            <p:cNvSpPr/>
            <p:nvPr/>
          </p:nvSpPr>
          <p:spPr>
            <a:xfrm>
              <a:off x="4005579" y="2113279"/>
              <a:ext cx="224154" cy="215900"/>
            </a:xfrm>
            <a:custGeom>
              <a:avLst/>
              <a:gdLst/>
              <a:ahLst/>
              <a:cxnLst/>
              <a:rect l="l" t="t" r="r" b="b"/>
              <a:pathLst>
                <a:path w="224154" h="215900" extrusionOk="0">
                  <a:moveTo>
                    <a:pt x="34925" y="0"/>
                  </a:moveTo>
                  <a:lnTo>
                    <a:pt x="0" y="36830"/>
                  </a:lnTo>
                  <a:lnTo>
                    <a:pt x="18415" y="54610"/>
                  </a:lnTo>
                  <a:lnTo>
                    <a:pt x="170815" y="198755"/>
                  </a:lnTo>
                  <a:lnTo>
                    <a:pt x="189230" y="215900"/>
                  </a:lnTo>
                  <a:lnTo>
                    <a:pt x="224155" y="179070"/>
                  </a:lnTo>
                  <a:lnTo>
                    <a:pt x="205740" y="161925"/>
                  </a:lnTo>
                  <a:lnTo>
                    <a:pt x="53340" y="1714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76" name="Google Shape;776;p15"/>
            <p:cNvSpPr/>
            <p:nvPr/>
          </p:nvSpPr>
          <p:spPr>
            <a:xfrm>
              <a:off x="4640579" y="2475229"/>
              <a:ext cx="224154" cy="215900"/>
            </a:xfrm>
            <a:custGeom>
              <a:avLst/>
              <a:gdLst/>
              <a:ahLst/>
              <a:cxnLst/>
              <a:rect l="l" t="t" r="r" b="b"/>
              <a:pathLst>
                <a:path w="224154" h="215900" extrusionOk="0">
                  <a:moveTo>
                    <a:pt x="34925" y="0"/>
                  </a:moveTo>
                  <a:lnTo>
                    <a:pt x="0" y="36830"/>
                  </a:lnTo>
                  <a:lnTo>
                    <a:pt x="18415" y="54610"/>
                  </a:lnTo>
                  <a:lnTo>
                    <a:pt x="170815" y="198755"/>
                  </a:lnTo>
                  <a:lnTo>
                    <a:pt x="189230" y="215900"/>
                  </a:lnTo>
                  <a:lnTo>
                    <a:pt x="224155" y="179070"/>
                  </a:lnTo>
                  <a:lnTo>
                    <a:pt x="205740" y="161925"/>
                  </a:lnTo>
                  <a:lnTo>
                    <a:pt x="53340" y="1714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77" name="Google Shape;777;p15"/>
            <p:cNvSpPr/>
            <p:nvPr/>
          </p:nvSpPr>
          <p:spPr>
            <a:xfrm>
              <a:off x="5275579" y="2837179"/>
              <a:ext cx="224154" cy="215900"/>
            </a:xfrm>
            <a:custGeom>
              <a:avLst/>
              <a:gdLst/>
              <a:ahLst/>
              <a:cxnLst/>
              <a:rect l="l" t="t" r="r" b="b"/>
              <a:pathLst>
                <a:path w="224154" h="215900" extrusionOk="0">
                  <a:moveTo>
                    <a:pt x="34925" y="0"/>
                  </a:moveTo>
                  <a:lnTo>
                    <a:pt x="0" y="36830"/>
                  </a:lnTo>
                  <a:lnTo>
                    <a:pt x="18415" y="54610"/>
                  </a:lnTo>
                  <a:lnTo>
                    <a:pt x="170815" y="198755"/>
                  </a:lnTo>
                  <a:lnTo>
                    <a:pt x="189230" y="215900"/>
                  </a:lnTo>
                  <a:lnTo>
                    <a:pt x="224155" y="179070"/>
                  </a:lnTo>
                  <a:lnTo>
                    <a:pt x="205740" y="161925"/>
                  </a:lnTo>
                  <a:lnTo>
                    <a:pt x="53340" y="1714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78" name="Google Shape;778;p15"/>
            <p:cNvSpPr/>
            <p:nvPr/>
          </p:nvSpPr>
          <p:spPr>
            <a:xfrm>
              <a:off x="5910579" y="3199129"/>
              <a:ext cx="224154" cy="215900"/>
            </a:xfrm>
            <a:custGeom>
              <a:avLst/>
              <a:gdLst/>
              <a:ahLst/>
              <a:cxnLst/>
              <a:rect l="l" t="t" r="r" b="b"/>
              <a:pathLst>
                <a:path w="224154" h="215900" extrusionOk="0">
                  <a:moveTo>
                    <a:pt x="34925" y="0"/>
                  </a:moveTo>
                  <a:lnTo>
                    <a:pt x="0" y="36830"/>
                  </a:lnTo>
                  <a:lnTo>
                    <a:pt x="18415" y="54610"/>
                  </a:lnTo>
                  <a:lnTo>
                    <a:pt x="170815" y="198755"/>
                  </a:lnTo>
                  <a:lnTo>
                    <a:pt x="189230" y="215900"/>
                  </a:lnTo>
                  <a:lnTo>
                    <a:pt x="224155" y="179070"/>
                  </a:lnTo>
                  <a:lnTo>
                    <a:pt x="205740" y="161925"/>
                  </a:lnTo>
                  <a:lnTo>
                    <a:pt x="53340" y="1714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79" name="Google Shape;779;p15"/>
            <p:cNvSpPr/>
            <p:nvPr/>
          </p:nvSpPr>
          <p:spPr>
            <a:xfrm>
              <a:off x="6545580" y="3561079"/>
              <a:ext cx="224154" cy="215900"/>
            </a:xfrm>
            <a:custGeom>
              <a:avLst/>
              <a:gdLst/>
              <a:ahLst/>
              <a:cxnLst/>
              <a:rect l="l" t="t" r="r" b="b"/>
              <a:pathLst>
                <a:path w="224154" h="215900" extrusionOk="0">
                  <a:moveTo>
                    <a:pt x="34925" y="0"/>
                  </a:moveTo>
                  <a:lnTo>
                    <a:pt x="0" y="36830"/>
                  </a:lnTo>
                  <a:lnTo>
                    <a:pt x="18414" y="54610"/>
                  </a:lnTo>
                  <a:lnTo>
                    <a:pt x="170814" y="198755"/>
                  </a:lnTo>
                  <a:lnTo>
                    <a:pt x="189230" y="215900"/>
                  </a:lnTo>
                  <a:lnTo>
                    <a:pt x="224155" y="179070"/>
                  </a:lnTo>
                  <a:lnTo>
                    <a:pt x="205739" y="161925"/>
                  </a:lnTo>
                  <a:lnTo>
                    <a:pt x="53339" y="1714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80" name="Google Shape;780;p15"/>
            <p:cNvSpPr/>
            <p:nvPr/>
          </p:nvSpPr>
          <p:spPr>
            <a:xfrm>
              <a:off x="7180580" y="3923029"/>
              <a:ext cx="224154" cy="215900"/>
            </a:xfrm>
            <a:custGeom>
              <a:avLst/>
              <a:gdLst/>
              <a:ahLst/>
              <a:cxnLst/>
              <a:rect l="l" t="t" r="r" b="b"/>
              <a:pathLst>
                <a:path w="224154" h="215900" extrusionOk="0">
                  <a:moveTo>
                    <a:pt x="170814" y="198755"/>
                  </a:moveTo>
                  <a:lnTo>
                    <a:pt x="189230" y="215900"/>
                  </a:lnTo>
                  <a:lnTo>
                    <a:pt x="224155" y="179070"/>
                  </a:lnTo>
                  <a:lnTo>
                    <a:pt x="205739" y="161925"/>
                  </a:lnTo>
                  <a:lnTo>
                    <a:pt x="53339" y="17145"/>
                  </a:lnTo>
                  <a:lnTo>
                    <a:pt x="34925" y="0"/>
                  </a:lnTo>
                  <a:lnTo>
                    <a:pt x="0" y="36830"/>
                  </a:lnTo>
                  <a:lnTo>
                    <a:pt x="18414" y="5461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81" name="Google Shape;781;p15"/>
            <p:cNvSpPr/>
            <p:nvPr/>
          </p:nvSpPr>
          <p:spPr>
            <a:xfrm>
              <a:off x="7815580" y="4284979"/>
              <a:ext cx="224154" cy="215900"/>
            </a:xfrm>
            <a:custGeom>
              <a:avLst/>
              <a:gdLst/>
              <a:ahLst/>
              <a:cxnLst/>
              <a:rect l="l" t="t" r="r" b="b"/>
              <a:pathLst>
                <a:path w="224154" h="215900" extrusionOk="0">
                  <a:moveTo>
                    <a:pt x="170814" y="198755"/>
                  </a:moveTo>
                  <a:lnTo>
                    <a:pt x="189230" y="215900"/>
                  </a:lnTo>
                  <a:lnTo>
                    <a:pt x="224155" y="179070"/>
                  </a:lnTo>
                  <a:lnTo>
                    <a:pt x="205739" y="161925"/>
                  </a:lnTo>
                  <a:lnTo>
                    <a:pt x="53339" y="17145"/>
                  </a:lnTo>
                  <a:lnTo>
                    <a:pt x="34925" y="0"/>
                  </a:lnTo>
                  <a:lnTo>
                    <a:pt x="0" y="36830"/>
                  </a:lnTo>
                  <a:lnTo>
                    <a:pt x="18414" y="5461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82" name="Google Shape;782;p15"/>
            <p:cNvSpPr/>
            <p:nvPr/>
          </p:nvSpPr>
          <p:spPr>
            <a:xfrm>
              <a:off x="8450580" y="4646929"/>
              <a:ext cx="224154" cy="215900"/>
            </a:xfrm>
            <a:custGeom>
              <a:avLst/>
              <a:gdLst/>
              <a:ahLst/>
              <a:cxnLst/>
              <a:rect l="l" t="t" r="r" b="b"/>
              <a:pathLst>
                <a:path w="224154" h="215900" extrusionOk="0">
                  <a:moveTo>
                    <a:pt x="170814" y="198755"/>
                  </a:moveTo>
                  <a:lnTo>
                    <a:pt x="189230" y="215900"/>
                  </a:lnTo>
                  <a:lnTo>
                    <a:pt x="224155" y="179070"/>
                  </a:lnTo>
                  <a:lnTo>
                    <a:pt x="205739" y="161925"/>
                  </a:lnTo>
                  <a:lnTo>
                    <a:pt x="53339" y="17145"/>
                  </a:lnTo>
                  <a:lnTo>
                    <a:pt x="34925" y="0"/>
                  </a:lnTo>
                  <a:lnTo>
                    <a:pt x="0" y="36830"/>
                  </a:lnTo>
                  <a:lnTo>
                    <a:pt x="18414" y="5461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83" name="Google Shape;783;p15"/>
            <p:cNvSpPr/>
            <p:nvPr/>
          </p:nvSpPr>
          <p:spPr>
            <a:xfrm>
              <a:off x="9085580" y="5008879"/>
              <a:ext cx="224154" cy="215900"/>
            </a:xfrm>
            <a:custGeom>
              <a:avLst/>
              <a:gdLst/>
              <a:ahLst/>
              <a:cxnLst/>
              <a:rect l="l" t="t" r="r" b="b"/>
              <a:pathLst>
                <a:path w="224154" h="215900" extrusionOk="0">
                  <a:moveTo>
                    <a:pt x="170814" y="198755"/>
                  </a:moveTo>
                  <a:lnTo>
                    <a:pt x="189230" y="215900"/>
                  </a:lnTo>
                  <a:lnTo>
                    <a:pt x="224155" y="179070"/>
                  </a:lnTo>
                  <a:lnTo>
                    <a:pt x="205739" y="161925"/>
                  </a:lnTo>
                  <a:lnTo>
                    <a:pt x="53339" y="17145"/>
                  </a:lnTo>
                  <a:lnTo>
                    <a:pt x="34925" y="0"/>
                  </a:lnTo>
                  <a:lnTo>
                    <a:pt x="0" y="36830"/>
                  </a:lnTo>
                  <a:lnTo>
                    <a:pt x="18414" y="5461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84" name="Google Shape;784;p15"/>
            <p:cNvSpPr/>
            <p:nvPr/>
          </p:nvSpPr>
          <p:spPr>
            <a:xfrm>
              <a:off x="9720580" y="5370829"/>
              <a:ext cx="224154" cy="215900"/>
            </a:xfrm>
            <a:custGeom>
              <a:avLst/>
              <a:gdLst/>
              <a:ahLst/>
              <a:cxnLst/>
              <a:rect l="l" t="t" r="r" b="b"/>
              <a:pathLst>
                <a:path w="224154" h="215900" extrusionOk="0">
                  <a:moveTo>
                    <a:pt x="205739" y="161925"/>
                  </a:moveTo>
                  <a:lnTo>
                    <a:pt x="53339" y="17145"/>
                  </a:lnTo>
                  <a:lnTo>
                    <a:pt x="34925" y="0"/>
                  </a:lnTo>
                  <a:lnTo>
                    <a:pt x="0" y="36830"/>
                  </a:lnTo>
                  <a:lnTo>
                    <a:pt x="18414" y="54610"/>
                  </a:lnTo>
                  <a:lnTo>
                    <a:pt x="170814" y="198755"/>
                  </a:lnTo>
                  <a:lnTo>
                    <a:pt x="189230" y="215900"/>
                  </a:lnTo>
                  <a:lnTo>
                    <a:pt x="224155" y="17907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85" name="Google Shape;785;p15"/>
            <p:cNvSpPr/>
            <p:nvPr/>
          </p:nvSpPr>
          <p:spPr>
            <a:xfrm>
              <a:off x="10355580" y="5732779"/>
              <a:ext cx="224154" cy="215900"/>
            </a:xfrm>
            <a:custGeom>
              <a:avLst/>
              <a:gdLst/>
              <a:ahLst/>
              <a:cxnLst/>
              <a:rect l="l" t="t" r="r" b="b"/>
              <a:pathLst>
                <a:path w="224154" h="215900" extrusionOk="0">
                  <a:moveTo>
                    <a:pt x="205739" y="161925"/>
                  </a:moveTo>
                  <a:lnTo>
                    <a:pt x="53339" y="17145"/>
                  </a:lnTo>
                  <a:lnTo>
                    <a:pt x="34925" y="0"/>
                  </a:lnTo>
                  <a:lnTo>
                    <a:pt x="0" y="36830"/>
                  </a:lnTo>
                  <a:lnTo>
                    <a:pt x="18414" y="54610"/>
                  </a:lnTo>
                  <a:lnTo>
                    <a:pt x="170814" y="198755"/>
                  </a:lnTo>
                  <a:lnTo>
                    <a:pt x="189230" y="215900"/>
                  </a:lnTo>
                  <a:lnTo>
                    <a:pt x="224155" y="17907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86" name="Google Shape;786;p15"/>
            <p:cNvSpPr/>
            <p:nvPr/>
          </p:nvSpPr>
          <p:spPr>
            <a:xfrm>
              <a:off x="10990580" y="6094729"/>
              <a:ext cx="224154" cy="215900"/>
            </a:xfrm>
            <a:custGeom>
              <a:avLst/>
              <a:gdLst/>
              <a:ahLst/>
              <a:cxnLst/>
              <a:rect l="l" t="t" r="r" b="b"/>
              <a:pathLst>
                <a:path w="224154" h="215900" extrusionOk="0">
                  <a:moveTo>
                    <a:pt x="205739" y="161925"/>
                  </a:moveTo>
                  <a:lnTo>
                    <a:pt x="53339" y="17145"/>
                  </a:lnTo>
                  <a:lnTo>
                    <a:pt x="34925" y="0"/>
                  </a:lnTo>
                  <a:lnTo>
                    <a:pt x="0" y="36830"/>
                  </a:lnTo>
                  <a:lnTo>
                    <a:pt x="18414" y="54610"/>
                  </a:lnTo>
                  <a:lnTo>
                    <a:pt x="170814" y="198755"/>
                  </a:lnTo>
                  <a:lnTo>
                    <a:pt x="189230" y="215900"/>
                  </a:lnTo>
                  <a:lnTo>
                    <a:pt x="224155" y="17907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87" name="Google Shape;787;p15"/>
            <p:cNvSpPr/>
            <p:nvPr/>
          </p:nvSpPr>
          <p:spPr>
            <a:xfrm>
              <a:off x="11625580" y="6456679"/>
              <a:ext cx="224154" cy="215900"/>
            </a:xfrm>
            <a:custGeom>
              <a:avLst/>
              <a:gdLst/>
              <a:ahLst/>
              <a:cxnLst/>
              <a:rect l="l" t="t" r="r" b="b"/>
              <a:pathLst>
                <a:path w="224154" h="215900" extrusionOk="0">
                  <a:moveTo>
                    <a:pt x="205739" y="161925"/>
                  </a:moveTo>
                  <a:lnTo>
                    <a:pt x="53339" y="17145"/>
                  </a:lnTo>
                  <a:lnTo>
                    <a:pt x="34925" y="0"/>
                  </a:lnTo>
                  <a:lnTo>
                    <a:pt x="0" y="36830"/>
                  </a:lnTo>
                  <a:lnTo>
                    <a:pt x="18414" y="54610"/>
                  </a:lnTo>
                  <a:lnTo>
                    <a:pt x="170814" y="198755"/>
                  </a:lnTo>
                  <a:lnTo>
                    <a:pt x="189230" y="215900"/>
                  </a:lnTo>
                  <a:lnTo>
                    <a:pt x="224155" y="17907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88" name="Google Shape;788;p15"/>
            <p:cNvSpPr/>
            <p:nvPr/>
          </p:nvSpPr>
          <p:spPr>
            <a:xfrm>
              <a:off x="642619" y="0"/>
              <a:ext cx="196850" cy="162560"/>
            </a:xfrm>
            <a:custGeom>
              <a:avLst/>
              <a:gdLst/>
              <a:ahLst/>
              <a:cxnLst/>
              <a:rect l="l" t="t" r="r" b="b"/>
              <a:pathLst>
                <a:path w="196850" h="162560" extrusionOk="0">
                  <a:moveTo>
                    <a:pt x="160655" y="162560"/>
                  </a:moveTo>
                  <a:lnTo>
                    <a:pt x="196850" y="127000"/>
                  </a:lnTo>
                  <a:lnTo>
                    <a:pt x="178435" y="109220"/>
                  </a:lnTo>
                  <a:lnTo>
                    <a:pt x="71120" y="0"/>
                  </a:lnTo>
                  <a:lnTo>
                    <a:pt x="0" y="0"/>
                  </a:lnTo>
                  <a:lnTo>
                    <a:pt x="142875" y="1447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89" name="Google Shape;789;p15"/>
            <p:cNvSpPr/>
            <p:nvPr/>
          </p:nvSpPr>
          <p:spPr>
            <a:xfrm>
              <a:off x="1249680" y="298450"/>
              <a:ext cx="224789" cy="226059"/>
            </a:xfrm>
            <a:custGeom>
              <a:avLst/>
              <a:gdLst/>
              <a:ahLst/>
              <a:cxnLst/>
              <a:rect l="l" t="t" r="r" b="b"/>
              <a:pathLst>
                <a:path w="224789" h="226059" extrusionOk="0">
                  <a:moveTo>
                    <a:pt x="170815" y="208280"/>
                  </a:moveTo>
                  <a:lnTo>
                    <a:pt x="188595" y="226060"/>
                  </a:lnTo>
                  <a:lnTo>
                    <a:pt x="224790" y="190500"/>
                  </a:lnTo>
                  <a:lnTo>
                    <a:pt x="206375" y="172720"/>
                  </a:lnTo>
                  <a:lnTo>
                    <a:pt x="53975" y="17780"/>
                  </a:lnTo>
                  <a:lnTo>
                    <a:pt x="36195" y="0"/>
                  </a:lnTo>
                  <a:lnTo>
                    <a:pt x="0" y="35560"/>
                  </a:lnTo>
                  <a:lnTo>
                    <a:pt x="18415" y="5397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90" name="Google Shape;790;p15"/>
            <p:cNvSpPr/>
            <p:nvPr/>
          </p:nvSpPr>
          <p:spPr>
            <a:xfrm>
              <a:off x="1884679" y="660400"/>
              <a:ext cx="224790" cy="226060"/>
            </a:xfrm>
            <a:custGeom>
              <a:avLst/>
              <a:gdLst/>
              <a:ahLst/>
              <a:cxnLst/>
              <a:rect l="l" t="t" r="r" b="b"/>
              <a:pathLst>
                <a:path w="224790" h="226060" extrusionOk="0">
                  <a:moveTo>
                    <a:pt x="53975" y="17780"/>
                  </a:moveTo>
                  <a:lnTo>
                    <a:pt x="36195" y="0"/>
                  </a:lnTo>
                  <a:lnTo>
                    <a:pt x="0" y="35560"/>
                  </a:lnTo>
                  <a:lnTo>
                    <a:pt x="18415" y="53975"/>
                  </a:lnTo>
                  <a:lnTo>
                    <a:pt x="170815" y="208280"/>
                  </a:lnTo>
                  <a:lnTo>
                    <a:pt x="188595" y="226060"/>
                  </a:lnTo>
                  <a:lnTo>
                    <a:pt x="224790" y="190500"/>
                  </a:lnTo>
                  <a:lnTo>
                    <a:pt x="206375" y="17272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91" name="Google Shape;791;p15"/>
            <p:cNvSpPr/>
            <p:nvPr/>
          </p:nvSpPr>
          <p:spPr>
            <a:xfrm>
              <a:off x="2519679" y="1022350"/>
              <a:ext cx="224790" cy="226060"/>
            </a:xfrm>
            <a:custGeom>
              <a:avLst/>
              <a:gdLst/>
              <a:ahLst/>
              <a:cxnLst/>
              <a:rect l="l" t="t" r="r" b="b"/>
              <a:pathLst>
                <a:path w="224790" h="226060" extrusionOk="0">
                  <a:moveTo>
                    <a:pt x="36195" y="0"/>
                  </a:moveTo>
                  <a:lnTo>
                    <a:pt x="0" y="35560"/>
                  </a:lnTo>
                  <a:lnTo>
                    <a:pt x="18415" y="53975"/>
                  </a:lnTo>
                  <a:lnTo>
                    <a:pt x="170815" y="208280"/>
                  </a:lnTo>
                  <a:lnTo>
                    <a:pt x="188595" y="226060"/>
                  </a:lnTo>
                  <a:lnTo>
                    <a:pt x="224790" y="190500"/>
                  </a:lnTo>
                  <a:lnTo>
                    <a:pt x="206375" y="172720"/>
                  </a:lnTo>
                  <a:lnTo>
                    <a:pt x="53975" y="177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92" name="Google Shape;792;p15"/>
            <p:cNvSpPr/>
            <p:nvPr/>
          </p:nvSpPr>
          <p:spPr>
            <a:xfrm>
              <a:off x="3154679" y="1384300"/>
              <a:ext cx="224790" cy="226060"/>
            </a:xfrm>
            <a:custGeom>
              <a:avLst/>
              <a:gdLst/>
              <a:ahLst/>
              <a:cxnLst/>
              <a:rect l="l" t="t" r="r" b="b"/>
              <a:pathLst>
                <a:path w="224790" h="226060" extrusionOk="0">
                  <a:moveTo>
                    <a:pt x="36195" y="0"/>
                  </a:moveTo>
                  <a:lnTo>
                    <a:pt x="0" y="35560"/>
                  </a:lnTo>
                  <a:lnTo>
                    <a:pt x="18415" y="53975"/>
                  </a:lnTo>
                  <a:lnTo>
                    <a:pt x="170815" y="208280"/>
                  </a:lnTo>
                  <a:lnTo>
                    <a:pt x="188595" y="226060"/>
                  </a:lnTo>
                  <a:lnTo>
                    <a:pt x="224790" y="190500"/>
                  </a:lnTo>
                  <a:lnTo>
                    <a:pt x="206375" y="172720"/>
                  </a:lnTo>
                  <a:lnTo>
                    <a:pt x="53975" y="177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93" name="Google Shape;793;p15"/>
            <p:cNvSpPr/>
            <p:nvPr/>
          </p:nvSpPr>
          <p:spPr>
            <a:xfrm>
              <a:off x="3789679" y="1746250"/>
              <a:ext cx="224790" cy="226060"/>
            </a:xfrm>
            <a:custGeom>
              <a:avLst/>
              <a:gdLst/>
              <a:ahLst/>
              <a:cxnLst/>
              <a:rect l="l" t="t" r="r" b="b"/>
              <a:pathLst>
                <a:path w="224790" h="226060" extrusionOk="0">
                  <a:moveTo>
                    <a:pt x="206375" y="172720"/>
                  </a:moveTo>
                  <a:lnTo>
                    <a:pt x="53975" y="17780"/>
                  </a:lnTo>
                  <a:lnTo>
                    <a:pt x="36195" y="0"/>
                  </a:lnTo>
                  <a:lnTo>
                    <a:pt x="0" y="35560"/>
                  </a:lnTo>
                  <a:lnTo>
                    <a:pt x="18415" y="53975"/>
                  </a:lnTo>
                  <a:lnTo>
                    <a:pt x="170815" y="208280"/>
                  </a:lnTo>
                  <a:lnTo>
                    <a:pt x="188595" y="226060"/>
                  </a:lnTo>
                  <a:lnTo>
                    <a:pt x="224790" y="19050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94" name="Google Shape;794;p15"/>
            <p:cNvSpPr/>
            <p:nvPr/>
          </p:nvSpPr>
          <p:spPr>
            <a:xfrm>
              <a:off x="4424679" y="2108200"/>
              <a:ext cx="224790" cy="226060"/>
            </a:xfrm>
            <a:custGeom>
              <a:avLst/>
              <a:gdLst/>
              <a:ahLst/>
              <a:cxnLst/>
              <a:rect l="l" t="t" r="r" b="b"/>
              <a:pathLst>
                <a:path w="224790" h="226060" extrusionOk="0">
                  <a:moveTo>
                    <a:pt x="53975" y="17780"/>
                  </a:moveTo>
                  <a:lnTo>
                    <a:pt x="36195" y="0"/>
                  </a:lnTo>
                  <a:lnTo>
                    <a:pt x="0" y="35560"/>
                  </a:lnTo>
                  <a:lnTo>
                    <a:pt x="18415" y="53975"/>
                  </a:lnTo>
                  <a:lnTo>
                    <a:pt x="170815" y="208280"/>
                  </a:lnTo>
                  <a:lnTo>
                    <a:pt x="188595" y="226060"/>
                  </a:lnTo>
                  <a:lnTo>
                    <a:pt x="224790" y="190500"/>
                  </a:lnTo>
                  <a:lnTo>
                    <a:pt x="206375" y="17272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95" name="Google Shape;795;p15"/>
            <p:cNvSpPr/>
            <p:nvPr/>
          </p:nvSpPr>
          <p:spPr>
            <a:xfrm>
              <a:off x="5059679" y="2470150"/>
              <a:ext cx="224790" cy="226060"/>
            </a:xfrm>
            <a:custGeom>
              <a:avLst/>
              <a:gdLst/>
              <a:ahLst/>
              <a:cxnLst/>
              <a:rect l="l" t="t" r="r" b="b"/>
              <a:pathLst>
                <a:path w="224790" h="226060" extrusionOk="0">
                  <a:moveTo>
                    <a:pt x="53975" y="17780"/>
                  </a:moveTo>
                  <a:lnTo>
                    <a:pt x="36195" y="0"/>
                  </a:lnTo>
                  <a:lnTo>
                    <a:pt x="0" y="35560"/>
                  </a:lnTo>
                  <a:lnTo>
                    <a:pt x="18415" y="53975"/>
                  </a:lnTo>
                  <a:lnTo>
                    <a:pt x="170815" y="208280"/>
                  </a:lnTo>
                  <a:lnTo>
                    <a:pt x="188595" y="226060"/>
                  </a:lnTo>
                  <a:lnTo>
                    <a:pt x="224790" y="190500"/>
                  </a:lnTo>
                  <a:lnTo>
                    <a:pt x="206375" y="17272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96" name="Google Shape;796;p15"/>
            <p:cNvSpPr/>
            <p:nvPr/>
          </p:nvSpPr>
          <p:spPr>
            <a:xfrm>
              <a:off x="5694679" y="2832100"/>
              <a:ext cx="224790" cy="226060"/>
            </a:xfrm>
            <a:custGeom>
              <a:avLst/>
              <a:gdLst/>
              <a:ahLst/>
              <a:cxnLst/>
              <a:rect l="l" t="t" r="r" b="b"/>
              <a:pathLst>
                <a:path w="224790" h="226060" extrusionOk="0">
                  <a:moveTo>
                    <a:pt x="53975" y="17780"/>
                  </a:moveTo>
                  <a:lnTo>
                    <a:pt x="36195" y="0"/>
                  </a:lnTo>
                  <a:lnTo>
                    <a:pt x="0" y="35560"/>
                  </a:lnTo>
                  <a:lnTo>
                    <a:pt x="18415" y="53340"/>
                  </a:lnTo>
                  <a:lnTo>
                    <a:pt x="170815" y="208280"/>
                  </a:lnTo>
                  <a:lnTo>
                    <a:pt x="188595" y="226060"/>
                  </a:lnTo>
                  <a:lnTo>
                    <a:pt x="224790" y="190500"/>
                  </a:lnTo>
                  <a:lnTo>
                    <a:pt x="206375" y="17272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97" name="Google Shape;797;p15"/>
            <p:cNvSpPr/>
            <p:nvPr/>
          </p:nvSpPr>
          <p:spPr>
            <a:xfrm>
              <a:off x="6329679" y="3194050"/>
              <a:ext cx="224789" cy="226059"/>
            </a:xfrm>
            <a:custGeom>
              <a:avLst/>
              <a:gdLst/>
              <a:ahLst/>
              <a:cxnLst/>
              <a:rect l="l" t="t" r="r" b="b"/>
              <a:pathLst>
                <a:path w="224789" h="226059" extrusionOk="0">
                  <a:moveTo>
                    <a:pt x="170815" y="208280"/>
                  </a:moveTo>
                  <a:lnTo>
                    <a:pt x="188595" y="226060"/>
                  </a:lnTo>
                  <a:lnTo>
                    <a:pt x="224790" y="190500"/>
                  </a:lnTo>
                  <a:lnTo>
                    <a:pt x="206375" y="172720"/>
                  </a:lnTo>
                  <a:lnTo>
                    <a:pt x="53975" y="17780"/>
                  </a:lnTo>
                  <a:lnTo>
                    <a:pt x="36195" y="0"/>
                  </a:lnTo>
                  <a:lnTo>
                    <a:pt x="0" y="35560"/>
                  </a:lnTo>
                  <a:lnTo>
                    <a:pt x="18415" y="533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98" name="Google Shape;798;p15"/>
            <p:cNvSpPr/>
            <p:nvPr/>
          </p:nvSpPr>
          <p:spPr>
            <a:xfrm>
              <a:off x="6964680" y="3556000"/>
              <a:ext cx="224789" cy="226059"/>
            </a:xfrm>
            <a:custGeom>
              <a:avLst/>
              <a:gdLst/>
              <a:ahLst/>
              <a:cxnLst/>
              <a:rect l="l" t="t" r="r" b="b"/>
              <a:pathLst>
                <a:path w="224789" h="226059" extrusionOk="0">
                  <a:moveTo>
                    <a:pt x="170814" y="208280"/>
                  </a:moveTo>
                  <a:lnTo>
                    <a:pt x="188595" y="226060"/>
                  </a:lnTo>
                  <a:lnTo>
                    <a:pt x="224789" y="190500"/>
                  </a:lnTo>
                  <a:lnTo>
                    <a:pt x="206375" y="172720"/>
                  </a:lnTo>
                  <a:lnTo>
                    <a:pt x="53975" y="17780"/>
                  </a:lnTo>
                  <a:lnTo>
                    <a:pt x="36195" y="0"/>
                  </a:lnTo>
                  <a:lnTo>
                    <a:pt x="0" y="35560"/>
                  </a:lnTo>
                  <a:lnTo>
                    <a:pt x="18414" y="533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799" name="Google Shape;799;p15"/>
            <p:cNvSpPr/>
            <p:nvPr/>
          </p:nvSpPr>
          <p:spPr>
            <a:xfrm>
              <a:off x="7599680" y="3917950"/>
              <a:ext cx="224789" cy="226059"/>
            </a:xfrm>
            <a:custGeom>
              <a:avLst/>
              <a:gdLst/>
              <a:ahLst/>
              <a:cxnLst/>
              <a:rect l="l" t="t" r="r" b="b"/>
              <a:pathLst>
                <a:path w="224789" h="226059" extrusionOk="0">
                  <a:moveTo>
                    <a:pt x="170814" y="208280"/>
                  </a:moveTo>
                  <a:lnTo>
                    <a:pt x="188595" y="226060"/>
                  </a:lnTo>
                  <a:lnTo>
                    <a:pt x="224789" y="190500"/>
                  </a:lnTo>
                  <a:lnTo>
                    <a:pt x="206375" y="172720"/>
                  </a:lnTo>
                  <a:lnTo>
                    <a:pt x="53975" y="17780"/>
                  </a:lnTo>
                  <a:lnTo>
                    <a:pt x="36195" y="0"/>
                  </a:lnTo>
                  <a:lnTo>
                    <a:pt x="0" y="35560"/>
                  </a:lnTo>
                  <a:lnTo>
                    <a:pt x="18414" y="533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800" name="Google Shape;800;p15"/>
            <p:cNvSpPr/>
            <p:nvPr/>
          </p:nvSpPr>
          <p:spPr>
            <a:xfrm>
              <a:off x="8234680" y="4279900"/>
              <a:ext cx="224789" cy="226059"/>
            </a:xfrm>
            <a:custGeom>
              <a:avLst/>
              <a:gdLst/>
              <a:ahLst/>
              <a:cxnLst/>
              <a:rect l="l" t="t" r="r" b="b"/>
              <a:pathLst>
                <a:path w="224789" h="226059" extrusionOk="0">
                  <a:moveTo>
                    <a:pt x="170814" y="208280"/>
                  </a:moveTo>
                  <a:lnTo>
                    <a:pt x="188595" y="226060"/>
                  </a:lnTo>
                  <a:lnTo>
                    <a:pt x="224789" y="190500"/>
                  </a:lnTo>
                  <a:lnTo>
                    <a:pt x="206375" y="172720"/>
                  </a:lnTo>
                  <a:lnTo>
                    <a:pt x="53975" y="17780"/>
                  </a:lnTo>
                  <a:lnTo>
                    <a:pt x="36195" y="0"/>
                  </a:lnTo>
                  <a:lnTo>
                    <a:pt x="0" y="35560"/>
                  </a:lnTo>
                  <a:lnTo>
                    <a:pt x="18414" y="533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801" name="Google Shape;801;p15"/>
            <p:cNvSpPr/>
            <p:nvPr/>
          </p:nvSpPr>
          <p:spPr>
            <a:xfrm>
              <a:off x="8869680" y="4641850"/>
              <a:ext cx="224789" cy="226059"/>
            </a:xfrm>
            <a:custGeom>
              <a:avLst/>
              <a:gdLst/>
              <a:ahLst/>
              <a:cxnLst/>
              <a:rect l="l" t="t" r="r" b="b"/>
              <a:pathLst>
                <a:path w="224789" h="226059" extrusionOk="0">
                  <a:moveTo>
                    <a:pt x="170814" y="208280"/>
                  </a:moveTo>
                  <a:lnTo>
                    <a:pt x="188595" y="226060"/>
                  </a:lnTo>
                  <a:lnTo>
                    <a:pt x="224789" y="190500"/>
                  </a:lnTo>
                  <a:lnTo>
                    <a:pt x="206375" y="172720"/>
                  </a:lnTo>
                  <a:lnTo>
                    <a:pt x="53975" y="17780"/>
                  </a:lnTo>
                  <a:lnTo>
                    <a:pt x="36195" y="0"/>
                  </a:lnTo>
                  <a:lnTo>
                    <a:pt x="0" y="35560"/>
                  </a:lnTo>
                  <a:lnTo>
                    <a:pt x="18414" y="533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802" name="Google Shape;802;p15"/>
            <p:cNvSpPr/>
            <p:nvPr/>
          </p:nvSpPr>
          <p:spPr>
            <a:xfrm>
              <a:off x="9504680" y="5003800"/>
              <a:ext cx="224789" cy="226059"/>
            </a:xfrm>
            <a:custGeom>
              <a:avLst/>
              <a:gdLst/>
              <a:ahLst/>
              <a:cxnLst/>
              <a:rect l="l" t="t" r="r" b="b"/>
              <a:pathLst>
                <a:path w="224789" h="226059" extrusionOk="0">
                  <a:moveTo>
                    <a:pt x="170814" y="208280"/>
                  </a:moveTo>
                  <a:lnTo>
                    <a:pt x="188595" y="226060"/>
                  </a:lnTo>
                  <a:lnTo>
                    <a:pt x="224789" y="190500"/>
                  </a:lnTo>
                  <a:lnTo>
                    <a:pt x="206375" y="172720"/>
                  </a:lnTo>
                  <a:lnTo>
                    <a:pt x="53975" y="17780"/>
                  </a:lnTo>
                  <a:lnTo>
                    <a:pt x="36195" y="0"/>
                  </a:lnTo>
                  <a:lnTo>
                    <a:pt x="0" y="35560"/>
                  </a:lnTo>
                  <a:lnTo>
                    <a:pt x="18414" y="533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803" name="Google Shape;803;p15"/>
            <p:cNvSpPr/>
            <p:nvPr/>
          </p:nvSpPr>
          <p:spPr>
            <a:xfrm>
              <a:off x="10139680" y="5365750"/>
              <a:ext cx="224789" cy="226059"/>
            </a:xfrm>
            <a:custGeom>
              <a:avLst/>
              <a:gdLst/>
              <a:ahLst/>
              <a:cxnLst/>
              <a:rect l="l" t="t" r="r" b="b"/>
              <a:pathLst>
                <a:path w="224789" h="226059" extrusionOk="0">
                  <a:moveTo>
                    <a:pt x="170814" y="208280"/>
                  </a:moveTo>
                  <a:lnTo>
                    <a:pt x="188595" y="226060"/>
                  </a:lnTo>
                  <a:lnTo>
                    <a:pt x="224789" y="190500"/>
                  </a:lnTo>
                  <a:lnTo>
                    <a:pt x="206375" y="172720"/>
                  </a:lnTo>
                  <a:lnTo>
                    <a:pt x="53975" y="17780"/>
                  </a:lnTo>
                  <a:lnTo>
                    <a:pt x="36195" y="0"/>
                  </a:lnTo>
                  <a:lnTo>
                    <a:pt x="0" y="35560"/>
                  </a:lnTo>
                  <a:lnTo>
                    <a:pt x="18414" y="533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804" name="Google Shape;804;p15"/>
            <p:cNvSpPr/>
            <p:nvPr/>
          </p:nvSpPr>
          <p:spPr>
            <a:xfrm>
              <a:off x="10774680" y="5727700"/>
              <a:ext cx="224789" cy="226059"/>
            </a:xfrm>
            <a:custGeom>
              <a:avLst/>
              <a:gdLst/>
              <a:ahLst/>
              <a:cxnLst/>
              <a:rect l="l" t="t" r="r" b="b"/>
              <a:pathLst>
                <a:path w="224789" h="226059" extrusionOk="0">
                  <a:moveTo>
                    <a:pt x="206375" y="172720"/>
                  </a:moveTo>
                  <a:lnTo>
                    <a:pt x="53975" y="17780"/>
                  </a:lnTo>
                  <a:lnTo>
                    <a:pt x="36195" y="0"/>
                  </a:lnTo>
                  <a:lnTo>
                    <a:pt x="0" y="35560"/>
                  </a:lnTo>
                  <a:lnTo>
                    <a:pt x="18414" y="53340"/>
                  </a:lnTo>
                  <a:lnTo>
                    <a:pt x="170814" y="208280"/>
                  </a:lnTo>
                  <a:lnTo>
                    <a:pt x="188595" y="226060"/>
                  </a:lnTo>
                  <a:lnTo>
                    <a:pt x="224789" y="19050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805" name="Google Shape;805;p15"/>
            <p:cNvSpPr/>
            <p:nvPr/>
          </p:nvSpPr>
          <p:spPr>
            <a:xfrm>
              <a:off x="11409680" y="6089650"/>
              <a:ext cx="224789" cy="226059"/>
            </a:xfrm>
            <a:custGeom>
              <a:avLst/>
              <a:gdLst/>
              <a:ahLst/>
              <a:cxnLst/>
              <a:rect l="l" t="t" r="r" b="b"/>
              <a:pathLst>
                <a:path w="224789" h="226059" extrusionOk="0">
                  <a:moveTo>
                    <a:pt x="206375" y="172720"/>
                  </a:moveTo>
                  <a:lnTo>
                    <a:pt x="53975" y="17780"/>
                  </a:lnTo>
                  <a:lnTo>
                    <a:pt x="36195" y="0"/>
                  </a:lnTo>
                  <a:lnTo>
                    <a:pt x="0" y="35560"/>
                  </a:lnTo>
                  <a:lnTo>
                    <a:pt x="18414" y="53340"/>
                  </a:lnTo>
                  <a:lnTo>
                    <a:pt x="170814" y="208280"/>
                  </a:lnTo>
                  <a:lnTo>
                    <a:pt x="188595" y="226060"/>
                  </a:lnTo>
                  <a:lnTo>
                    <a:pt x="224789" y="19050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806" name="Google Shape;806;p15"/>
            <p:cNvSpPr/>
            <p:nvPr/>
          </p:nvSpPr>
          <p:spPr>
            <a:xfrm>
              <a:off x="12044680" y="6451600"/>
              <a:ext cx="147319" cy="184784"/>
            </a:xfrm>
            <a:custGeom>
              <a:avLst/>
              <a:gdLst/>
              <a:ahLst/>
              <a:cxnLst/>
              <a:rect l="l" t="t" r="r" b="b"/>
              <a:pathLst>
                <a:path w="147319" h="184784" extrusionOk="0">
                  <a:moveTo>
                    <a:pt x="36195" y="0"/>
                  </a:moveTo>
                  <a:lnTo>
                    <a:pt x="0" y="35560"/>
                  </a:lnTo>
                  <a:lnTo>
                    <a:pt x="18414" y="53340"/>
                  </a:lnTo>
                  <a:lnTo>
                    <a:pt x="147320" y="184785"/>
                  </a:lnTo>
                  <a:lnTo>
                    <a:pt x="147320" y="112395"/>
                  </a:lnTo>
                  <a:lnTo>
                    <a:pt x="53975" y="177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807" name="Google Shape;807;p15"/>
            <p:cNvSpPr/>
            <p:nvPr/>
          </p:nvSpPr>
          <p:spPr>
            <a:xfrm>
              <a:off x="1052830" y="0"/>
              <a:ext cx="194944" cy="165100"/>
            </a:xfrm>
            <a:custGeom>
              <a:avLst/>
              <a:gdLst/>
              <a:ahLst/>
              <a:cxnLst/>
              <a:rect l="l" t="t" r="r" b="b"/>
              <a:pathLst>
                <a:path w="194944" h="165100" extrusionOk="0">
                  <a:moveTo>
                    <a:pt x="158750" y="165100"/>
                  </a:moveTo>
                  <a:lnTo>
                    <a:pt x="194945" y="129540"/>
                  </a:lnTo>
                  <a:lnTo>
                    <a:pt x="177800" y="111125"/>
                  </a:lnTo>
                  <a:lnTo>
                    <a:pt x="70485" y="0"/>
                  </a:lnTo>
                  <a:lnTo>
                    <a:pt x="0" y="0"/>
                  </a:lnTo>
                  <a:lnTo>
                    <a:pt x="140970" y="14668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808" name="Google Shape;808;p15"/>
            <p:cNvSpPr/>
            <p:nvPr/>
          </p:nvSpPr>
          <p:spPr>
            <a:xfrm>
              <a:off x="1658620" y="296545"/>
              <a:ext cx="224154" cy="230504"/>
            </a:xfrm>
            <a:custGeom>
              <a:avLst/>
              <a:gdLst/>
              <a:ahLst/>
              <a:cxnLst/>
              <a:rect l="l" t="t" r="r" b="b"/>
              <a:pathLst>
                <a:path w="224154" h="230504" extrusionOk="0">
                  <a:moveTo>
                    <a:pt x="170180" y="212090"/>
                  </a:moveTo>
                  <a:lnTo>
                    <a:pt x="187960" y="230505"/>
                  </a:lnTo>
                  <a:lnTo>
                    <a:pt x="224155" y="194945"/>
                  </a:lnTo>
                  <a:lnTo>
                    <a:pt x="207010" y="176530"/>
                  </a:lnTo>
                  <a:lnTo>
                    <a:pt x="54610" y="17780"/>
                  </a:lnTo>
                  <a:lnTo>
                    <a:pt x="36830" y="0"/>
                  </a:lnTo>
                  <a:lnTo>
                    <a:pt x="0" y="34925"/>
                  </a:lnTo>
                  <a:lnTo>
                    <a:pt x="17780" y="533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809" name="Google Shape;809;p15"/>
            <p:cNvSpPr/>
            <p:nvPr/>
          </p:nvSpPr>
          <p:spPr>
            <a:xfrm>
              <a:off x="2293620" y="658494"/>
              <a:ext cx="224154" cy="230505"/>
            </a:xfrm>
            <a:custGeom>
              <a:avLst/>
              <a:gdLst/>
              <a:ahLst/>
              <a:cxnLst/>
              <a:rect l="l" t="t" r="r" b="b"/>
              <a:pathLst>
                <a:path w="224154" h="230505" extrusionOk="0">
                  <a:moveTo>
                    <a:pt x="170180" y="212090"/>
                  </a:moveTo>
                  <a:lnTo>
                    <a:pt x="187960" y="230505"/>
                  </a:lnTo>
                  <a:lnTo>
                    <a:pt x="224155" y="194945"/>
                  </a:lnTo>
                  <a:lnTo>
                    <a:pt x="207010" y="176530"/>
                  </a:lnTo>
                  <a:lnTo>
                    <a:pt x="54610" y="17780"/>
                  </a:lnTo>
                  <a:lnTo>
                    <a:pt x="36830" y="0"/>
                  </a:lnTo>
                  <a:lnTo>
                    <a:pt x="0" y="34925"/>
                  </a:lnTo>
                  <a:lnTo>
                    <a:pt x="17780" y="533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810" name="Google Shape;810;p15"/>
            <p:cNvSpPr/>
            <p:nvPr/>
          </p:nvSpPr>
          <p:spPr>
            <a:xfrm>
              <a:off x="2928620" y="1020444"/>
              <a:ext cx="224154" cy="230505"/>
            </a:xfrm>
            <a:custGeom>
              <a:avLst/>
              <a:gdLst/>
              <a:ahLst/>
              <a:cxnLst/>
              <a:rect l="l" t="t" r="r" b="b"/>
              <a:pathLst>
                <a:path w="224154" h="230505" extrusionOk="0">
                  <a:moveTo>
                    <a:pt x="170180" y="212090"/>
                  </a:moveTo>
                  <a:lnTo>
                    <a:pt x="187960" y="230505"/>
                  </a:lnTo>
                  <a:lnTo>
                    <a:pt x="224155" y="194945"/>
                  </a:lnTo>
                  <a:lnTo>
                    <a:pt x="207010" y="176530"/>
                  </a:lnTo>
                  <a:lnTo>
                    <a:pt x="54610" y="17780"/>
                  </a:lnTo>
                  <a:lnTo>
                    <a:pt x="36830" y="0"/>
                  </a:lnTo>
                  <a:lnTo>
                    <a:pt x="0" y="34925"/>
                  </a:lnTo>
                  <a:lnTo>
                    <a:pt x="17780" y="533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811" name="Google Shape;811;p15"/>
            <p:cNvSpPr/>
            <p:nvPr/>
          </p:nvSpPr>
          <p:spPr>
            <a:xfrm>
              <a:off x="3563620" y="1382394"/>
              <a:ext cx="224154" cy="230505"/>
            </a:xfrm>
            <a:custGeom>
              <a:avLst/>
              <a:gdLst/>
              <a:ahLst/>
              <a:cxnLst/>
              <a:rect l="l" t="t" r="r" b="b"/>
              <a:pathLst>
                <a:path w="224154" h="230505" extrusionOk="0">
                  <a:moveTo>
                    <a:pt x="36830" y="0"/>
                  </a:moveTo>
                  <a:lnTo>
                    <a:pt x="0" y="34925"/>
                  </a:lnTo>
                  <a:lnTo>
                    <a:pt x="17780" y="53340"/>
                  </a:lnTo>
                  <a:lnTo>
                    <a:pt x="170180" y="212090"/>
                  </a:lnTo>
                  <a:lnTo>
                    <a:pt x="187960" y="230505"/>
                  </a:lnTo>
                  <a:lnTo>
                    <a:pt x="224155" y="194945"/>
                  </a:lnTo>
                  <a:lnTo>
                    <a:pt x="207010" y="176530"/>
                  </a:lnTo>
                  <a:lnTo>
                    <a:pt x="54610" y="177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812" name="Google Shape;812;p15"/>
            <p:cNvSpPr/>
            <p:nvPr/>
          </p:nvSpPr>
          <p:spPr>
            <a:xfrm>
              <a:off x="4198620" y="1744345"/>
              <a:ext cx="224154" cy="230504"/>
            </a:xfrm>
            <a:custGeom>
              <a:avLst/>
              <a:gdLst/>
              <a:ahLst/>
              <a:cxnLst/>
              <a:rect l="l" t="t" r="r" b="b"/>
              <a:pathLst>
                <a:path w="224154" h="230504" extrusionOk="0">
                  <a:moveTo>
                    <a:pt x="36830" y="0"/>
                  </a:moveTo>
                  <a:lnTo>
                    <a:pt x="0" y="34925"/>
                  </a:lnTo>
                  <a:lnTo>
                    <a:pt x="17780" y="53340"/>
                  </a:lnTo>
                  <a:lnTo>
                    <a:pt x="170180" y="212090"/>
                  </a:lnTo>
                  <a:lnTo>
                    <a:pt x="187960" y="230505"/>
                  </a:lnTo>
                  <a:lnTo>
                    <a:pt x="224155" y="194945"/>
                  </a:lnTo>
                  <a:lnTo>
                    <a:pt x="207010" y="176530"/>
                  </a:lnTo>
                  <a:lnTo>
                    <a:pt x="54610" y="177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813" name="Google Shape;813;p15"/>
            <p:cNvSpPr/>
            <p:nvPr/>
          </p:nvSpPr>
          <p:spPr>
            <a:xfrm>
              <a:off x="4833620" y="2106295"/>
              <a:ext cx="224154" cy="230504"/>
            </a:xfrm>
            <a:custGeom>
              <a:avLst/>
              <a:gdLst/>
              <a:ahLst/>
              <a:cxnLst/>
              <a:rect l="l" t="t" r="r" b="b"/>
              <a:pathLst>
                <a:path w="224154" h="230504" extrusionOk="0">
                  <a:moveTo>
                    <a:pt x="36830" y="0"/>
                  </a:moveTo>
                  <a:lnTo>
                    <a:pt x="0" y="34925"/>
                  </a:lnTo>
                  <a:lnTo>
                    <a:pt x="17780" y="53340"/>
                  </a:lnTo>
                  <a:lnTo>
                    <a:pt x="170180" y="212090"/>
                  </a:lnTo>
                  <a:lnTo>
                    <a:pt x="187960" y="230505"/>
                  </a:lnTo>
                  <a:lnTo>
                    <a:pt x="224155" y="194945"/>
                  </a:lnTo>
                  <a:lnTo>
                    <a:pt x="207010" y="176530"/>
                  </a:lnTo>
                  <a:lnTo>
                    <a:pt x="54610" y="177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814" name="Google Shape;814;p15"/>
            <p:cNvSpPr/>
            <p:nvPr/>
          </p:nvSpPr>
          <p:spPr>
            <a:xfrm>
              <a:off x="5468620" y="2468245"/>
              <a:ext cx="224154" cy="230504"/>
            </a:xfrm>
            <a:custGeom>
              <a:avLst/>
              <a:gdLst/>
              <a:ahLst/>
              <a:cxnLst/>
              <a:rect l="l" t="t" r="r" b="b"/>
              <a:pathLst>
                <a:path w="224154" h="230504" extrusionOk="0">
                  <a:moveTo>
                    <a:pt x="36830" y="0"/>
                  </a:moveTo>
                  <a:lnTo>
                    <a:pt x="0" y="34925"/>
                  </a:lnTo>
                  <a:lnTo>
                    <a:pt x="17780" y="53340"/>
                  </a:lnTo>
                  <a:lnTo>
                    <a:pt x="170180" y="212090"/>
                  </a:lnTo>
                  <a:lnTo>
                    <a:pt x="187960" y="230505"/>
                  </a:lnTo>
                  <a:lnTo>
                    <a:pt x="224155" y="194945"/>
                  </a:lnTo>
                  <a:lnTo>
                    <a:pt x="207010" y="176530"/>
                  </a:lnTo>
                  <a:lnTo>
                    <a:pt x="54610" y="177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815" name="Google Shape;815;p15"/>
            <p:cNvSpPr/>
            <p:nvPr/>
          </p:nvSpPr>
          <p:spPr>
            <a:xfrm>
              <a:off x="6103620" y="2830195"/>
              <a:ext cx="224154" cy="230504"/>
            </a:xfrm>
            <a:custGeom>
              <a:avLst/>
              <a:gdLst/>
              <a:ahLst/>
              <a:cxnLst/>
              <a:rect l="l" t="t" r="r" b="b"/>
              <a:pathLst>
                <a:path w="224154" h="230504" extrusionOk="0">
                  <a:moveTo>
                    <a:pt x="36830" y="0"/>
                  </a:moveTo>
                  <a:lnTo>
                    <a:pt x="0" y="34925"/>
                  </a:lnTo>
                  <a:lnTo>
                    <a:pt x="17780" y="53340"/>
                  </a:lnTo>
                  <a:lnTo>
                    <a:pt x="170180" y="212090"/>
                  </a:lnTo>
                  <a:lnTo>
                    <a:pt x="187960" y="230505"/>
                  </a:lnTo>
                  <a:lnTo>
                    <a:pt x="224155" y="194945"/>
                  </a:lnTo>
                  <a:lnTo>
                    <a:pt x="207010" y="176530"/>
                  </a:lnTo>
                  <a:lnTo>
                    <a:pt x="54610" y="177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816" name="Google Shape;816;p15"/>
            <p:cNvSpPr/>
            <p:nvPr/>
          </p:nvSpPr>
          <p:spPr>
            <a:xfrm>
              <a:off x="6738619" y="3192145"/>
              <a:ext cx="224155" cy="230504"/>
            </a:xfrm>
            <a:custGeom>
              <a:avLst/>
              <a:gdLst/>
              <a:ahLst/>
              <a:cxnLst/>
              <a:rect l="l" t="t" r="r" b="b"/>
              <a:pathLst>
                <a:path w="224155" h="230504" extrusionOk="0">
                  <a:moveTo>
                    <a:pt x="36830" y="0"/>
                  </a:moveTo>
                  <a:lnTo>
                    <a:pt x="0" y="34925"/>
                  </a:lnTo>
                  <a:lnTo>
                    <a:pt x="17780" y="53340"/>
                  </a:lnTo>
                  <a:lnTo>
                    <a:pt x="170180" y="212090"/>
                  </a:lnTo>
                  <a:lnTo>
                    <a:pt x="187961" y="230505"/>
                  </a:lnTo>
                  <a:lnTo>
                    <a:pt x="224155" y="194945"/>
                  </a:lnTo>
                  <a:lnTo>
                    <a:pt x="207011" y="176530"/>
                  </a:lnTo>
                  <a:lnTo>
                    <a:pt x="54611" y="177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817" name="Google Shape;817;p15"/>
            <p:cNvSpPr/>
            <p:nvPr/>
          </p:nvSpPr>
          <p:spPr>
            <a:xfrm>
              <a:off x="7373619" y="3554095"/>
              <a:ext cx="224155" cy="230504"/>
            </a:xfrm>
            <a:custGeom>
              <a:avLst/>
              <a:gdLst/>
              <a:ahLst/>
              <a:cxnLst/>
              <a:rect l="l" t="t" r="r" b="b"/>
              <a:pathLst>
                <a:path w="224155" h="230504" extrusionOk="0">
                  <a:moveTo>
                    <a:pt x="36830" y="0"/>
                  </a:moveTo>
                  <a:lnTo>
                    <a:pt x="0" y="34925"/>
                  </a:lnTo>
                  <a:lnTo>
                    <a:pt x="17780" y="53340"/>
                  </a:lnTo>
                  <a:lnTo>
                    <a:pt x="170180" y="212090"/>
                  </a:lnTo>
                  <a:lnTo>
                    <a:pt x="187961" y="230505"/>
                  </a:lnTo>
                  <a:lnTo>
                    <a:pt x="224155" y="194945"/>
                  </a:lnTo>
                  <a:lnTo>
                    <a:pt x="207011" y="176530"/>
                  </a:lnTo>
                  <a:lnTo>
                    <a:pt x="54611" y="177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818" name="Google Shape;818;p15"/>
            <p:cNvSpPr/>
            <p:nvPr/>
          </p:nvSpPr>
          <p:spPr>
            <a:xfrm>
              <a:off x="8008619" y="3916045"/>
              <a:ext cx="224155" cy="230504"/>
            </a:xfrm>
            <a:custGeom>
              <a:avLst/>
              <a:gdLst/>
              <a:ahLst/>
              <a:cxnLst/>
              <a:rect l="l" t="t" r="r" b="b"/>
              <a:pathLst>
                <a:path w="224155" h="230504" extrusionOk="0">
                  <a:moveTo>
                    <a:pt x="36830" y="0"/>
                  </a:moveTo>
                  <a:lnTo>
                    <a:pt x="0" y="34925"/>
                  </a:lnTo>
                  <a:lnTo>
                    <a:pt x="17780" y="53340"/>
                  </a:lnTo>
                  <a:lnTo>
                    <a:pt x="170180" y="212090"/>
                  </a:lnTo>
                  <a:lnTo>
                    <a:pt x="187961" y="230505"/>
                  </a:lnTo>
                  <a:lnTo>
                    <a:pt x="224155" y="194945"/>
                  </a:lnTo>
                  <a:lnTo>
                    <a:pt x="207011" y="176530"/>
                  </a:lnTo>
                  <a:lnTo>
                    <a:pt x="54611" y="177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819" name="Google Shape;819;p15"/>
            <p:cNvSpPr/>
            <p:nvPr/>
          </p:nvSpPr>
          <p:spPr>
            <a:xfrm>
              <a:off x="8643619" y="4277995"/>
              <a:ext cx="224155" cy="230504"/>
            </a:xfrm>
            <a:custGeom>
              <a:avLst/>
              <a:gdLst/>
              <a:ahLst/>
              <a:cxnLst/>
              <a:rect l="l" t="t" r="r" b="b"/>
              <a:pathLst>
                <a:path w="224155" h="230504" extrusionOk="0">
                  <a:moveTo>
                    <a:pt x="36830" y="0"/>
                  </a:moveTo>
                  <a:lnTo>
                    <a:pt x="0" y="34925"/>
                  </a:lnTo>
                  <a:lnTo>
                    <a:pt x="17780" y="53340"/>
                  </a:lnTo>
                  <a:lnTo>
                    <a:pt x="170180" y="212090"/>
                  </a:lnTo>
                  <a:lnTo>
                    <a:pt x="187961" y="230505"/>
                  </a:lnTo>
                  <a:lnTo>
                    <a:pt x="224155" y="194945"/>
                  </a:lnTo>
                  <a:lnTo>
                    <a:pt x="207011" y="176530"/>
                  </a:lnTo>
                  <a:lnTo>
                    <a:pt x="54611" y="177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820" name="Google Shape;820;p15"/>
            <p:cNvSpPr/>
            <p:nvPr/>
          </p:nvSpPr>
          <p:spPr>
            <a:xfrm>
              <a:off x="9278619" y="4639945"/>
              <a:ext cx="224155" cy="230504"/>
            </a:xfrm>
            <a:custGeom>
              <a:avLst/>
              <a:gdLst/>
              <a:ahLst/>
              <a:cxnLst/>
              <a:rect l="l" t="t" r="r" b="b"/>
              <a:pathLst>
                <a:path w="224155" h="230504" extrusionOk="0">
                  <a:moveTo>
                    <a:pt x="36830" y="0"/>
                  </a:moveTo>
                  <a:lnTo>
                    <a:pt x="0" y="34925"/>
                  </a:lnTo>
                  <a:lnTo>
                    <a:pt x="17780" y="53340"/>
                  </a:lnTo>
                  <a:lnTo>
                    <a:pt x="170180" y="212090"/>
                  </a:lnTo>
                  <a:lnTo>
                    <a:pt x="187961" y="230505"/>
                  </a:lnTo>
                  <a:lnTo>
                    <a:pt x="224155" y="194945"/>
                  </a:lnTo>
                  <a:lnTo>
                    <a:pt x="207011" y="176530"/>
                  </a:lnTo>
                  <a:lnTo>
                    <a:pt x="54611" y="177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821" name="Google Shape;821;p15"/>
            <p:cNvSpPr/>
            <p:nvPr/>
          </p:nvSpPr>
          <p:spPr>
            <a:xfrm>
              <a:off x="9913619" y="5001895"/>
              <a:ext cx="224155" cy="230504"/>
            </a:xfrm>
            <a:custGeom>
              <a:avLst/>
              <a:gdLst/>
              <a:ahLst/>
              <a:cxnLst/>
              <a:rect l="l" t="t" r="r" b="b"/>
              <a:pathLst>
                <a:path w="224155" h="230504" extrusionOk="0">
                  <a:moveTo>
                    <a:pt x="170180" y="212090"/>
                  </a:moveTo>
                  <a:lnTo>
                    <a:pt x="187961" y="230505"/>
                  </a:lnTo>
                  <a:lnTo>
                    <a:pt x="224155" y="194945"/>
                  </a:lnTo>
                  <a:lnTo>
                    <a:pt x="207011" y="176530"/>
                  </a:lnTo>
                  <a:lnTo>
                    <a:pt x="54611" y="17780"/>
                  </a:lnTo>
                  <a:lnTo>
                    <a:pt x="36830" y="0"/>
                  </a:lnTo>
                  <a:lnTo>
                    <a:pt x="0" y="34925"/>
                  </a:lnTo>
                  <a:lnTo>
                    <a:pt x="17780" y="533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822" name="Google Shape;822;p15"/>
            <p:cNvSpPr/>
            <p:nvPr/>
          </p:nvSpPr>
          <p:spPr>
            <a:xfrm>
              <a:off x="10548619" y="5363845"/>
              <a:ext cx="224155" cy="230504"/>
            </a:xfrm>
            <a:custGeom>
              <a:avLst/>
              <a:gdLst/>
              <a:ahLst/>
              <a:cxnLst/>
              <a:rect l="l" t="t" r="r" b="b"/>
              <a:pathLst>
                <a:path w="224155" h="230504" extrusionOk="0">
                  <a:moveTo>
                    <a:pt x="170180" y="212090"/>
                  </a:moveTo>
                  <a:lnTo>
                    <a:pt x="187961" y="230505"/>
                  </a:lnTo>
                  <a:lnTo>
                    <a:pt x="224155" y="194945"/>
                  </a:lnTo>
                  <a:lnTo>
                    <a:pt x="207011" y="176530"/>
                  </a:lnTo>
                  <a:lnTo>
                    <a:pt x="54611" y="17780"/>
                  </a:lnTo>
                  <a:lnTo>
                    <a:pt x="36830" y="0"/>
                  </a:lnTo>
                  <a:lnTo>
                    <a:pt x="0" y="34925"/>
                  </a:lnTo>
                  <a:lnTo>
                    <a:pt x="17780" y="533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823" name="Google Shape;823;p15"/>
            <p:cNvSpPr/>
            <p:nvPr/>
          </p:nvSpPr>
          <p:spPr>
            <a:xfrm>
              <a:off x="11183619" y="5725795"/>
              <a:ext cx="224155" cy="230504"/>
            </a:xfrm>
            <a:custGeom>
              <a:avLst/>
              <a:gdLst/>
              <a:ahLst/>
              <a:cxnLst/>
              <a:rect l="l" t="t" r="r" b="b"/>
              <a:pathLst>
                <a:path w="224155" h="230504" extrusionOk="0">
                  <a:moveTo>
                    <a:pt x="170180" y="212090"/>
                  </a:moveTo>
                  <a:lnTo>
                    <a:pt x="187961" y="230505"/>
                  </a:lnTo>
                  <a:lnTo>
                    <a:pt x="224155" y="194945"/>
                  </a:lnTo>
                  <a:lnTo>
                    <a:pt x="207011" y="176530"/>
                  </a:lnTo>
                  <a:lnTo>
                    <a:pt x="54611" y="17780"/>
                  </a:lnTo>
                  <a:lnTo>
                    <a:pt x="36830" y="0"/>
                  </a:lnTo>
                  <a:lnTo>
                    <a:pt x="0" y="34925"/>
                  </a:lnTo>
                  <a:lnTo>
                    <a:pt x="17780" y="533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824" name="Google Shape;824;p15"/>
            <p:cNvSpPr/>
            <p:nvPr/>
          </p:nvSpPr>
          <p:spPr>
            <a:xfrm>
              <a:off x="11818619" y="6087745"/>
              <a:ext cx="224155" cy="230504"/>
            </a:xfrm>
            <a:custGeom>
              <a:avLst/>
              <a:gdLst/>
              <a:ahLst/>
              <a:cxnLst/>
              <a:rect l="l" t="t" r="r" b="b"/>
              <a:pathLst>
                <a:path w="224155" h="230504" extrusionOk="0">
                  <a:moveTo>
                    <a:pt x="54611" y="17780"/>
                  </a:moveTo>
                  <a:lnTo>
                    <a:pt x="36830" y="0"/>
                  </a:lnTo>
                  <a:lnTo>
                    <a:pt x="0" y="34925"/>
                  </a:lnTo>
                  <a:lnTo>
                    <a:pt x="17780" y="53340"/>
                  </a:lnTo>
                  <a:lnTo>
                    <a:pt x="170180" y="212090"/>
                  </a:lnTo>
                  <a:lnTo>
                    <a:pt x="187961" y="230505"/>
                  </a:lnTo>
                  <a:lnTo>
                    <a:pt x="224155" y="194945"/>
                  </a:lnTo>
                  <a:lnTo>
                    <a:pt x="207011" y="17653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825" name="Google Shape;825;p15"/>
            <p:cNvSpPr/>
            <p:nvPr/>
          </p:nvSpPr>
          <p:spPr>
            <a:xfrm>
              <a:off x="1459230" y="0"/>
              <a:ext cx="196215" cy="163829"/>
            </a:xfrm>
            <a:custGeom>
              <a:avLst/>
              <a:gdLst/>
              <a:ahLst/>
              <a:cxnLst/>
              <a:rect l="l" t="t" r="r" b="b"/>
              <a:pathLst>
                <a:path w="196215" h="163829" extrusionOk="0">
                  <a:moveTo>
                    <a:pt x="159385" y="163830"/>
                  </a:moveTo>
                  <a:lnTo>
                    <a:pt x="196215" y="128270"/>
                  </a:lnTo>
                  <a:lnTo>
                    <a:pt x="178435" y="109855"/>
                  </a:lnTo>
                  <a:lnTo>
                    <a:pt x="71120" y="0"/>
                  </a:lnTo>
                  <a:lnTo>
                    <a:pt x="0" y="0"/>
                  </a:lnTo>
                  <a:lnTo>
                    <a:pt x="141605" y="1454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826" name="Google Shape;826;p15"/>
            <p:cNvSpPr/>
            <p:nvPr/>
          </p:nvSpPr>
          <p:spPr>
            <a:xfrm>
              <a:off x="2066289" y="297179"/>
              <a:ext cx="224155" cy="228600"/>
            </a:xfrm>
            <a:custGeom>
              <a:avLst/>
              <a:gdLst/>
              <a:ahLst/>
              <a:cxnLst/>
              <a:rect l="l" t="t" r="r" b="b"/>
              <a:pathLst>
                <a:path w="224155" h="228600" extrusionOk="0">
                  <a:moveTo>
                    <a:pt x="17145" y="53975"/>
                  </a:moveTo>
                  <a:lnTo>
                    <a:pt x="169545" y="210185"/>
                  </a:lnTo>
                  <a:lnTo>
                    <a:pt x="187325" y="228600"/>
                  </a:lnTo>
                  <a:lnTo>
                    <a:pt x="224155" y="193040"/>
                  </a:lnTo>
                  <a:lnTo>
                    <a:pt x="206375" y="174625"/>
                  </a:lnTo>
                  <a:lnTo>
                    <a:pt x="53975" y="18415"/>
                  </a:lnTo>
                  <a:lnTo>
                    <a:pt x="36195" y="0"/>
                  </a:lnTo>
                  <a:lnTo>
                    <a:pt x="0" y="3556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827" name="Google Shape;827;p15"/>
            <p:cNvSpPr/>
            <p:nvPr/>
          </p:nvSpPr>
          <p:spPr>
            <a:xfrm>
              <a:off x="2701289" y="659130"/>
              <a:ext cx="224155" cy="228600"/>
            </a:xfrm>
            <a:custGeom>
              <a:avLst/>
              <a:gdLst/>
              <a:ahLst/>
              <a:cxnLst/>
              <a:rect l="l" t="t" r="r" b="b"/>
              <a:pathLst>
                <a:path w="224155" h="228600" extrusionOk="0">
                  <a:moveTo>
                    <a:pt x="53975" y="18415"/>
                  </a:moveTo>
                  <a:lnTo>
                    <a:pt x="36195" y="0"/>
                  </a:lnTo>
                  <a:lnTo>
                    <a:pt x="0" y="35560"/>
                  </a:lnTo>
                  <a:lnTo>
                    <a:pt x="17145" y="53975"/>
                  </a:lnTo>
                  <a:lnTo>
                    <a:pt x="169545" y="210185"/>
                  </a:lnTo>
                  <a:lnTo>
                    <a:pt x="187325" y="228600"/>
                  </a:lnTo>
                  <a:lnTo>
                    <a:pt x="224155" y="193040"/>
                  </a:lnTo>
                  <a:lnTo>
                    <a:pt x="206375" y="17462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828" name="Google Shape;828;p15"/>
            <p:cNvSpPr/>
            <p:nvPr/>
          </p:nvSpPr>
          <p:spPr>
            <a:xfrm>
              <a:off x="3336290" y="1021080"/>
              <a:ext cx="224154" cy="228600"/>
            </a:xfrm>
            <a:custGeom>
              <a:avLst/>
              <a:gdLst/>
              <a:ahLst/>
              <a:cxnLst/>
              <a:rect l="l" t="t" r="r" b="b"/>
              <a:pathLst>
                <a:path w="224154" h="228600" extrusionOk="0">
                  <a:moveTo>
                    <a:pt x="53975" y="18415"/>
                  </a:moveTo>
                  <a:lnTo>
                    <a:pt x="36195" y="0"/>
                  </a:lnTo>
                  <a:lnTo>
                    <a:pt x="0" y="35560"/>
                  </a:lnTo>
                  <a:lnTo>
                    <a:pt x="17145" y="53975"/>
                  </a:lnTo>
                  <a:lnTo>
                    <a:pt x="169545" y="210185"/>
                  </a:lnTo>
                  <a:lnTo>
                    <a:pt x="187325" y="228600"/>
                  </a:lnTo>
                  <a:lnTo>
                    <a:pt x="224155" y="193040"/>
                  </a:lnTo>
                  <a:lnTo>
                    <a:pt x="206375" y="17462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829" name="Google Shape;829;p15"/>
            <p:cNvSpPr/>
            <p:nvPr/>
          </p:nvSpPr>
          <p:spPr>
            <a:xfrm>
              <a:off x="3971290" y="1383030"/>
              <a:ext cx="224154" cy="228600"/>
            </a:xfrm>
            <a:custGeom>
              <a:avLst/>
              <a:gdLst/>
              <a:ahLst/>
              <a:cxnLst/>
              <a:rect l="l" t="t" r="r" b="b"/>
              <a:pathLst>
                <a:path w="224154" h="228600" extrusionOk="0">
                  <a:moveTo>
                    <a:pt x="53975" y="18415"/>
                  </a:moveTo>
                  <a:lnTo>
                    <a:pt x="36195" y="0"/>
                  </a:lnTo>
                  <a:lnTo>
                    <a:pt x="0" y="35560"/>
                  </a:lnTo>
                  <a:lnTo>
                    <a:pt x="17145" y="53975"/>
                  </a:lnTo>
                  <a:lnTo>
                    <a:pt x="169545" y="210185"/>
                  </a:lnTo>
                  <a:lnTo>
                    <a:pt x="187325" y="228600"/>
                  </a:lnTo>
                  <a:lnTo>
                    <a:pt x="224155" y="193040"/>
                  </a:lnTo>
                  <a:lnTo>
                    <a:pt x="206375" y="17462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830" name="Google Shape;830;p15"/>
            <p:cNvSpPr/>
            <p:nvPr/>
          </p:nvSpPr>
          <p:spPr>
            <a:xfrm>
              <a:off x="4606290" y="1744979"/>
              <a:ext cx="224154" cy="228600"/>
            </a:xfrm>
            <a:custGeom>
              <a:avLst/>
              <a:gdLst/>
              <a:ahLst/>
              <a:cxnLst/>
              <a:rect l="l" t="t" r="r" b="b"/>
              <a:pathLst>
                <a:path w="224154" h="228600" extrusionOk="0">
                  <a:moveTo>
                    <a:pt x="53975" y="18415"/>
                  </a:moveTo>
                  <a:lnTo>
                    <a:pt x="36195" y="0"/>
                  </a:lnTo>
                  <a:lnTo>
                    <a:pt x="0" y="35560"/>
                  </a:lnTo>
                  <a:lnTo>
                    <a:pt x="17145" y="53975"/>
                  </a:lnTo>
                  <a:lnTo>
                    <a:pt x="169545" y="210185"/>
                  </a:lnTo>
                  <a:lnTo>
                    <a:pt x="187325" y="228600"/>
                  </a:lnTo>
                  <a:lnTo>
                    <a:pt x="224155" y="193040"/>
                  </a:lnTo>
                  <a:lnTo>
                    <a:pt x="206375" y="17462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831" name="Google Shape;831;p15"/>
            <p:cNvSpPr/>
            <p:nvPr/>
          </p:nvSpPr>
          <p:spPr>
            <a:xfrm>
              <a:off x="5241290" y="2106929"/>
              <a:ext cx="224154" cy="228600"/>
            </a:xfrm>
            <a:custGeom>
              <a:avLst/>
              <a:gdLst/>
              <a:ahLst/>
              <a:cxnLst/>
              <a:rect l="l" t="t" r="r" b="b"/>
              <a:pathLst>
                <a:path w="224154" h="228600" extrusionOk="0">
                  <a:moveTo>
                    <a:pt x="53975" y="18415"/>
                  </a:moveTo>
                  <a:lnTo>
                    <a:pt x="36195" y="0"/>
                  </a:lnTo>
                  <a:lnTo>
                    <a:pt x="0" y="35560"/>
                  </a:lnTo>
                  <a:lnTo>
                    <a:pt x="17145" y="53975"/>
                  </a:lnTo>
                  <a:lnTo>
                    <a:pt x="169545" y="210185"/>
                  </a:lnTo>
                  <a:lnTo>
                    <a:pt x="187325" y="228600"/>
                  </a:lnTo>
                  <a:lnTo>
                    <a:pt x="224155" y="193040"/>
                  </a:lnTo>
                  <a:lnTo>
                    <a:pt x="206375" y="17462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832" name="Google Shape;832;p15"/>
            <p:cNvSpPr/>
            <p:nvPr/>
          </p:nvSpPr>
          <p:spPr>
            <a:xfrm>
              <a:off x="5876290" y="2468879"/>
              <a:ext cx="224154" cy="228600"/>
            </a:xfrm>
            <a:custGeom>
              <a:avLst/>
              <a:gdLst/>
              <a:ahLst/>
              <a:cxnLst/>
              <a:rect l="l" t="t" r="r" b="b"/>
              <a:pathLst>
                <a:path w="224154" h="228600" extrusionOk="0">
                  <a:moveTo>
                    <a:pt x="53975" y="18415"/>
                  </a:moveTo>
                  <a:lnTo>
                    <a:pt x="36195" y="0"/>
                  </a:lnTo>
                  <a:lnTo>
                    <a:pt x="0" y="35560"/>
                  </a:lnTo>
                  <a:lnTo>
                    <a:pt x="17145" y="53975"/>
                  </a:lnTo>
                  <a:lnTo>
                    <a:pt x="169545" y="210185"/>
                  </a:lnTo>
                  <a:lnTo>
                    <a:pt x="187325" y="228600"/>
                  </a:lnTo>
                  <a:lnTo>
                    <a:pt x="224155" y="193040"/>
                  </a:lnTo>
                  <a:lnTo>
                    <a:pt x="206375" y="17462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833" name="Google Shape;833;p15"/>
            <p:cNvSpPr/>
            <p:nvPr/>
          </p:nvSpPr>
          <p:spPr>
            <a:xfrm>
              <a:off x="6511290" y="2830829"/>
              <a:ext cx="224154" cy="228600"/>
            </a:xfrm>
            <a:custGeom>
              <a:avLst/>
              <a:gdLst/>
              <a:ahLst/>
              <a:cxnLst/>
              <a:rect l="l" t="t" r="r" b="b"/>
              <a:pathLst>
                <a:path w="224154" h="228600" extrusionOk="0">
                  <a:moveTo>
                    <a:pt x="53975" y="18415"/>
                  </a:moveTo>
                  <a:lnTo>
                    <a:pt x="36195" y="0"/>
                  </a:lnTo>
                  <a:lnTo>
                    <a:pt x="0" y="35560"/>
                  </a:lnTo>
                  <a:lnTo>
                    <a:pt x="17145" y="53975"/>
                  </a:lnTo>
                  <a:lnTo>
                    <a:pt x="169545" y="210185"/>
                  </a:lnTo>
                  <a:lnTo>
                    <a:pt x="187325" y="228600"/>
                  </a:lnTo>
                  <a:lnTo>
                    <a:pt x="224155" y="193040"/>
                  </a:lnTo>
                  <a:lnTo>
                    <a:pt x="206375" y="17462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834" name="Google Shape;834;p15"/>
            <p:cNvSpPr/>
            <p:nvPr/>
          </p:nvSpPr>
          <p:spPr>
            <a:xfrm>
              <a:off x="7146290" y="3192779"/>
              <a:ext cx="224154" cy="228600"/>
            </a:xfrm>
            <a:custGeom>
              <a:avLst/>
              <a:gdLst/>
              <a:ahLst/>
              <a:cxnLst/>
              <a:rect l="l" t="t" r="r" b="b"/>
              <a:pathLst>
                <a:path w="224154" h="228600" extrusionOk="0">
                  <a:moveTo>
                    <a:pt x="169545" y="210185"/>
                  </a:moveTo>
                  <a:lnTo>
                    <a:pt x="187325" y="228600"/>
                  </a:lnTo>
                  <a:lnTo>
                    <a:pt x="224155" y="193040"/>
                  </a:lnTo>
                  <a:lnTo>
                    <a:pt x="206375" y="174625"/>
                  </a:lnTo>
                  <a:lnTo>
                    <a:pt x="53975" y="18415"/>
                  </a:lnTo>
                  <a:lnTo>
                    <a:pt x="36195" y="0"/>
                  </a:lnTo>
                  <a:lnTo>
                    <a:pt x="0" y="35560"/>
                  </a:lnTo>
                  <a:lnTo>
                    <a:pt x="17145" y="5397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835" name="Google Shape;835;p15"/>
            <p:cNvSpPr/>
            <p:nvPr/>
          </p:nvSpPr>
          <p:spPr>
            <a:xfrm>
              <a:off x="7781290" y="3554729"/>
              <a:ext cx="224154" cy="228600"/>
            </a:xfrm>
            <a:custGeom>
              <a:avLst/>
              <a:gdLst/>
              <a:ahLst/>
              <a:cxnLst/>
              <a:rect l="l" t="t" r="r" b="b"/>
              <a:pathLst>
                <a:path w="224154" h="228600" extrusionOk="0">
                  <a:moveTo>
                    <a:pt x="169545" y="210185"/>
                  </a:moveTo>
                  <a:lnTo>
                    <a:pt x="187325" y="228600"/>
                  </a:lnTo>
                  <a:lnTo>
                    <a:pt x="224155" y="193040"/>
                  </a:lnTo>
                  <a:lnTo>
                    <a:pt x="206375" y="174625"/>
                  </a:lnTo>
                  <a:lnTo>
                    <a:pt x="53975" y="18415"/>
                  </a:lnTo>
                  <a:lnTo>
                    <a:pt x="36195" y="0"/>
                  </a:lnTo>
                  <a:lnTo>
                    <a:pt x="0" y="35560"/>
                  </a:lnTo>
                  <a:lnTo>
                    <a:pt x="17145" y="5397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836" name="Google Shape;836;p15"/>
            <p:cNvSpPr/>
            <p:nvPr/>
          </p:nvSpPr>
          <p:spPr>
            <a:xfrm>
              <a:off x="8416290" y="3916679"/>
              <a:ext cx="224154" cy="228600"/>
            </a:xfrm>
            <a:custGeom>
              <a:avLst/>
              <a:gdLst/>
              <a:ahLst/>
              <a:cxnLst/>
              <a:rect l="l" t="t" r="r" b="b"/>
              <a:pathLst>
                <a:path w="224154" h="228600" extrusionOk="0">
                  <a:moveTo>
                    <a:pt x="53975" y="18415"/>
                  </a:moveTo>
                  <a:lnTo>
                    <a:pt x="36195" y="0"/>
                  </a:lnTo>
                  <a:lnTo>
                    <a:pt x="0" y="35560"/>
                  </a:lnTo>
                  <a:lnTo>
                    <a:pt x="17145" y="53975"/>
                  </a:lnTo>
                  <a:lnTo>
                    <a:pt x="169545" y="210185"/>
                  </a:lnTo>
                  <a:lnTo>
                    <a:pt x="187325" y="228600"/>
                  </a:lnTo>
                  <a:lnTo>
                    <a:pt x="224155" y="193040"/>
                  </a:lnTo>
                  <a:lnTo>
                    <a:pt x="206375" y="17462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837" name="Google Shape;837;p15"/>
            <p:cNvSpPr/>
            <p:nvPr/>
          </p:nvSpPr>
          <p:spPr>
            <a:xfrm>
              <a:off x="9051290" y="4278629"/>
              <a:ext cx="224154" cy="228600"/>
            </a:xfrm>
            <a:custGeom>
              <a:avLst/>
              <a:gdLst/>
              <a:ahLst/>
              <a:cxnLst/>
              <a:rect l="l" t="t" r="r" b="b"/>
              <a:pathLst>
                <a:path w="224154" h="228600" extrusionOk="0">
                  <a:moveTo>
                    <a:pt x="169545" y="210185"/>
                  </a:moveTo>
                  <a:lnTo>
                    <a:pt x="187325" y="228600"/>
                  </a:lnTo>
                  <a:lnTo>
                    <a:pt x="224155" y="193040"/>
                  </a:lnTo>
                  <a:lnTo>
                    <a:pt x="206375" y="174625"/>
                  </a:lnTo>
                  <a:lnTo>
                    <a:pt x="53975" y="18415"/>
                  </a:lnTo>
                  <a:lnTo>
                    <a:pt x="36195" y="0"/>
                  </a:lnTo>
                  <a:lnTo>
                    <a:pt x="0" y="35560"/>
                  </a:lnTo>
                  <a:lnTo>
                    <a:pt x="17145" y="5397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838" name="Google Shape;838;p15"/>
            <p:cNvSpPr/>
            <p:nvPr/>
          </p:nvSpPr>
          <p:spPr>
            <a:xfrm>
              <a:off x="9686290" y="4640579"/>
              <a:ext cx="224154" cy="228600"/>
            </a:xfrm>
            <a:custGeom>
              <a:avLst/>
              <a:gdLst/>
              <a:ahLst/>
              <a:cxnLst/>
              <a:rect l="l" t="t" r="r" b="b"/>
              <a:pathLst>
                <a:path w="224154" h="228600" extrusionOk="0">
                  <a:moveTo>
                    <a:pt x="187325" y="228600"/>
                  </a:moveTo>
                  <a:lnTo>
                    <a:pt x="224155" y="193040"/>
                  </a:lnTo>
                  <a:lnTo>
                    <a:pt x="206375" y="174625"/>
                  </a:lnTo>
                  <a:lnTo>
                    <a:pt x="53975" y="18415"/>
                  </a:lnTo>
                  <a:lnTo>
                    <a:pt x="36195" y="0"/>
                  </a:lnTo>
                  <a:lnTo>
                    <a:pt x="0" y="35560"/>
                  </a:lnTo>
                  <a:lnTo>
                    <a:pt x="17145" y="53975"/>
                  </a:lnTo>
                  <a:lnTo>
                    <a:pt x="169545" y="21018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839" name="Google Shape;839;p15"/>
            <p:cNvSpPr/>
            <p:nvPr/>
          </p:nvSpPr>
          <p:spPr>
            <a:xfrm>
              <a:off x="10321290" y="5002529"/>
              <a:ext cx="224154" cy="228600"/>
            </a:xfrm>
            <a:custGeom>
              <a:avLst/>
              <a:gdLst/>
              <a:ahLst/>
              <a:cxnLst/>
              <a:rect l="l" t="t" r="r" b="b"/>
              <a:pathLst>
                <a:path w="224154" h="228600" extrusionOk="0">
                  <a:moveTo>
                    <a:pt x="187325" y="228600"/>
                  </a:moveTo>
                  <a:lnTo>
                    <a:pt x="224155" y="193040"/>
                  </a:lnTo>
                  <a:lnTo>
                    <a:pt x="206375" y="174625"/>
                  </a:lnTo>
                  <a:lnTo>
                    <a:pt x="53975" y="18415"/>
                  </a:lnTo>
                  <a:lnTo>
                    <a:pt x="36195" y="0"/>
                  </a:lnTo>
                  <a:lnTo>
                    <a:pt x="0" y="35560"/>
                  </a:lnTo>
                  <a:lnTo>
                    <a:pt x="17780" y="53975"/>
                  </a:lnTo>
                  <a:lnTo>
                    <a:pt x="170180" y="21018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840" name="Google Shape;840;p15"/>
            <p:cNvSpPr/>
            <p:nvPr/>
          </p:nvSpPr>
          <p:spPr>
            <a:xfrm>
              <a:off x="10956290" y="5364479"/>
              <a:ext cx="224154" cy="228600"/>
            </a:xfrm>
            <a:custGeom>
              <a:avLst/>
              <a:gdLst/>
              <a:ahLst/>
              <a:cxnLst/>
              <a:rect l="l" t="t" r="r" b="b"/>
              <a:pathLst>
                <a:path w="224154" h="228600" extrusionOk="0">
                  <a:moveTo>
                    <a:pt x="170180" y="210185"/>
                  </a:moveTo>
                  <a:lnTo>
                    <a:pt x="187325" y="228600"/>
                  </a:lnTo>
                  <a:lnTo>
                    <a:pt x="224155" y="193040"/>
                  </a:lnTo>
                  <a:lnTo>
                    <a:pt x="206375" y="174625"/>
                  </a:lnTo>
                  <a:lnTo>
                    <a:pt x="53975" y="18415"/>
                  </a:lnTo>
                  <a:lnTo>
                    <a:pt x="36195" y="0"/>
                  </a:lnTo>
                  <a:lnTo>
                    <a:pt x="0" y="35560"/>
                  </a:lnTo>
                  <a:lnTo>
                    <a:pt x="17780" y="5397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841" name="Google Shape;841;p15"/>
            <p:cNvSpPr/>
            <p:nvPr/>
          </p:nvSpPr>
          <p:spPr>
            <a:xfrm>
              <a:off x="11591290" y="5726429"/>
              <a:ext cx="224154" cy="228600"/>
            </a:xfrm>
            <a:custGeom>
              <a:avLst/>
              <a:gdLst/>
              <a:ahLst/>
              <a:cxnLst/>
              <a:rect l="l" t="t" r="r" b="b"/>
              <a:pathLst>
                <a:path w="224154" h="228600" extrusionOk="0">
                  <a:moveTo>
                    <a:pt x="170180" y="210185"/>
                  </a:moveTo>
                  <a:lnTo>
                    <a:pt x="187325" y="228600"/>
                  </a:lnTo>
                  <a:lnTo>
                    <a:pt x="224155" y="193040"/>
                  </a:lnTo>
                  <a:lnTo>
                    <a:pt x="206375" y="174625"/>
                  </a:lnTo>
                  <a:lnTo>
                    <a:pt x="53975" y="18415"/>
                  </a:lnTo>
                  <a:lnTo>
                    <a:pt x="36195" y="0"/>
                  </a:lnTo>
                  <a:lnTo>
                    <a:pt x="0" y="35560"/>
                  </a:lnTo>
                  <a:lnTo>
                    <a:pt x="17780" y="5397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842" name="Google Shape;842;p15"/>
            <p:cNvSpPr/>
            <p:nvPr/>
          </p:nvSpPr>
          <p:spPr>
            <a:xfrm>
              <a:off x="1870710" y="0"/>
              <a:ext cx="199389" cy="159385"/>
            </a:xfrm>
            <a:custGeom>
              <a:avLst/>
              <a:gdLst/>
              <a:ahLst/>
              <a:cxnLst/>
              <a:rect l="l" t="t" r="r" b="b"/>
              <a:pathLst>
                <a:path w="199389" h="159385" extrusionOk="0">
                  <a:moveTo>
                    <a:pt x="164465" y="159385"/>
                  </a:moveTo>
                  <a:lnTo>
                    <a:pt x="199390" y="123190"/>
                  </a:lnTo>
                  <a:lnTo>
                    <a:pt x="181610" y="105410"/>
                  </a:lnTo>
                  <a:lnTo>
                    <a:pt x="73025" y="0"/>
                  </a:lnTo>
                  <a:lnTo>
                    <a:pt x="0" y="0"/>
                  </a:lnTo>
                  <a:lnTo>
                    <a:pt x="146050" y="14160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843" name="Google Shape;843;p15"/>
            <p:cNvSpPr/>
            <p:nvPr/>
          </p:nvSpPr>
          <p:spPr>
            <a:xfrm>
              <a:off x="2480945" y="301625"/>
              <a:ext cx="224154" cy="219709"/>
            </a:xfrm>
            <a:custGeom>
              <a:avLst/>
              <a:gdLst/>
              <a:ahLst/>
              <a:cxnLst/>
              <a:rect l="l" t="t" r="r" b="b"/>
              <a:pathLst>
                <a:path w="224154" h="219709" extrusionOk="0">
                  <a:moveTo>
                    <a:pt x="18415" y="53975"/>
                  </a:moveTo>
                  <a:lnTo>
                    <a:pt x="170815" y="201930"/>
                  </a:lnTo>
                  <a:lnTo>
                    <a:pt x="189230" y="219710"/>
                  </a:lnTo>
                  <a:lnTo>
                    <a:pt x="224155" y="183515"/>
                  </a:lnTo>
                  <a:lnTo>
                    <a:pt x="206375" y="165735"/>
                  </a:lnTo>
                  <a:lnTo>
                    <a:pt x="53975" y="17780"/>
                  </a:lnTo>
                  <a:lnTo>
                    <a:pt x="35560" y="0"/>
                  </a:lnTo>
                  <a:lnTo>
                    <a:pt x="0" y="3619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844" name="Google Shape;844;p15"/>
            <p:cNvSpPr/>
            <p:nvPr/>
          </p:nvSpPr>
          <p:spPr>
            <a:xfrm>
              <a:off x="3115945" y="663575"/>
              <a:ext cx="224154" cy="219710"/>
            </a:xfrm>
            <a:custGeom>
              <a:avLst/>
              <a:gdLst/>
              <a:ahLst/>
              <a:cxnLst/>
              <a:rect l="l" t="t" r="r" b="b"/>
              <a:pathLst>
                <a:path w="224154" h="219710" extrusionOk="0">
                  <a:moveTo>
                    <a:pt x="18415" y="53975"/>
                  </a:moveTo>
                  <a:lnTo>
                    <a:pt x="170815" y="201930"/>
                  </a:lnTo>
                  <a:lnTo>
                    <a:pt x="189230" y="219710"/>
                  </a:lnTo>
                  <a:lnTo>
                    <a:pt x="224155" y="183515"/>
                  </a:lnTo>
                  <a:lnTo>
                    <a:pt x="206375" y="165735"/>
                  </a:lnTo>
                  <a:lnTo>
                    <a:pt x="53975" y="17780"/>
                  </a:lnTo>
                  <a:lnTo>
                    <a:pt x="35560" y="0"/>
                  </a:lnTo>
                  <a:lnTo>
                    <a:pt x="0" y="3619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845" name="Google Shape;845;p15"/>
            <p:cNvSpPr/>
            <p:nvPr/>
          </p:nvSpPr>
          <p:spPr>
            <a:xfrm>
              <a:off x="3750945" y="1025525"/>
              <a:ext cx="224154" cy="219710"/>
            </a:xfrm>
            <a:custGeom>
              <a:avLst/>
              <a:gdLst/>
              <a:ahLst/>
              <a:cxnLst/>
              <a:rect l="l" t="t" r="r" b="b"/>
              <a:pathLst>
                <a:path w="224154" h="219710" extrusionOk="0">
                  <a:moveTo>
                    <a:pt x="53975" y="17780"/>
                  </a:moveTo>
                  <a:lnTo>
                    <a:pt x="35560" y="0"/>
                  </a:lnTo>
                  <a:lnTo>
                    <a:pt x="0" y="36195"/>
                  </a:lnTo>
                  <a:lnTo>
                    <a:pt x="18415" y="53975"/>
                  </a:lnTo>
                  <a:lnTo>
                    <a:pt x="170815" y="201930"/>
                  </a:lnTo>
                  <a:lnTo>
                    <a:pt x="189230" y="219710"/>
                  </a:lnTo>
                  <a:lnTo>
                    <a:pt x="224155" y="183515"/>
                  </a:lnTo>
                  <a:lnTo>
                    <a:pt x="206375" y="16573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846" name="Google Shape;846;p15"/>
            <p:cNvSpPr/>
            <p:nvPr/>
          </p:nvSpPr>
          <p:spPr>
            <a:xfrm>
              <a:off x="4385945" y="1387475"/>
              <a:ext cx="224154" cy="219710"/>
            </a:xfrm>
            <a:custGeom>
              <a:avLst/>
              <a:gdLst/>
              <a:ahLst/>
              <a:cxnLst/>
              <a:rect l="l" t="t" r="r" b="b"/>
              <a:pathLst>
                <a:path w="224154" h="219710" extrusionOk="0">
                  <a:moveTo>
                    <a:pt x="53975" y="17780"/>
                  </a:moveTo>
                  <a:lnTo>
                    <a:pt x="35560" y="0"/>
                  </a:lnTo>
                  <a:lnTo>
                    <a:pt x="0" y="36195"/>
                  </a:lnTo>
                  <a:lnTo>
                    <a:pt x="18415" y="53975"/>
                  </a:lnTo>
                  <a:lnTo>
                    <a:pt x="170815" y="201930"/>
                  </a:lnTo>
                  <a:lnTo>
                    <a:pt x="189230" y="219710"/>
                  </a:lnTo>
                  <a:lnTo>
                    <a:pt x="224155" y="183515"/>
                  </a:lnTo>
                  <a:lnTo>
                    <a:pt x="206375" y="16573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847" name="Google Shape;847;p15"/>
            <p:cNvSpPr/>
            <p:nvPr/>
          </p:nvSpPr>
          <p:spPr>
            <a:xfrm>
              <a:off x="5020945" y="1749425"/>
              <a:ext cx="224154" cy="219710"/>
            </a:xfrm>
            <a:custGeom>
              <a:avLst/>
              <a:gdLst/>
              <a:ahLst/>
              <a:cxnLst/>
              <a:rect l="l" t="t" r="r" b="b"/>
              <a:pathLst>
                <a:path w="224154" h="219710" extrusionOk="0">
                  <a:moveTo>
                    <a:pt x="53975" y="17780"/>
                  </a:moveTo>
                  <a:lnTo>
                    <a:pt x="35560" y="0"/>
                  </a:lnTo>
                  <a:lnTo>
                    <a:pt x="0" y="36195"/>
                  </a:lnTo>
                  <a:lnTo>
                    <a:pt x="18415" y="53975"/>
                  </a:lnTo>
                  <a:lnTo>
                    <a:pt x="170815" y="201930"/>
                  </a:lnTo>
                  <a:lnTo>
                    <a:pt x="189230" y="219710"/>
                  </a:lnTo>
                  <a:lnTo>
                    <a:pt x="224155" y="183515"/>
                  </a:lnTo>
                  <a:lnTo>
                    <a:pt x="206375" y="16573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848" name="Google Shape;848;p15"/>
            <p:cNvSpPr/>
            <p:nvPr/>
          </p:nvSpPr>
          <p:spPr>
            <a:xfrm>
              <a:off x="5655945" y="2111375"/>
              <a:ext cx="224154" cy="219710"/>
            </a:xfrm>
            <a:custGeom>
              <a:avLst/>
              <a:gdLst/>
              <a:ahLst/>
              <a:cxnLst/>
              <a:rect l="l" t="t" r="r" b="b"/>
              <a:pathLst>
                <a:path w="224154" h="219710" extrusionOk="0">
                  <a:moveTo>
                    <a:pt x="53975" y="17780"/>
                  </a:moveTo>
                  <a:lnTo>
                    <a:pt x="35560" y="0"/>
                  </a:lnTo>
                  <a:lnTo>
                    <a:pt x="0" y="36195"/>
                  </a:lnTo>
                  <a:lnTo>
                    <a:pt x="18415" y="53975"/>
                  </a:lnTo>
                  <a:lnTo>
                    <a:pt x="170815" y="201930"/>
                  </a:lnTo>
                  <a:lnTo>
                    <a:pt x="189230" y="219710"/>
                  </a:lnTo>
                  <a:lnTo>
                    <a:pt x="224155" y="183515"/>
                  </a:lnTo>
                  <a:lnTo>
                    <a:pt x="206375" y="16573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849" name="Google Shape;849;p15"/>
            <p:cNvSpPr/>
            <p:nvPr/>
          </p:nvSpPr>
          <p:spPr>
            <a:xfrm>
              <a:off x="6290945" y="2473325"/>
              <a:ext cx="224154" cy="219710"/>
            </a:xfrm>
            <a:custGeom>
              <a:avLst/>
              <a:gdLst/>
              <a:ahLst/>
              <a:cxnLst/>
              <a:rect l="l" t="t" r="r" b="b"/>
              <a:pathLst>
                <a:path w="224154" h="219710" extrusionOk="0">
                  <a:moveTo>
                    <a:pt x="53975" y="17780"/>
                  </a:moveTo>
                  <a:lnTo>
                    <a:pt x="35560" y="0"/>
                  </a:lnTo>
                  <a:lnTo>
                    <a:pt x="0" y="36195"/>
                  </a:lnTo>
                  <a:lnTo>
                    <a:pt x="18415" y="53975"/>
                  </a:lnTo>
                  <a:lnTo>
                    <a:pt x="170815" y="201930"/>
                  </a:lnTo>
                  <a:lnTo>
                    <a:pt x="189230" y="219710"/>
                  </a:lnTo>
                  <a:lnTo>
                    <a:pt x="224155" y="183515"/>
                  </a:lnTo>
                  <a:lnTo>
                    <a:pt x="206375" y="16573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850" name="Google Shape;850;p15"/>
            <p:cNvSpPr/>
            <p:nvPr/>
          </p:nvSpPr>
          <p:spPr>
            <a:xfrm>
              <a:off x="6925944" y="2835275"/>
              <a:ext cx="224155" cy="219710"/>
            </a:xfrm>
            <a:custGeom>
              <a:avLst/>
              <a:gdLst/>
              <a:ahLst/>
              <a:cxnLst/>
              <a:rect l="l" t="t" r="r" b="b"/>
              <a:pathLst>
                <a:path w="224155" h="219710" extrusionOk="0">
                  <a:moveTo>
                    <a:pt x="18415" y="53975"/>
                  </a:moveTo>
                  <a:lnTo>
                    <a:pt x="170815" y="201930"/>
                  </a:lnTo>
                  <a:lnTo>
                    <a:pt x="189230" y="219710"/>
                  </a:lnTo>
                  <a:lnTo>
                    <a:pt x="224155" y="183515"/>
                  </a:lnTo>
                  <a:lnTo>
                    <a:pt x="206375" y="165735"/>
                  </a:lnTo>
                  <a:lnTo>
                    <a:pt x="53975" y="17780"/>
                  </a:lnTo>
                  <a:lnTo>
                    <a:pt x="35561" y="0"/>
                  </a:lnTo>
                  <a:lnTo>
                    <a:pt x="0" y="3619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851" name="Google Shape;851;p15"/>
            <p:cNvSpPr/>
            <p:nvPr/>
          </p:nvSpPr>
          <p:spPr>
            <a:xfrm>
              <a:off x="7560944" y="3197225"/>
              <a:ext cx="224155" cy="219709"/>
            </a:xfrm>
            <a:custGeom>
              <a:avLst/>
              <a:gdLst/>
              <a:ahLst/>
              <a:cxnLst/>
              <a:rect l="l" t="t" r="r" b="b"/>
              <a:pathLst>
                <a:path w="224155" h="219709" extrusionOk="0">
                  <a:moveTo>
                    <a:pt x="18415" y="53975"/>
                  </a:moveTo>
                  <a:lnTo>
                    <a:pt x="170815" y="201930"/>
                  </a:lnTo>
                  <a:lnTo>
                    <a:pt x="189230" y="219710"/>
                  </a:lnTo>
                  <a:lnTo>
                    <a:pt x="224155" y="183515"/>
                  </a:lnTo>
                  <a:lnTo>
                    <a:pt x="206375" y="165735"/>
                  </a:lnTo>
                  <a:lnTo>
                    <a:pt x="53975" y="17780"/>
                  </a:lnTo>
                  <a:lnTo>
                    <a:pt x="35561" y="0"/>
                  </a:lnTo>
                  <a:lnTo>
                    <a:pt x="0" y="3619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852" name="Google Shape;852;p15"/>
            <p:cNvSpPr/>
            <p:nvPr/>
          </p:nvSpPr>
          <p:spPr>
            <a:xfrm>
              <a:off x="8195944" y="3559175"/>
              <a:ext cx="224155" cy="219709"/>
            </a:xfrm>
            <a:custGeom>
              <a:avLst/>
              <a:gdLst/>
              <a:ahLst/>
              <a:cxnLst/>
              <a:rect l="l" t="t" r="r" b="b"/>
              <a:pathLst>
                <a:path w="224155" h="219709" extrusionOk="0">
                  <a:moveTo>
                    <a:pt x="18415" y="53975"/>
                  </a:moveTo>
                  <a:lnTo>
                    <a:pt x="170815" y="201930"/>
                  </a:lnTo>
                  <a:lnTo>
                    <a:pt x="189230" y="219710"/>
                  </a:lnTo>
                  <a:lnTo>
                    <a:pt x="224155" y="183515"/>
                  </a:lnTo>
                  <a:lnTo>
                    <a:pt x="206375" y="165735"/>
                  </a:lnTo>
                  <a:lnTo>
                    <a:pt x="53975" y="17780"/>
                  </a:lnTo>
                  <a:lnTo>
                    <a:pt x="35561" y="0"/>
                  </a:lnTo>
                  <a:lnTo>
                    <a:pt x="0" y="3619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853" name="Google Shape;853;p15"/>
            <p:cNvSpPr/>
            <p:nvPr/>
          </p:nvSpPr>
          <p:spPr>
            <a:xfrm>
              <a:off x="8830944" y="3921125"/>
              <a:ext cx="224155" cy="219709"/>
            </a:xfrm>
            <a:custGeom>
              <a:avLst/>
              <a:gdLst/>
              <a:ahLst/>
              <a:cxnLst/>
              <a:rect l="l" t="t" r="r" b="b"/>
              <a:pathLst>
                <a:path w="224155" h="219709" extrusionOk="0">
                  <a:moveTo>
                    <a:pt x="189230" y="219710"/>
                  </a:moveTo>
                  <a:lnTo>
                    <a:pt x="224155" y="183515"/>
                  </a:lnTo>
                  <a:lnTo>
                    <a:pt x="206375" y="165735"/>
                  </a:lnTo>
                  <a:lnTo>
                    <a:pt x="53975" y="17780"/>
                  </a:lnTo>
                  <a:lnTo>
                    <a:pt x="35561" y="0"/>
                  </a:lnTo>
                  <a:lnTo>
                    <a:pt x="0" y="36195"/>
                  </a:lnTo>
                  <a:lnTo>
                    <a:pt x="18415" y="53975"/>
                  </a:lnTo>
                  <a:lnTo>
                    <a:pt x="170815" y="20193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854" name="Google Shape;854;p15"/>
            <p:cNvSpPr/>
            <p:nvPr/>
          </p:nvSpPr>
          <p:spPr>
            <a:xfrm>
              <a:off x="9465944" y="4283075"/>
              <a:ext cx="224155" cy="219709"/>
            </a:xfrm>
            <a:custGeom>
              <a:avLst/>
              <a:gdLst/>
              <a:ahLst/>
              <a:cxnLst/>
              <a:rect l="l" t="t" r="r" b="b"/>
              <a:pathLst>
                <a:path w="224155" h="219709" extrusionOk="0">
                  <a:moveTo>
                    <a:pt x="189230" y="219710"/>
                  </a:moveTo>
                  <a:lnTo>
                    <a:pt x="224155" y="183515"/>
                  </a:lnTo>
                  <a:lnTo>
                    <a:pt x="206375" y="165735"/>
                  </a:lnTo>
                  <a:lnTo>
                    <a:pt x="53975" y="17780"/>
                  </a:lnTo>
                  <a:lnTo>
                    <a:pt x="35561" y="0"/>
                  </a:lnTo>
                  <a:lnTo>
                    <a:pt x="0" y="36195"/>
                  </a:lnTo>
                  <a:lnTo>
                    <a:pt x="18415" y="53975"/>
                  </a:lnTo>
                  <a:lnTo>
                    <a:pt x="170815" y="20193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855" name="Google Shape;855;p15"/>
            <p:cNvSpPr/>
            <p:nvPr/>
          </p:nvSpPr>
          <p:spPr>
            <a:xfrm>
              <a:off x="10100944" y="4645025"/>
              <a:ext cx="224155" cy="219709"/>
            </a:xfrm>
            <a:custGeom>
              <a:avLst/>
              <a:gdLst/>
              <a:ahLst/>
              <a:cxnLst/>
              <a:rect l="l" t="t" r="r" b="b"/>
              <a:pathLst>
                <a:path w="224155" h="219709" extrusionOk="0">
                  <a:moveTo>
                    <a:pt x="189230" y="219710"/>
                  </a:moveTo>
                  <a:lnTo>
                    <a:pt x="224155" y="183515"/>
                  </a:lnTo>
                  <a:lnTo>
                    <a:pt x="206375" y="165735"/>
                  </a:lnTo>
                  <a:lnTo>
                    <a:pt x="53975" y="17780"/>
                  </a:lnTo>
                  <a:lnTo>
                    <a:pt x="35561" y="0"/>
                  </a:lnTo>
                  <a:lnTo>
                    <a:pt x="0" y="36195"/>
                  </a:lnTo>
                  <a:lnTo>
                    <a:pt x="18415" y="53975"/>
                  </a:lnTo>
                  <a:lnTo>
                    <a:pt x="170815" y="20193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856" name="Google Shape;856;p15"/>
            <p:cNvSpPr/>
            <p:nvPr/>
          </p:nvSpPr>
          <p:spPr>
            <a:xfrm>
              <a:off x="10735944" y="5006975"/>
              <a:ext cx="224155" cy="219709"/>
            </a:xfrm>
            <a:custGeom>
              <a:avLst/>
              <a:gdLst/>
              <a:ahLst/>
              <a:cxnLst/>
              <a:rect l="l" t="t" r="r" b="b"/>
              <a:pathLst>
                <a:path w="224155" h="219709" extrusionOk="0">
                  <a:moveTo>
                    <a:pt x="189230" y="219710"/>
                  </a:moveTo>
                  <a:lnTo>
                    <a:pt x="224155" y="183515"/>
                  </a:lnTo>
                  <a:lnTo>
                    <a:pt x="206375" y="165735"/>
                  </a:lnTo>
                  <a:lnTo>
                    <a:pt x="53975" y="17780"/>
                  </a:lnTo>
                  <a:lnTo>
                    <a:pt x="35561" y="0"/>
                  </a:lnTo>
                  <a:lnTo>
                    <a:pt x="0" y="36195"/>
                  </a:lnTo>
                  <a:lnTo>
                    <a:pt x="18415" y="53975"/>
                  </a:lnTo>
                  <a:lnTo>
                    <a:pt x="170815" y="20193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857" name="Google Shape;857;p15"/>
            <p:cNvSpPr/>
            <p:nvPr/>
          </p:nvSpPr>
          <p:spPr>
            <a:xfrm>
              <a:off x="11370944" y="5368925"/>
              <a:ext cx="224155" cy="219709"/>
            </a:xfrm>
            <a:custGeom>
              <a:avLst/>
              <a:gdLst/>
              <a:ahLst/>
              <a:cxnLst/>
              <a:rect l="l" t="t" r="r" b="b"/>
              <a:pathLst>
                <a:path w="224155" h="219709" extrusionOk="0">
                  <a:moveTo>
                    <a:pt x="189230" y="219710"/>
                  </a:moveTo>
                  <a:lnTo>
                    <a:pt x="224155" y="183515"/>
                  </a:lnTo>
                  <a:lnTo>
                    <a:pt x="206375" y="165735"/>
                  </a:lnTo>
                  <a:lnTo>
                    <a:pt x="53975" y="17780"/>
                  </a:lnTo>
                  <a:lnTo>
                    <a:pt x="35561" y="0"/>
                  </a:lnTo>
                  <a:lnTo>
                    <a:pt x="0" y="36195"/>
                  </a:lnTo>
                  <a:lnTo>
                    <a:pt x="18415" y="53975"/>
                  </a:lnTo>
                  <a:lnTo>
                    <a:pt x="170815" y="20193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858" name="Google Shape;858;p15"/>
            <p:cNvSpPr/>
            <p:nvPr/>
          </p:nvSpPr>
          <p:spPr>
            <a:xfrm>
              <a:off x="12005944" y="5730875"/>
              <a:ext cx="186055" cy="217170"/>
            </a:xfrm>
            <a:custGeom>
              <a:avLst/>
              <a:gdLst/>
              <a:ahLst/>
              <a:cxnLst/>
              <a:rect l="l" t="t" r="r" b="b"/>
              <a:pathLst>
                <a:path w="186055" h="217170" extrusionOk="0">
                  <a:moveTo>
                    <a:pt x="35561" y="0"/>
                  </a:moveTo>
                  <a:lnTo>
                    <a:pt x="0" y="36195"/>
                  </a:lnTo>
                  <a:lnTo>
                    <a:pt x="18415" y="53975"/>
                  </a:lnTo>
                  <a:lnTo>
                    <a:pt x="170815" y="201930"/>
                  </a:lnTo>
                  <a:lnTo>
                    <a:pt x="186055" y="217170"/>
                  </a:lnTo>
                  <a:lnTo>
                    <a:pt x="186055" y="146050"/>
                  </a:lnTo>
                  <a:lnTo>
                    <a:pt x="53975" y="177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859" name="Google Shape;859;p15"/>
            <p:cNvSpPr/>
            <p:nvPr/>
          </p:nvSpPr>
          <p:spPr>
            <a:xfrm>
              <a:off x="2294254" y="0"/>
              <a:ext cx="207010" cy="152400"/>
            </a:xfrm>
            <a:custGeom>
              <a:avLst/>
              <a:gdLst/>
              <a:ahLst/>
              <a:cxnLst/>
              <a:rect l="l" t="t" r="r" b="b"/>
              <a:pathLst>
                <a:path w="207010" h="152400" extrusionOk="0">
                  <a:moveTo>
                    <a:pt x="154940" y="135255"/>
                  </a:moveTo>
                  <a:lnTo>
                    <a:pt x="173990" y="152400"/>
                  </a:lnTo>
                  <a:lnTo>
                    <a:pt x="207010" y="114300"/>
                  </a:lnTo>
                  <a:lnTo>
                    <a:pt x="187960" y="97155"/>
                  </a:lnTo>
                  <a:lnTo>
                    <a:pt x="77470" y="0"/>
                  </a:lnTo>
                  <a:lnTo>
                    <a:pt x="0" y="0"/>
                  </a:lnTo>
                  <a:lnTo>
                    <a:pt x="2540" y="190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860" name="Google Shape;860;p15"/>
            <p:cNvSpPr/>
            <p:nvPr/>
          </p:nvSpPr>
          <p:spPr>
            <a:xfrm>
              <a:off x="2912745" y="308609"/>
              <a:ext cx="223519" cy="205740"/>
            </a:xfrm>
            <a:custGeom>
              <a:avLst/>
              <a:gdLst/>
              <a:ahLst/>
              <a:cxnLst/>
              <a:rect l="l" t="t" r="r" b="b"/>
              <a:pathLst>
                <a:path w="223519" h="205740" extrusionOk="0">
                  <a:moveTo>
                    <a:pt x="0" y="38100"/>
                  </a:moveTo>
                  <a:lnTo>
                    <a:pt x="19050" y="55245"/>
                  </a:lnTo>
                  <a:lnTo>
                    <a:pt x="171450" y="188595"/>
                  </a:lnTo>
                  <a:lnTo>
                    <a:pt x="190500" y="205740"/>
                  </a:lnTo>
                  <a:lnTo>
                    <a:pt x="223520" y="167640"/>
                  </a:lnTo>
                  <a:lnTo>
                    <a:pt x="204470" y="150495"/>
                  </a:lnTo>
                  <a:lnTo>
                    <a:pt x="52070" y="17145"/>
                  </a:lnTo>
                  <a:lnTo>
                    <a:pt x="3302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861" name="Google Shape;861;p15"/>
            <p:cNvSpPr/>
            <p:nvPr/>
          </p:nvSpPr>
          <p:spPr>
            <a:xfrm>
              <a:off x="3547745" y="670559"/>
              <a:ext cx="223520" cy="205740"/>
            </a:xfrm>
            <a:custGeom>
              <a:avLst/>
              <a:gdLst/>
              <a:ahLst/>
              <a:cxnLst/>
              <a:rect l="l" t="t" r="r" b="b"/>
              <a:pathLst>
                <a:path w="223520" h="205740" extrusionOk="0">
                  <a:moveTo>
                    <a:pt x="0" y="38100"/>
                  </a:moveTo>
                  <a:lnTo>
                    <a:pt x="19050" y="55245"/>
                  </a:lnTo>
                  <a:lnTo>
                    <a:pt x="171450" y="188595"/>
                  </a:lnTo>
                  <a:lnTo>
                    <a:pt x="190500" y="205740"/>
                  </a:lnTo>
                  <a:lnTo>
                    <a:pt x="223520" y="167640"/>
                  </a:lnTo>
                  <a:lnTo>
                    <a:pt x="204470" y="150495"/>
                  </a:lnTo>
                  <a:lnTo>
                    <a:pt x="52070" y="17145"/>
                  </a:lnTo>
                  <a:lnTo>
                    <a:pt x="3302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862" name="Google Shape;862;p15"/>
            <p:cNvSpPr/>
            <p:nvPr/>
          </p:nvSpPr>
          <p:spPr>
            <a:xfrm>
              <a:off x="4182745" y="1032510"/>
              <a:ext cx="223520" cy="205739"/>
            </a:xfrm>
            <a:custGeom>
              <a:avLst/>
              <a:gdLst/>
              <a:ahLst/>
              <a:cxnLst/>
              <a:rect l="l" t="t" r="r" b="b"/>
              <a:pathLst>
                <a:path w="223520" h="205739" extrusionOk="0">
                  <a:moveTo>
                    <a:pt x="0" y="38100"/>
                  </a:moveTo>
                  <a:lnTo>
                    <a:pt x="19050" y="55245"/>
                  </a:lnTo>
                  <a:lnTo>
                    <a:pt x="171450" y="188595"/>
                  </a:lnTo>
                  <a:lnTo>
                    <a:pt x="190500" y="205740"/>
                  </a:lnTo>
                  <a:lnTo>
                    <a:pt x="223520" y="167640"/>
                  </a:lnTo>
                  <a:lnTo>
                    <a:pt x="204470" y="150495"/>
                  </a:lnTo>
                  <a:lnTo>
                    <a:pt x="52070" y="17145"/>
                  </a:lnTo>
                  <a:lnTo>
                    <a:pt x="3302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863" name="Google Shape;863;p15"/>
            <p:cNvSpPr/>
            <p:nvPr/>
          </p:nvSpPr>
          <p:spPr>
            <a:xfrm>
              <a:off x="4817745" y="1394460"/>
              <a:ext cx="223520" cy="205739"/>
            </a:xfrm>
            <a:custGeom>
              <a:avLst/>
              <a:gdLst/>
              <a:ahLst/>
              <a:cxnLst/>
              <a:rect l="l" t="t" r="r" b="b"/>
              <a:pathLst>
                <a:path w="223520" h="205739" extrusionOk="0">
                  <a:moveTo>
                    <a:pt x="0" y="38100"/>
                  </a:moveTo>
                  <a:lnTo>
                    <a:pt x="19050" y="55245"/>
                  </a:lnTo>
                  <a:lnTo>
                    <a:pt x="171450" y="188595"/>
                  </a:lnTo>
                  <a:lnTo>
                    <a:pt x="190500" y="205740"/>
                  </a:lnTo>
                  <a:lnTo>
                    <a:pt x="223520" y="167640"/>
                  </a:lnTo>
                  <a:lnTo>
                    <a:pt x="204470" y="150495"/>
                  </a:lnTo>
                  <a:lnTo>
                    <a:pt x="52070" y="17145"/>
                  </a:lnTo>
                  <a:lnTo>
                    <a:pt x="3302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864" name="Google Shape;864;p15"/>
            <p:cNvSpPr/>
            <p:nvPr/>
          </p:nvSpPr>
          <p:spPr>
            <a:xfrm>
              <a:off x="5452745" y="1756410"/>
              <a:ext cx="223520" cy="205739"/>
            </a:xfrm>
            <a:custGeom>
              <a:avLst/>
              <a:gdLst/>
              <a:ahLst/>
              <a:cxnLst/>
              <a:rect l="l" t="t" r="r" b="b"/>
              <a:pathLst>
                <a:path w="223520" h="205739" extrusionOk="0">
                  <a:moveTo>
                    <a:pt x="0" y="38100"/>
                  </a:moveTo>
                  <a:lnTo>
                    <a:pt x="19050" y="55245"/>
                  </a:lnTo>
                  <a:lnTo>
                    <a:pt x="171450" y="188595"/>
                  </a:lnTo>
                  <a:lnTo>
                    <a:pt x="190500" y="205740"/>
                  </a:lnTo>
                  <a:lnTo>
                    <a:pt x="223520" y="167640"/>
                  </a:lnTo>
                  <a:lnTo>
                    <a:pt x="204470" y="150495"/>
                  </a:lnTo>
                  <a:lnTo>
                    <a:pt x="52070" y="17145"/>
                  </a:lnTo>
                  <a:lnTo>
                    <a:pt x="3302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865" name="Google Shape;865;p15"/>
            <p:cNvSpPr/>
            <p:nvPr/>
          </p:nvSpPr>
          <p:spPr>
            <a:xfrm>
              <a:off x="6087745" y="2118360"/>
              <a:ext cx="223520" cy="205739"/>
            </a:xfrm>
            <a:custGeom>
              <a:avLst/>
              <a:gdLst/>
              <a:ahLst/>
              <a:cxnLst/>
              <a:rect l="l" t="t" r="r" b="b"/>
              <a:pathLst>
                <a:path w="223520" h="205739" extrusionOk="0">
                  <a:moveTo>
                    <a:pt x="0" y="38100"/>
                  </a:moveTo>
                  <a:lnTo>
                    <a:pt x="19050" y="55245"/>
                  </a:lnTo>
                  <a:lnTo>
                    <a:pt x="171450" y="188595"/>
                  </a:lnTo>
                  <a:lnTo>
                    <a:pt x="190500" y="205740"/>
                  </a:lnTo>
                  <a:lnTo>
                    <a:pt x="223520" y="167640"/>
                  </a:lnTo>
                  <a:lnTo>
                    <a:pt x="204470" y="150495"/>
                  </a:lnTo>
                  <a:lnTo>
                    <a:pt x="52070" y="17145"/>
                  </a:lnTo>
                  <a:lnTo>
                    <a:pt x="3302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866" name="Google Shape;866;p15"/>
            <p:cNvSpPr/>
            <p:nvPr/>
          </p:nvSpPr>
          <p:spPr>
            <a:xfrm>
              <a:off x="6722744" y="2480310"/>
              <a:ext cx="223520" cy="205739"/>
            </a:xfrm>
            <a:custGeom>
              <a:avLst/>
              <a:gdLst/>
              <a:ahLst/>
              <a:cxnLst/>
              <a:rect l="l" t="t" r="r" b="b"/>
              <a:pathLst>
                <a:path w="223520" h="205739" extrusionOk="0">
                  <a:moveTo>
                    <a:pt x="0" y="38100"/>
                  </a:moveTo>
                  <a:lnTo>
                    <a:pt x="19050" y="55245"/>
                  </a:lnTo>
                  <a:lnTo>
                    <a:pt x="171450" y="188595"/>
                  </a:lnTo>
                  <a:lnTo>
                    <a:pt x="190500" y="205740"/>
                  </a:lnTo>
                  <a:lnTo>
                    <a:pt x="223520" y="167640"/>
                  </a:lnTo>
                  <a:lnTo>
                    <a:pt x="204470" y="150495"/>
                  </a:lnTo>
                  <a:lnTo>
                    <a:pt x="52070" y="17145"/>
                  </a:lnTo>
                  <a:lnTo>
                    <a:pt x="3302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867" name="Google Shape;867;p15"/>
            <p:cNvSpPr/>
            <p:nvPr/>
          </p:nvSpPr>
          <p:spPr>
            <a:xfrm>
              <a:off x="7357744" y="2842260"/>
              <a:ext cx="223520" cy="205739"/>
            </a:xfrm>
            <a:custGeom>
              <a:avLst/>
              <a:gdLst/>
              <a:ahLst/>
              <a:cxnLst/>
              <a:rect l="l" t="t" r="r" b="b"/>
              <a:pathLst>
                <a:path w="223520" h="205739" extrusionOk="0">
                  <a:moveTo>
                    <a:pt x="0" y="38100"/>
                  </a:moveTo>
                  <a:lnTo>
                    <a:pt x="19050" y="55245"/>
                  </a:lnTo>
                  <a:lnTo>
                    <a:pt x="171450" y="188595"/>
                  </a:lnTo>
                  <a:lnTo>
                    <a:pt x="190500" y="205740"/>
                  </a:lnTo>
                  <a:lnTo>
                    <a:pt x="223520" y="167640"/>
                  </a:lnTo>
                  <a:lnTo>
                    <a:pt x="204470" y="150495"/>
                  </a:lnTo>
                  <a:lnTo>
                    <a:pt x="52070" y="17145"/>
                  </a:lnTo>
                  <a:lnTo>
                    <a:pt x="3302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868" name="Google Shape;868;p15"/>
            <p:cNvSpPr/>
            <p:nvPr/>
          </p:nvSpPr>
          <p:spPr>
            <a:xfrm>
              <a:off x="7992744" y="3204210"/>
              <a:ext cx="223520" cy="205739"/>
            </a:xfrm>
            <a:custGeom>
              <a:avLst/>
              <a:gdLst/>
              <a:ahLst/>
              <a:cxnLst/>
              <a:rect l="l" t="t" r="r" b="b"/>
              <a:pathLst>
                <a:path w="223520" h="205739" extrusionOk="0">
                  <a:moveTo>
                    <a:pt x="0" y="38100"/>
                  </a:moveTo>
                  <a:lnTo>
                    <a:pt x="19050" y="55245"/>
                  </a:lnTo>
                  <a:lnTo>
                    <a:pt x="171450" y="188595"/>
                  </a:lnTo>
                  <a:lnTo>
                    <a:pt x="190500" y="205740"/>
                  </a:lnTo>
                  <a:lnTo>
                    <a:pt x="223520" y="167640"/>
                  </a:lnTo>
                  <a:lnTo>
                    <a:pt x="204470" y="150495"/>
                  </a:lnTo>
                  <a:lnTo>
                    <a:pt x="52070" y="17145"/>
                  </a:lnTo>
                  <a:lnTo>
                    <a:pt x="3302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869" name="Google Shape;869;p15"/>
            <p:cNvSpPr/>
            <p:nvPr/>
          </p:nvSpPr>
          <p:spPr>
            <a:xfrm>
              <a:off x="8627744" y="3566159"/>
              <a:ext cx="223520" cy="205740"/>
            </a:xfrm>
            <a:custGeom>
              <a:avLst/>
              <a:gdLst/>
              <a:ahLst/>
              <a:cxnLst/>
              <a:rect l="l" t="t" r="r" b="b"/>
              <a:pathLst>
                <a:path w="223520" h="205740" extrusionOk="0">
                  <a:moveTo>
                    <a:pt x="33020" y="0"/>
                  </a:moveTo>
                  <a:lnTo>
                    <a:pt x="0" y="38100"/>
                  </a:lnTo>
                  <a:lnTo>
                    <a:pt x="19050" y="55245"/>
                  </a:lnTo>
                  <a:lnTo>
                    <a:pt x="171450" y="188595"/>
                  </a:lnTo>
                  <a:lnTo>
                    <a:pt x="190500" y="205740"/>
                  </a:lnTo>
                  <a:lnTo>
                    <a:pt x="223520" y="167640"/>
                  </a:lnTo>
                  <a:lnTo>
                    <a:pt x="204470" y="150495"/>
                  </a:lnTo>
                  <a:lnTo>
                    <a:pt x="52070" y="1714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870" name="Google Shape;870;p15"/>
            <p:cNvSpPr/>
            <p:nvPr/>
          </p:nvSpPr>
          <p:spPr>
            <a:xfrm>
              <a:off x="9262744" y="3928109"/>
              <a:ext cx="223520" cy="205740"/>
            </a:xfrm>
            <a:custGeom>
              <a:avLst/>
              <a:gdLst/>
              <a:ahLst/>
              <a:cxnLst/>
              <a:rect l="l" t="t" r="r" b="b"/>
              <a:pathLst>
                <a:path w="223520" h="205740" extrusionOk="0">
                  <a:moveTo>
                    <a:pt x="33020" y="0"/>
                  </a:moveTo>
                  <a:lnTo>
                    <a:pt x="0" y="38100"/>
                  </a:lnTo>
                  <a:lnTo>
                    <a:pt x="19050" y="55245"/>
                  </a:lnTo>
                  <a:lnTo>
                    <a:pt x="171450" y="188595"/>
                  </a:lnTo>
                  <a:lnTo>
                    <a:pt x="190500" y="205740"/>
                  </a:lnTo>
                  <a:lnTo>
                    <a:pt x="223520" y="167640"/>
                  </a:lnTo>
                  <a:lnTo>
                    <a:pt x="204470" y="150495"/>
                  </a:lnTo>
                  <a:lnTo>
                    <a:pt x="52070" y="1714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871" name="Google Shape;871;p15"/>
            <p:cNvSpPr/>
            <p:nvPr/>
          </p:nvSpPr>
          <p:spPr>
            <a:xfrm>
              <a:off x="9897744" y="4290059"/>
              <a:ext cx="223520" cy="205740"/>
            </a:xfrm>
            <a:custGeom>
              <a:avLst/>
              <a:gdLst/>
              <a:ahLst/>
              <a:cxnLst/>
              <a:rect l="l" t="t" r="r" b="b"/>
              <a:pathLst>
                <a:path w="223520" h="205740" extrusionOk="0">
                  <a:moveTo>
                    <a:pt x="171450" y="188595"/>
                  </a:moveTo>
                  <a:lnTo>
                    <a:pt x="190500" y="205740"/>
                  </a:lnTo>
                  <a:lnTo>
                    <a:pt x="223520" y="167640"/>
                  </a:lnTo>
                  <a:lnTo>
                    <a:pt x="204470" y="150495"/>
                  </a:lnTo>
                  <a:lnTo>
                    <a:pt x="52070" y="17145"/>
                  </a:lnTo>
                  <a:lnTo>
                    <a:pt x="33020" y="0"/>
                  </a:lnTo>
                  <a:lnTo>
                    <a:pt x="0" y="38100"/>
                  </a:lnTo>
                  <a:lnTo>
                    <a:pt x="19050" y="5524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872" name="Google Shape;872;p15"/>
            <p:cNvSpPr/>
            <p:nvPr/>
          </p:nvSpPr>
          <p:spPr>
            <a:xfrm>
              <a:off x="10532744" y="4652009"/>
              <a:ext cx="223520" cy="205740"/>
            </a:xfrm>
            <a:custGeom>
              <a:avLst/>
              <a:gdLst/>
              <a:ahLst/>
              <a:cxnLst/>
              <a:rect l="l" t="t" r="r" b="b"/>
              <a:pathLst>
                <a:path w="223520" h="205740" extrusionOk="0">
                  <a:moveTo>
                    <a:pt x="171450" y="188595"/>
                  </a:moveTo>
                  <a:lnTo>
                    <a:pt x="190500" y="205740"/>
                  </a:lnTo>
                  <a:lnTo>
                    <a:pt x="223520" y="167640"/>
                  </a:lnTo>
                  <a:lnTo>
                    <a:pt x="204470" y="150495"/>
                  </a:lnTo>
                  <a:lnTo>
                    <a:pt x="52070" y="17145"/>
                  </a:lnTo>
                  <a:lnTo>
                    <a:pt x="33020" y="0"/>
                  </a:lnTo>
                  <a:lnTo>
                    <a:pt x="0" y="38100"/>
                  </a:lnTo>
                  <a:lnTo>
                    <a:pt x="19050" y="5524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873" name="Google Shape;873;p15"/>
            <p:cNvSpPr/>
            <p:nvPr/>
          </p:nvSpPr>
          <p:spPr>
            <a:xfrm>
              <a:off x="11167744" y="5013959"/>
              <a:ext cx="223520" cy="205740"/>
            </a:xfrm>
            <a:custGeom>
              <a:avLst/>
              <a:gdLst/>
              <a:ahLst/>
              <a:cxnLst/>
              <a:rect l="l" t="t" r="r" b="b"/>
              <a:pathLst>
                <a:path w="223520" h="205740" extrusionOk="0">
                  <a:moveTo>
                    <a:pt x="171450" y="188595"/>
                  </a:moveTo>
                  <a:lnTo>
                    <a:pt x="190500" y="205740"/>
                  </a:lnTo>
                  <a:lnTo>
                    <a:pt x="223520" y="167640"/>
                  </a:lnTo>
                  <a:lnTo>
                    <a:pt x="204470" y="150495"/>
                  </a:lnTo>
                  <a:lnTo>
                    <a:pt x="52070" y="17145"/>
                  </a:lnTo>
                  <a:lnTo>
                    <a:pt x="33020" y="0"/>
                  </a:lnTo>
                  <a:lnTo>
                    <a:pt x="0" y="38100"/>
                  </a:lnTo>
                  <a:lnTo>
                    <a:pt x="19050" y="5524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874" name="Google Shape;874;p15"/>
            <p:cNvSpPr/>
            <p:nvPr/>
          </p:nvSpPr>
          <p:spPr>
            <a:xfrm>
              <a:off x="11802744" y="5375909"/>
              <a:ext cx="223520" cy="205740"/>
            </a:xfrm>
            <a:custGeom>
              <a:avLst/>
              <a:gdLst/>
              <a:ahLst/>
              <a:cxnLst/>
              <a:rect l="l" t="t" r="r" b="b"/>
              <a:pathLst>
                <a:path w="223520" h="205740" extrusionOk="0">
                  <a:moveTo>
                    <a:pt x="171450" y="188595"/>
                  </a:moveTo>
                  <a:lnTo>
                    <a:pt x="190500" y="205740"/>
                  </a:lnTo>
                  <a:lnTo>
                    <a:pt x="223520" y="167640"/>
                  </a:lnTo>
                  <a:lnTo>
                    <a:pt x="204470" y="150495"/>
                  </a:lnTo>
                  <a:lnTo>
                    <a:pt x="52070" y="17145"/>
                  </a:lnTo>
                  <a:lnTo>
                    <a:pt x="33020" y="0"/>
                  </a:lnTo>
                  <a:lnTo>
                    <a:pt x="0" y="38100"/>
                  </a:lnTo>
                  <a:lnTo>
                    <a:pt x="19050" y="5524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875" name="Google Shape;875;p15"/>
            <p:cNvSpPr/>
            <p:nvPr/>
          </p:nvSpPr>
          <p:spPr>
            <a:xfrm>
              <a:off x="2736850" y="0"/>
              <a:ext cx="220345" cy="142239"/>
            </a:xfrm>
            <a:custGeom>
              <a:avLst/>
              <a:gdLst/>
              <a:ahLst/>
              <a:cxnLst/>
              <a:rect l="l" t="t" r="r" b="b"/>
              <a:pathLst>
                <a:path w="220345" h="142239" extrusionOk="0">
                  <a:moveTo>
                    <a:pt x="169545" y="127000"/>
                  </a:moveTo>
                  <a:lnTo>
                    <a:pt x="189865" y="142240"/>
                  </a:lnTo>
                  <a:lnTo>
                    <a:pt x="220345" y="101600"/>
                  </a:lnTo>
                  <a:lnTo>
                    <a:pt x="200025" y="86360"/>
                  </a:lnTo>
                  <a:lnTo>
                    <a:pt x="84455" y="0"/>
                  </a:lnTo>
                  <a:lnTo>
                    <a:pt x="0" y="0"/>
                  </a:lnTo>
                  <a:lnTo>
                    <a:pt x="17145" y="1270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876" name="Google Shape;876;p15"/>
            <p:cNvSpPr/>
            <p:nvPr/>
          </p:nvSpPr>
          <p:spPr>
            <a:xfrm>
              <a:off x="3368675" y="318770"/>
              <a:ext cx="223520" cy="185420"/>
            </a:xfrm>
            <a:custGeom>
              <a:avLst/>
              <a:gdLst/>
              <a:ahLst/>
              <a:cxnLst/>
              <a:rect l="l" t="t" r="r" b="b"/>
              <a:pathLst>
                <a:path w="223520" h="185420" extrusionOk="0">
                  <a:moveTo>
                    <a:pt x="30480" y="0"/>
                  </a:moveTo>
                  <a:lnTo>
                    <a:pt x="0" y="40640"/>
                  </a:lnTo>
                  <a:lnTo>
                    <a:pt x="20320" y="55880"/>
                  </a:lnTo>
                  <a:lnTo>
                    <a:pt x="172720" y="170180"/>
                  </a:lnTo>
                  <a:lnTo>
                    <a:pt x="193040" y="185420"/>
                  </a:lnTo>
                  <a:lnTo>
                    <a:pt x="223520" y="144780"/>
                  </a:lnTo>
                  <a:lnTo>
                    <a:pt x="203200" y="129540"/>
                  </a:lnTo>
                  <a:lnTo>
                    <a:pt x="50800" y="152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877" name="Google Shape;877;p15"/>
            <p:cNvSpPr/>
            <p:nvPr/>
          </p:nvSpPr>
          <p:spPr>
            <a:xfrm>
              <a:off x="4003675" y="680719"/>
              <a:ext cx="223520" cy="185419"/>
            </a:xfrm>
            <a:custGeom>
              <a:avLst/>
              <a:gdLst/>
              <a:ahLst/>
              <a:cxnLst/>
              <a:rect l="l" t="t" r="r" b="b"/>
              <a:pathLst>
                <a:path w="223520" h="185419" extrusionOk="0">
                  <a:moveTo>
                    <a:pt x="30480" y="0"/>
                  </a:moveTo>
                  <a:lnTo>
                    <a:pt x="0" y="40640"/>
                  </a:lnTo>
                  <a:lnTo>
                    <a:pt x="20320" y="55880"/>
                  </a:lnTo>
                  <a:lnTo>
                    <a:pt x="172720" y="170180"/>
                  </a:lnTo>
                  <a:lnTo>
                    <a:pt x="193040" y="185420"/>
                  </a:lnTo>
                  <a:lnTo>
                    <a:pt x="223520" y="144780"/>
                  </a:lnTo>
                  <a:lnTo>
                    <a:pt x="203200" y="129540"/>
                  </a:lnTo>
                  <a:lnTo>
                    <a:pt x="50800" y="152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878" name="Google Shape;878;p15"/>
            <p:cNvSpPr/>
            <p:nvPr/>
          </p:nvSpPr>
          <p:spPr>
            <a:xfrm>
              <a:off x="4638675" y="1042669"/>
              <a:ext cx="223520" cy="185419"/>
            </a:xfrm>
            <a:custGeom>
              <a:avLst/>
              <a:gdLst/>
              <a:ahLst/>
              <a:cxnLst/>
              <a:rect l="l" t="t" r="r" b="b"/>
              <a:pathLst>
                <a:path w="223520" h="185419" extrusionOk="0">
                  <a:moveTo>
                    <a:pt x="30480" y="0"/>
                  </a:moveTo>
                  <a:lnTo>
                    <a:pt x="0" y="40640"/>
                  </a:lnTo>
                  <a:lnTo>
                    <a:pt x="20320" y="55880"/>
                  </a:lnTo>
                  <a:lnTo>
                    <a:pt x="172720" y="170180"/>
                  </a:lnTo>
                  <a:lnTo>
                    <a:pt x="193040" y="185420"/>
                  </a:lnTo>
                  <a:lnTo>
                    <a:pt x="223520" y="144780"/>
                  </a:lnTo>
                  <a:lnTo>
                    <a:pt x="203200" y="129540"/>
                  </a:lnTo>
                  <a:lnTo>
                    <a:pt x="50800" y="152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879" name="Google Shape;879;p15"/>
            <p:cNvSpPr/>
            <p:nvPr/>
          </p:nvSpPr>
          <p:spPr>
            <a:xfrm>
              <a:off x="5273675" y="1404619"/>
              <a:ext cx="223520" cy="185419"/>
            </a:xfrm>
            <a:custGeom>
              <a:avLst/>
              <a:gdLst/>
              <a:ahLst/>
              <a:cxnLst/>
              <a:rect l="l" t="t" r="r" b="b"/>
              <a:pathLst>
                <a:path w="223520" h="185419" extrusionOk="0">
                  <a:moveTo>
                    <a:pt x="30480" y="0"/>
                  </a:moveTo>
                  <a:lnTo>
                    <a:pt x="0" y="40640"/>
                  </a:lnTo>
                  <a:lnTo>
                    <a:pt x="20320" y="55880"/>
                  </a:lnTo>
                  <a:lnTo>
                    <a:pt x="172720" y="170180"/>
                  </a:lnTo>
                  <a:lnTo>
                    <a:pt x="193040" y="185420"/>
                  </a:lnTo>
                  <a:lnTo>
                    <a:pt x="223520" y="144780"/>
                  </a:lnTo>
                  <a:lnTo>
                    <a:pt x="203200" y="129540"/>
                  </a:lnTo>
                  <a:lnTo>
                    <a:pt x="50800" y="152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880" name="Google Shape;880;p15"/>
            <p:cNvSpPr/>
            <p:nvPr/>
          </p:nvSpPr>
          <p:spPr>
            <a:xfrm>
              <a:off x="5908675" y="1766570"/>
              <a:ext cx="223520" cy="185419"/>
            </a:xfrm>
            <a:custGeom>
              <a:avLst/>
              <a:gdLst/>
              <a:ahLst/>
              <a:cxnLst/>
              <a:rect l="l" t="t" r="r" b="b"/>
              <a:pathLst>
                <a:path w="223520" h="185419" extrusionOk="0">
                  <a:moveTo>
                    <a:pt x="30480" y="0"/>
                  </a:moveTo>
                  <a:lnTo>
                    <a:pt x="0" y="40640"/>
                  </a:lnTo>
                  <a:lnTo>
                    <a:pt x="20320" y="55880"/>
                  </a:lnTo>
                  <a:lnTo>
                    <a:pt x="172720" y="170180"/>
                  </a:lnTo>
                  <a:lnTo>
                    <a:pt x="193040" y="185420"/>
                  </a:lnTo>
                  <a:lnTo>
                    <a:pt x="223520" y="144780"/>
                  </a:lnTo>
                  <a:lnTo>
                    <a:pt x="203200" y="129540"/>
                  </a:lnTo>
                  <a:lnTo>
                    <a:pt x="50800" y="152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881" name="Google Shape;881;p15"/>
            <p:cNvSpPr/>
            <p:nvPr/>
          </p:nvSpPr>
          <p:spPr>
            <a:xfrm>
              <a:off x="6543675" y="2128520"/>
              <a:ext cx="223519" cy="185419"/>
            </a:xfrm>
            <a:custGeom>
              <a:avLst/>
              <a:gdLst/>
              <a:ahLst/>
              <a:cxnLst/>
              <a:rect l="l" t="t" r="r" b="b"/>
              <a:pathLst>
                <a:path w="223519" h="185419" extrusionOk="0">
                  <a:moveTo>
                    <a:pt x="30480" y="0"/>
                  </a:moveTo>
                  <a:lnTo>
                    <a:pt x="0" y="40640"/>
                  </a:lnTo>
                  <a:lnTo>
                    <a:pt x="20320" y="55880"/>
                  </a:lnTo>
                  <a:lnTo>
                    <a:pt x="172720" y="170180"/>
                  </a:lnTo>
                  <a:lnTo>
                    <a:pt x="193040" y="185420"/>
                  </a:lnTo>
                  <a:lnTo>
                    <a:pt x="223520" y="144780"/>
                  </a:lnTo>
                  <a:lnTo>
                    <a:pt x="203200" y="129540"/>
                  </a:lnTo>
                  <a:lnTo>
                    <a:pt x="50800" y="152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882" name="Google Shape;882;p15"/>
            <p:cNvSpPr/>
            <p:nvPr/>
          </p:nvSpPr>
          <p:spPr>
            <a:xfrm>
              <a:off x="7178675" y="2490470"/>
              <a:ext cx="223519" cy="185419"/>
            </a:xfrm>
            <a:custGeom>
              <a:avLst/>
              <a:gdLst/>
              <a:ahLst/>
              <a:cxnLst/>
              <a:rect l="l" t="t" r="r" b="b"/>
              <a:pathLst>
                <a:path w="223519" h="185419" extrusionOk="0">
                  <a:moveTo>
                    <a:pt x="30480" y="0"/>
                  </a:moveTo>
                  <a:lnTo>
                    <a:pt x="0" y="40640"/>
                  </a:lnTo>
                  <a:lnTo>
                    <a:pt x="20320" y="55880"/>
                  </a:lnTo>
                  <a:lnTo>
                    <a:pt x="172720" y="170180"/>
                  </a:lnTo>
                  <a:lnTo>
                    <a:pt x="193040" y="185420"/>
                  </a:lnTo>
                  <a:lnTo>
                    <a:pt x="223520" y="144780"/>
                  </a:lnTo>
                  <a:lnTo>
                    <a:pt x="203200" y="129540"/>
                  </a:lnTo>
                  <a:lnTo>
                    <a:pt x="50800" y="152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883" name="Google Shape;883;p15"/>
            <p:cNvSpPr/>
            <p:nvPr/>
          </p:nvSpPr>
          <p:spPr>
            <a:xfrm>
              <a:off x="7813675" y="2852420"/>
              <a:ext cx="223519" cy="185419"/>
            </a:xfrm>
            <a:custGeom>
              <a:avLst/>
              <a:gdLst/>
              <a:ahLst/>
              <a:cxnLst/>
              <a:rect l="l" t="t" r="r" b="b"/>
              <a:pathLst>
                <a:path w="223519" h="185419" extrusionOk="0">
                  <a:moveTo>
                    <a:pt x="50800" y="15240"/>
                  </a:moveTo>
                  <a:lnTo>
                    <a:pt x="30480" y="0"/>
                  </a:lnTo>
                  <a:lnTo>
                    <a:pt x="0" y="40640"/>
                  </a:lnTo>
                  <a:lnTo>
                    <a:pt x="20320" y="55880"/>
                  </a:lnTo>
                  <a:lnTo>
                    <a:pt x="172720" y="170180"/>
                  </a:lnTo>
                  <a:lnTo>
                    <a:pt x="193040" y="185420"/>
                  </a:lnTo>
                  <a:lnTo>
                    <a:pt x="223520" y="144780"/>
                  </a:lnTo>
                  <a:lnTo>
                    <a:pt x="203200" y="1295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884" name="Google Shape;884;p15"/>
            <p:cNvSpPr/>
            <p:nvPr/>
          </p:nvSpPr>
          <p:spPr>
            <a:xfrm>
              <a:off x="8448675" y="3214370"/>
              <a:ext cx="223519" cy="185420"/>
            </a:xfrm>
            <a:custGeom>
              <a:avLst/>
              <a:gdLst/>
              <a:ahLst/>
              <a:cxnLst/>
              <a:rect l="l" t="t" r="r" b="b"/>
              <a:pathLst>
                <a:path w="223519" h="185420" extrusionOk="0">
                  <a:moveTo>
                    <a:pt x="50800" y="15240"/>
                  </a:moveTo>
                  <a:lnTo>
                    <a:pt x="30480" y="0"/>
                  </a:lnTo>
                  <a:lnTo>
                    <a:pt x="0" y="40640"/>
                  </a:lnTo>
                  <a:lnTo>
                    <a:pt x="20320" y="55880"/>
                  </a:lnTo>
                  <a:lnTo>
                    <a:pt x="172720" y="170180"/>
                  </a:lnTo>
                  <a:lnTo>
                    <a:pt x="193040" y="185420"/>
                  </a:lnTo>
                  <a:lnTo>
                    <a:pt x="223520" y="144780"/>
                  </a:lnTo>
                  <a:lnTo>
                    <a:pt x="203200" y="1295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885" name="Google Shape;885;p15"/>
            <p:cNvSpPr/>
            <p:nvPr/>
          </p:nvSpPr>
          <p:spPr>
            <a:xfrm>
              <a:off x="9083675" y="3576320"/>
              <a:ext cx="223519" cy="185420"/>
            </a:xfrm>
            <a:custGeom>
              <a:avLst/>
              <a:gdLst/>
              <a:ahLst/>
              <a:cxnLst/>
              <a:rect l="l" t="t" r="r" b="b"/>
              <a:pathLst>
                <a:path w="223519" h="185420" extrusionOk="0">
                  <a:moveTo>
                    <a:pt x="50800" y="15240"/>
                  </a:moveTo>
                  <a:lnTo>
                    <a:pt x="30480" y="0"/>
                  </a:lnTo>
                  <a:lnTo>
                    <a:pt x="0" y="40640"/>
                  </a:lnTo>
                  <a:lnTo>
                    <a:pt x="20320" y="55880"/>
                  </a:lnTo>
                  <a:lnTo>
                    <a:pt x="172720" y="170180"/>
                  </a:lnTo>
                  <a:lnTo>
                    <a:pt x="193040" y="185420"/>
                  </a:lnTo>
                  <a:lnTo>
                    <a:pt x="223520" y="144780"/>
                  </a:lnTo>
                  <a:lnTo>
                    <a:pt x="203200" y="1295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886" name="Google Shape;886;p15"/>
            <p:cNvSpPr/>
            <p:nvPr/>
          </p:nvSpPr>
          <p:spPr>
            <a:xfrm>
              <a:off x="9718675" y="3938270"/>
              <a:ext cx="223519" cy="185420"/>
            </a:xfrm>
            <a:custGeom>
              <a:avLst/>
              <a:gdLst/>
              <a:ahLst/>
              <a:cxnLst/>
              <a:rect l="l" t="t" r="r" b="b"/>
              <a:pathLst>
                <a:path w="223519" h="185420" extrusionOk="0">
                  <a:moveTo>
                    <a:pt x="0" y="40640"/>
                  </a:moveTo>
                  <a:lnTo>
                    <a:pt x="20320" y="55880"/>
                  </a:lnTo>
                  <a:lnTo>
                    <a:pt x="172720" y="170180"/>
                  </a:lnTo>
                  <a:lnTo>
                    <a:pt x="193040" y="185420"/>
                  </a:lnTo>
                  <a:lnTo>
                    <a:pt x="223520" y="144780"/>
                  </a:lnTo>
                  <a:lnTo>
                    <a:pt x="203200" y="129540"/>
                  </a:lnTo>
                  <a:lnTo>
                    <a:pt x="50800" y="15240"/>
                  </a:lnTo>
                  <a:lnTo>
                    <a:pt x="3048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887" name="Google Shape;887;p15"/>
            <p:cNvSpPr/>
            <p:nvPr/>
          </p:nvSpPr>
          <p:spPr>
            <a:xfrm>
              <a:off x="10353675" y="4300220"/>
              <a:ext cx="223519" cy="185420"/>
            </a:xfrm>
            <a:custGeom>
              <a:avLst/>
              <a:gdLst/>
              <a:ahLst/>
              <a:cxnLst/>
              <a:rect l="l" t="t" r="r" b="b"/>
              <a:pathLst>
                <a:path w="223519" h="185420" extrusionOk="0">
                  <a:moveTo>
                    <a:pt x="0" y="40640"/>
                  </a:moveTo>
                  <a:lnTo>
                    <a:pt x="20320" y="55880"/>
                  </a:lnTo>
                  <a:lnTo>
                    <a:pt x="172720" y="170180"/>
                  </a:lnTo>
                  <a:lnTo>
                    <a:pt x="193040" y="185420"/>
                  </a:lnTo>
                  <a:lnTo>
                    <a:pt x="223520" y="144780"/>
                  </a:lnTo>
                  <a:lnTo>
                    <a:pt x="203200" y="129540"/>
                  </a:lnTo>
                  <a:lnTo>
                    <a:pt x="50800" y="15240"/>
                  </a:lnTo>
                  <a:lnTo>
                    <a:pt x="3048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888" name="Google Shape;888;p15"/>
            <p:cNvSpPr/>
            <p:nvPr/>
          </p:nvSpPr>
          <p:spPr>
            <a:xfrm>
              <a:off x="10988675" y="4662170"/>
              <a:ext cx="223519" cy="185420"/>
            </a:xfrm>
            <a:custGeom>
              <a:avLst/>
              <a:gdLst/>
              <a:ahLst/>
              <a:cxnLst/>
              <a:rect l="l" t="t" r="r" b="b"/>
              <a:pathLst>
                <a:path w="223519" h="185420" extrusionOk="0">
                  <a:moveTo>
                    <a:pt x="172720" y="170180"/>
                  </a:moveTo>
                  <a:lnTo>
                    <a:pt x="193040" y="185420"/>
                  </a:lnTo>
                  <a:lnTo>
                    <a:pt x="223520" y="144780"/>
                  </a:lnTo>
                  <a:lnTo>
                    <a:pt x="203200" y="129540"/>
                  </a:lnTo>
                  <a:lnTo>
                    <a:pt x="50800" y="15240"/>
                  </a:lnTo>
                  <a:lnTo>
                    <a:pt x="30480" y="0"/>
                  </a:lnTo>
                  <a:lnTo>
                    <a:pt x="0" y="40640"/>
                  </a:lnTo>
                  <a:lnTo>
                    <a:pt x="20320" y="558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889" name="Google Shape;889;p15"/>
            <p:cNvSpPr/>
            <p:nvPr/>
          </p:nvSpPr>
          <p:spPr>
            <a:xfrm>
              <a:off x="11623675" y="5024120"/>
              <a:ext cx="223519" cy="185420"/>
            </a:xfrm>
            <a:custGeom>
              <a:avLst/>
              <a:gdLst/>
              <a:ahLst/>
              <a:cxnLst/>
              <a:rect l="l" t="t" r="r" b="b"/>
              <a:pathLst>
                <a:path w="223519" h="185420" extrusionOk="0">
                  <a:moveTo>
                    <a:pt x="172720" y="170180"/>
                  </a:moveTo>
                  <a:lnTo>
                    <a:pt x="193040" y="185420"/>
                  </a:lnTo>
                  <a:lnTo>
                    <a:pt x="223520" y="144780"/>
                  </a:lnTo>
                  <a:lnTo>
                    <a:pt x="203200" y="129540"/>
                  </a:lnTo>
                  <a:lnTo>
                    <a:pt x="50800" y="15240"/>
                  </a:lnTo>
                  <a:lnTo>
                    <a:pt x="30480" y="0"/>
                  </a:lnTo>
                  <a:lnTo>
                    <a:pt x="0" y="40640"/>
                  </a:lnTo>
                  <a:lnTo>
                    <a:pt x="20320" y="558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890" name="Google Shape;890;p15"/>
            <p:cNvSpPr/>
            <p:nvPr/>
          </p:nvSpPr>
          <p:spPr>
            <a:xfrm>
              <a:off x="3221989" y="0"/>
              <a:ext cx="222250" cy="129539"/>
            </a:xfrm>
            <a:custGeom>
              <a:avLst/>
              <a:gdLst/>
              <a:ahLst/>
              <a:cxnLst/>
              <a:rect l="l" t="t" r="r" b="b"/>
              <a:pathLst>
                <a:path w="222250" h="129539" extrusionOk="0">
                  <a:moveTo>
                    <a:pt x="174625" y="116205"/>
                  </a:moveTo>
                  <a:lnTo>
                    <a:pt x="196215" y="129540"/>
                  </a:lnTo>
                  <a:lnTo>
                    <a:pt x="222250" y="85725"/>
                  </a:lnTo>
                  <a:lnTo>
                    <a:pt x="200025" y="72390"/>
                  </a:lnTo>
                  <a:lnTo>
                    <a:pt x="76835" y="0"/>
                  </a:lnTo>
                  <a:lnTo>
                    <a:pt x="8255" y="0"/>
                  </a:lnTo>
                  <a:lnTo>
                    <a:pt x="0" y="13335"/>
                  </a:lnTo>
                  <a:lnTo>
                    <a:pt x="22225" y="2667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891" name="Google Shape;891;p15"/>
            <p:cNvSpPr/>
            <p:nvPr/>
          </p:nvSpPr>
          <p:spPr>
            <a:xfrm>
              <a:off x="3856990" y="332104"/>
              <a:ext cx="222250" cy="159385"/>
            </a:xfrm>
            <a:custGeom>
              <a:avLst/>
              <a:gdLst/>
              <a:ahLst/>
              <a:cxnLst/>
              <a:rect l="l" t="t" r="r" b="b"/>
              <a:pathLst>
                <a:path w="222250" h="159385" extrusionOk="0">
                  <a:moveTo>
                    <a:pt x="26035" y="0"/>
                  </a:moveTo>
                  <a:lnTo>
                    <a:pt x="0" y="43180"/>
                  </a:lnTo>
                  <a:lnTo>
                    <a:pt x="22225" y="56515"/>
                  </a:lnTo>
                  <a:lnTo>
                    <a:pt x="174625" y="146050"/>
                  </a:lnTo>
                  <a:lnTo>
                    <a:pt x="196215" y="159385"/>
                  </a:lnTo>
                  <a:lnTo>
                    <a:pt x="222250" y="115570"/>
                  </a:lnTo>
                  <a:lnTo>
                    <a:pt x="200025" y="102235"/>
                  </a:lnTo>
                  <a:lnTo>
                    <a:pt x="47625" y="1270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892" name="Google Shape;892;p15"/>
            <p:cNvSpPr/>
            <p:nvPr/>
          </p:nvSpPr>
          <p:spPr>
            <a:xfrm>
              <a:off x="4491990" y="694055"/>
              <a:ext cx="222250" cy="159384"/>
            </a:xfrm>
            <a:custGeom>
              <a:avLst/>
              <a:gdLst/>
              <a:ahLst/>
              <a:cxnLst/>
              <a:rect l="l" t="t" r="r" b="b"/>
              <a:pathLst>
                <a:path w="222250" h="159384" extrusionOk="0">
                  <a:moveTo>
                    <a:pt x="26035" y="0"/>
                  </a:moveTo>
                  <a:lnTo>
                    <a:pt x="0" y="43180"/>
                  </a:lnTo>
                  <a:lnTo>
                    <a:pt x="22225" y="56515"/>
                  </a:lnTo>
                  <a:lnTo>
                    <a:pt x="174625" y="146050"/>
                  </a:lnTo>
                  <a:lnTo>
                    <a:pt x="196215" y="159385"/>
                  </a:lnTo>
                  <a:lnTo>
                    <a:pt x="222250" y="115570"/>
                  </a:lnTo>
                  <a:lnTo>
                    <a:pt x="200025" y="102235"/>
                  </a:lnTo>
                  <a:lnTo>
                    <a:pt x="47625" y="1270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893" name="Google Shape;893;p15"/>
            <p:cNvSpPr/>
            <p:nvPr/>
          </p:nvSpPr>
          <p:spPr>
            <a:xfrm>
              <a:off x="5126990" y="1056005"/>
              <a:ext cx="222250" cy="159384"/>
            </a:xfrm>
            <a:custGeom>
              <a:avLst/>
              <a:gdLst/>
              <a:ahLst/>
              <a:cxnLst/>
              <a:rect l="l" t="t" r="r" b="b"/>
              <a:pathLst>
                <a:path w="222250" h="159384" extrusionOk="0">
                  <a:moveTo>
                    <a:pt x="26035" y="0"/>
                  </a:moveTo>
                  <a:lnTo>
                    <a:pt x="0" y="43180"/>
                  </a:lnTo>
                  <a:lnTo>
                    <a:pt x="22225" y="56515"/>
                  </a:lnTo>
                  <a:lnTo>
                    <a:pt x="174625" y="146050"/>
                  </a:lnTo>
                  <a:lnTo>
                    <a:pt x="196215" y="159385"/>
                  </a:lnTo>
                  <a:lnTo>
                    <a:pt x="222250" y="115570"/>
                  </a:lnTo>
                  <a:lnTo>
                    <a:pt x="200025" y="102235"/>
                  </a:lnTo>
                  <a:lnTo>
                    <a:pt x="47625" y="1270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894" name="Google Shape;894;p15"/>
            <p:cNvSpPr/>
            <p:nvPr/>
          </p:nvSpPr>
          <p:spPr>
            <a:xfrm>
              <a:off x="5761990" y="1417955"/>
              <a:ext cx="222250" cy="159384"/>
            </a:xfrm>
            <a:custGeom>
              <a:avLst/>
              <a:gdLst/>
              <a:ahLst/>
              <a:cxnLst/>
              <a:rect l="l" t="t" r="r" b="b"/>
              <a:pathLst>
                <a:path w="222250" h="159384" extrusionOk="0">
                  <a:moveTo>
                    <a:pt x="26035" y="0"/>
                  </a:moveTo>
                  <a:lnTo>
                    <a:pt x="0" y="43180"/>
                  </a:lnTo>
                  <a:lnTo>
                    <a:pt x="22225" y="56515"/>
                  </a:lnTo>
                  <a:lnTo>
                    <a:pt x="174625" y="146050"/>
                  </a:lnTo>
                  <a:lnTo>
                    <a:pt x="196215" y="159385"/>
                  </a:lnTo>
                  <a:lnTo>
                    <a:pt x="222250" y="115570"/>
                  </a:lnTo>
                  <a:lnTo>
                    <a:pt x="200025" y="102235"/>
                  </a:lnTo>
                  <a:lnTo>
                    <a:pt x="47625" y="1270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895" name="Google Shape;895;p15"/>
            <p:cNvSpPr/>
            <p:nvPr/>
          </p:nvSpPr>
          <p:spPr>
            <a:xfrm>
              <a:off x="6396990" y="1779904"/>
              <a:ext cx="222250" cy="159385"/>
            </a:xfrm>
            <a:custGeom>
              <a:avLst/>
              <a:gdLst/>
              <a:ahLst/>
              <a:cxnLst/>
              <a:rect l="l" t="t" r="r" b="b"/>
              <a:pathLst>
                <a:path w="222250" h="159385" extrusionOk="0">
                  <a:moveTo>
                    <a:pt x="26035" y="0"/>
                  </a:moveTo>
                  <a:lnTo>
                    <a:pt x="0" y="43180"/>
                  </a:lnTo>
                  <a:lnTo>
                    <a:pt x="22225" y="56515"/>
                  </a:lnTo>
                  <a:lnTo>
                    <a:pt x="174625" y="146050"/>
                  </a:lnTo>
                  <a:lnTo>
                    <a:pt x="196215" y="159385"/>
                  </a:lnTo>
                  <a:lnTo>
                    <a:pt x="222250" y="115570"/>
                  </a:lnTo>
                  <a:lnTo>
                    <a:pt x="200025" y="102235"/>
                  </a:lnTo>
                  <a:lnTo>
                    <a:pt x="47625" y="1270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896" name="Google Shape;896;p15"/>
            <p:cNvSpPr/>
            <p:nvPr/>
          </p:nvSpPr>
          <p:spPr>
            <a:xfrm>
              <a:off x="7031990" y="2141854"/>
              <a:ext cx="222250" cy="159385"/>
            </a:xfrm>
            <a:custGeom>
              <a:avLst/>
              <a:gdLst/>
              <a:ahLst/>
              <a:cxnLst/>
              <a:rect l="l" t="t" r="r" b="b"/>
              <a:pathLst>
                <a:path w="222250" h="159385" extrusionOk="0">
                  <a:moveTo>
                    <a:pt x="47625" y="12700"/>
                  </a:moveTo>
                  <a:lnTo>
                    <a:pt x="26035" y="0"/>
                  </a:lnTo>
                  <a:lnTo>
                    <a:pt x="0" y="43180"/>
                  </a:lnTo>
                  <a:lnTo>
                    <a:pt x="22225" y="56515"/>
                  </a:lnTo>
                  <a:lnTo>
                    <a:pt x="174625" y="146050"/>
                  </a:lnTo>
                  <a:lnTo>
                    <a:pt x="196215" y="159385"/>
                  </a:lnTo>
                  <a:lnTo>
                    <a:pt x="222250" y="115570"/>
                  </a:lnTo>
                  <a:lnTo>
                    <a:pt x="200025" y="10223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897" name="Google Shape;897;p15"/>
            <p:cNvSpPr/>
            <p:nvPr/>
          </p:nvSpPr>
          <p:spPr>
            <a:xfrm>
              <a:off x="7666990" y="2503804"/>
              <a:ext cx="222250" cy="159385"/>
            </a:xfrm>
            <a:custGeom>
              <a:avLst/>
              <a:gdLst/>
              <a:ahLst/>
              <a:cxnLst/>
              <a:rect l="l" t="t" r="r" b="b"/>
              <a:pathLst>
                <a:path w="222250" h="159385" extrusionOk="0">
                  <a:moveTo>
                    <a:pt x="26035" y="0"/>
                  </a:moveTo>
                  <a:lnTo>
                    <a:pt x="0" y="43180"/>
                  </a:lnTo>
                  <a:lnTo>
                    <a:pt x="22225" y="56515"/>
                  </a:lnTo>
                  <a:lnTo>
                    <a:pt x="174625" y="146050"/>
                  </a:lnTo>
                  <a:lnTo>
                    <a:pt x="196215" y="159385"/>
                  </a:lnTo>
                  <a:lnTo>
                    <a:pt x="222250" y="115570"/>
                  </a:lnTo>
                  <a:lnTo>
                    <a:pt x="200025" y="102235"/>
                  </a:lnTo>
                  <a:lnTo>
                    <a:pt x="47625" y="1270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898" name="Google Shape;898;p15"/>
            <p:cNvSpPr/>
            <p:nvPr/>
          </p:nvSpPr>
          <p:spPr>
            <a:xfrm>
              <a:off x="8301990" y="2865754"/>
              <a:ext cx="222250" cy="159385"/>
            </a:xfrm>
            <a:custGeom>
              <a:avLst/>
              <a:gdLst/>
              <a:ahLst/>
              <a:cxnLst/>
              <a:rect l="l" t="t" r="r" b="b"/>
              <a:pathLst>
                <a:path w="222250" h="159385" extrusionOk="0">
                  <a:moveTo>
                    <a:pt x="47625" y="12700"/>
                  </a:moveTo>
                  <a:lnTo>
                    <a:pt x="26035" y="0"/>
                  </a:lnTo>
                  <a:lnTo>
                    <a:pt x="0" y="43180"/>
                  </a:lnTo>
                  <a:lnTo>
                    <a:pt x="22225" y="56515"/>
                  </a:lnTo>
                  <a:lnTo>
                    <a:pt x="174625" y="146050"/>
                  </a:lnTo>
                  <a:lnTo>
                    <a:pt x="196215" y="159385"/>
                  </a:lnTo>
                  <a:lnTo>
                    <a:pt x="222250" y="115570"/>
                  </a:lnTo>
                  <a:lnTo>
                    <a:pt x="200025" y="10223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899" name="Google Shape;899;p15"/>
            <p:cNvSpPr/>
            <p:nvPr/>
          </p:nvSpPr>
          <p:spPr>
            <a:xfrm>
              <a:off x="8936990" y="3227704"/>
              <a:ext cx="222250" cy="159385"/>
            </a:xfrm>
            <a:custGeom>
              <a:avLst/>
              <a:gdLst/>
              <a:ahLst/>
              <a:cxnLst/>
              <a:rect l="l" t="t" r="r" b="b"/>
              <a:pathLst>
                <a:path w="222250" h="159385" extrusionOk="0">
                  <a:moveTo>
                    <a:pt x="47625" y="12700"/>
                  </a:moveTo>
                  <a:lnTo>
                    <a:pt x="26035" y="0"/>
                  </a:lnTo>
                  <a:lnTo>
                    <a:pt x="0" y="43180"/>
                  </a:lnTo>
                  <a:lnTo>
                    <a:pt x="22225" y="56515"/>
                  </a:lnTo>
                  <a:lnTo>
                    <a:pt x="174625" y="146050"/>
                  </a:lnTo>
                  <a:lnTo>
                    <a:pt x="196215" y="159385"/>
                  </a:lnTo>
                  <a:lnTo>
                    <a:pt x="222250" y="115570"/>
                  </a:lnTo>
                  <a:lnTo>
                    <a:pt x="200025" y="10223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900" name="Google Shape;900;p15"/>
            <p:cNvSpPr/>
            <p:nvPr/>
          </p:nvSpPr>
          <p:spPr>
            <a:xfrm>
              <a:off x="9571990" y="3589654"/>
              <a:ext cx="222250" cy="159385"/>
            </a:xfrm>
            <a:custGeom>
              <a:avLst/>
              <a:gdLst/>
              <a:ahLst/>
              <a:cxnLst/>
              <a:rect l="l" t="t" r="r" b="b"/>
              <a:pathLst>
                <a:path w="222250" h="159385" extrusionOk="0">
                  <a:moveTo>
                    <a:pt x="47625" y="12700"/>
                  </a:moveTo>
                  <a:lnTo>
                    <a:pt x="26035" y="0"/>
                  </a:lnTo>
                  <a:lnTo>
                    <a:pt x="0" y="43180"/>
                  </a:lnTo>
                  <a:lnTo>
                    <a:pt x="22225" y="56515"/>
                  </a:lnTo>
                  <a:lnTo>
                    <a:pt x="174625" y="146050"/>
                  </a:lnTo>
                  <a:lnTo>
                    <a:pt x="196215" y="159385"/>
                  </a:lnTo>
                  <a:lnTo>
                    <a:pt x="222250" y="115570"/>
                  </a:lnTo>
                  <a:lnTo>
                    <a:pt x="200025" y="10223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901" name="Google Shape;901;p15"/>
            <p:cNvSpPr/>
            <p:nvPr/>
          </p:nvSpPr>
          <p:spPr>
            <a:xfrm>
              <a:off x="10206990" y="3951604"/>
              <a:ext cx="222250" cy="159385"/>
            </a:xfrm>
            <a:custGeom>
              <a:avLst/>
              <a:gdLst/>
              <a:ahLst/>
              <a:cxnLst/>
              <a:rect l="l" t="t" r="r" b="b"/>
              <a:pathLst>
                <a:path w="222250" h="159385" extrusionOk="0">
                  <a:moveTo>
                    <a:pt x="47625" y="12700"/>
                  </a:moveTo>
                  <a:lnTo>
                    <a:pt x="26035" y="0"/>
                  </a:lnTo>
                  <a:lnTo>
                    <a:pt x="0" y="43180"/>
                  </a:lnTo>
                  <a:lnTo>
                    <a:pt x="22225" y="56515"/>
                  </a:lnTo>
                  <a:lnTo>
                    <a:pt x="174625" y="146050"/>
                  </a:lnTo>
                  <a:lnTo>
                    <a:pt x="196215" y="159385"/>
                  </a:lnTo>
                  <a:lnTo>
                    <a:pt x="222250" y="115570"/>
                  </a:lnTo>
                  <a:lnTo>
                    <a:pt x="200025" y="10223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902" name="Google Shape;902;p15"/>
            <p:cNvSpPr/>
            <p:nvPr/>
          </p:nvSpPr>
          <p:spPr>
            <a:xfrm>
              <a:off x="10841990" y="4313554"/>
              <a:ext cx="222250" cy="159385"/>
            </a:xfrm>
            <a:custGeom>
              <a:avLst/>
              <a:gdLst/>
              <a:ahLst/>
              <a:cxnLst/>
              <a:rect l="l" t="t" r="r" b="b"/>
              <a:pathLst>
                <a:path w="222250" h="159385" extrusionOk="0">
                  <a:moveTo>
                    <a:pt x="174625" y="146050"/>
                  </a:moveTo>
                  <a:lnTo>
                    <a:pt x="196215" y="159385"/>
                  </a:lnTo>
                  <a:lnTo>
                    <a:pt x="222250" y="115570"/>
                  </a:lnTo>
                  <a:lnTo>
                    <a:pt x="200025" y="102235"/>
                  </a:lnTo>
                  <a:lnTo>
                    <a:pt x="47625" y="12700"/>
                  </a:lnTo>
                  <a:lnTo>
                    <a:pt x="26035" y="0"/>
                  </a:lnTo>
                  <a:lnTo>
                    <a:pt x="0" y="43180"/>
                  </a:lnTo>
                  <a:lnTo>
                    <a:pt x="22225"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903" name="Google Shape;903;p15"/>
            <p:cNvSpPr/>
            <p:nvPr/>
          </p:nvSpPr>
          <p:spPr>
            <a:xfrm>
              <a:off x="11476990" y="4675504"/>
              <a:ext cx="222250" cy="159385"/>
            </a:xfrm>
            <a:custGeom>
              <a:avLst/>
              <a:gdLst/>
              <a:ahLst/>
              <a:cxnLst/>
              <a:rect l="l" t="t" r="r" b="b"/>
              <a:pathLst>
                <a:path w="222250" h="159385" extrusionOk="0">
                  <a:moveTo>
                    <a:pt x="174625" y="146050"/>
                  </a:moveTo>
                  <a:lnTo>
                    <a:pt x="196215" y="159385"/>
                  </a:lnTo>
                  <a:lnTo>
                    <a:pt x="222250" y="115570"/>
                  </a:lnTo>
                  <a:lnTo>
                    <a:pt x="200025" y="102235"/>
                  </a:lnTo>
                  <a:lnTo>
                    <a:pt x="47625" y="12700"/>
                  </a:lnTo>
                  <a:lnTo>
                    <a:pt x="26035" y="0"/>
                  </a:lnTo>
                  <a:lnTo>
                    <a:pt x="0" y="43180"/>
                  </a:lnTo>
                  <a:lnTo>
                    <a:pt x="22225"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904" name="Google Shape;904;p15"/>
            <p:cNvSpPr/>
            <p:nvPr/>
          </p:nvSpPr>
          <p:spPr>
            <a:xfrm>
              <a:off x="12111990" y="5037454"/>
              <a:ext cx="80009" cy="90804"/>
            </a:xfrm>
            <a:custGeom>
              <a:avLst/>
              <a:gdLst/>
              <a:ahLst/>
              <a:cxnLst/>
              <a:rect l="l" t="t" r="r" b="b"/>
              <a:pathLst>
                <a:path w="80009" h="90804" extrusionOk="0">
                  <a:moveTo>
                    <a:pt x="26035" y="0"/>
                  </a:moveTo>
                  <a:lnTo>
                    <a:pt x="0" y="43180"/>
                  </a:lnTo>
                  <a:lnTo>
                    <a:pt x="22225" y="56515"/>
                  </a:lnTo>
                  <a:lnTo>
                    <a:pt x="80010" y="90805"/>
                  </a:lnTo>
                  <a:lnTo>
                    <a:pt x="80010" y="31750"/>
                  </a:lnTo>
                  <a:lnTo>
                    <a:pt x="47625" y="1270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905" name="Google Shape;905;p15"/>
            <p:cNvSpPr/>
            <p:nvPr/>
          </p:nvSpPr>
          <p:spPr>
            <a:xfrm>
              <a:off x="3749040" y="0"/>
              <a:ext cx="218439" cy="113664"/>
            </a:xfrm>
            <a:custGeom>
              <a:avLst/>
              <a:gdLst/>
              <a:ahLst/>
              <a:cxnLst/>
              <a:rect l="l" t="t" r="r" b="b"/>
              <a:pathLst>
                <a:path w="218439" h="113664" extrusionOk="0">
                  <a:moveTo>
                    <a:pt x="175895" y="104140"/>
                  </a:moveTo>
                  <a:lnTo>
                    <a:pt x="199390" y="113665"/>
                  </a:lnTo>
                  <a:lnTo>
                    <a:pt x="218440" y="66675"/>
                  </a:lnTo>
                  <a:lnTo>
                    <a:pt x="194945" y="57150"/>
                  </a:lnTo>
                  <a:lnTo>
                    <a:pt x="54610" y="0"/>
                  </a:lnTo>
                  <a:lnTo>
                    <a:pt x="13335" y="0"/>
                  </a:lnTo>
                  <a:lnTo>
                    <a:pt x="0" y="32385"/>
                  </a:lnTo>
                  <a:lnTo>
                    <a:pt x="23495" y="4191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906" name="Google Shape;906;p15"/>
            <p:cNvSpPr/>
            <p:nvPr/>
          </p:nvSpPr>
          <p:spPr>
            <a:xfrm>
              <a:off x="4384040" y="347345"/>
              <a:ext cx="218439" cy="128270"/>
            </a:xfrm>
            <a:custGeom>
              <a:avLst/>
              <a:gdLst/>
              <a:ahLst/>
              <a:cxnLst/>
              <a:rect l="l" t="t" r="r" b="b"/>
              <a:pathLst>
                <a:path w="218439" h="128270" extrusionOk="0">
                  <a:moveTo>
                    <a:pt x="19050" y="0"/>
                  </a:moveTo>
                  <a:lnTo>
                    <a:pt x="0" y="46990"/>
                  </a:lnTo>
                  <a:lnTo>
                    <a:pt x="23495" y="56515"/>
                  </a:lnTo>
                  <a:lnTo>
                    <a:pt x="175895" y="118745"/>
                  </a:lnTo>
                  <a:lnTo>
                    <a:pt x="199390" y="128270"/>
                  </a:lnTo>
                  <a:lnTo>
                    <a:pt x="218440" y="81280"/>
                  </a:lnTo>
                  <a:lnTo>
                    <a:pt x="194945" y="71755"/>
                  </a:lnTo>
                  <a:lnTo>
                    <a:pt x="42545" y="952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907" name="Google Shape;907;p15"/>
            <p:cNvSpPr/>
            <p:nvPr/>
          </p:nvSpPr>
          <p:spPr>
            <a:xfrm>
              <a:off x="5019040" y="709294"/>
              <a:ext cx="218439" cy="128269"/>
            </a:xfrm>
            <a:custGeom>
              <a:avLst/>
              <a:gdLst/>
              <a:ahLst/>
              <a:cxnLst/>
              <a:rect l="l" t="t" r="r" b="b"/>
              <a:pathLst>
                <a:path w="218439" h="128269" extrusionOk="0">
                  <a:moveTo>
                    <a:pt x="19050" y="0"/>
                  </a:moveTo>
                  <a:lnTo>
                    <a:pt x="0" y="46990"/>
                  </a:lnTo>
                  <a:lnTo>
                    <a:pt x="23495" y="56515"/>
                  </a:lnTo>
                  <a:lnTo>
                    <a:pt x="175895" y="118745"/>
                  </a:lnTo>
                  <a:lnTo>
                    <a:pt x="199390" y="128270"/>
                  </a:lnTo>
                  <a:lnTo>
                    <a:pt x="218440" y="81280"/>
                  </a:lnTo>
                  <a:lnTo>
                    <a:pt x="194945" y="71755"/>
                  </a:lnTo>
                  <a:lnTo>
                    <a:pt x="42545" y="952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908" name="Google Shape;908;p15"/>
            <p:cNvSpPr/>
            <p:nvPr/>
          </p:nvSpPr>
          <p:spPr>
            <a:xfrm>
              <a:off x="5654040" y="1071244"/>
              <a:ext cx="218439" cy="128269"/>
            </a:xfrm>
            <a:custGeom>
              <a:avLst/>
              <a:gdLst/>
              <a:ahLst/>
              <a:cxnLst/>
              <a:rect l="l" t="t" r="r" b="b"/>
              <a:pathLst>
                <a:path w="218439" h="128269" extrusionOk="0">
                  <a:moveTo>
                    <a:pt x="19050" y="0"/>
                  </a:moveTo>
                  <a:lnTo>
                    <a:pt x="0" y="46990"/>
                  </a:lnTo>
                  <a:lnTo>
                    <a:pt x="23495" y="56515"/>
                  </a:lnTo>
                  <a:lnTo>
                    <a:pt x="175895" y="118745"/>
                  </a:lnTo>
                  <a:lnTo>
                    <a:pt x="199390" y="128270"/>
                  </a:lnTo>
                  <a:lnTo>
                    <a:pt x="218440" y="81280"/>
                  </a:lnTo>
                  <a:lnTo>
                    <a:pt x="194945" y="71755"/>
                  </a:lnTo>
                  <a:lnTo>
                    <a:pt x="42545" y="952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909" name="Google Shape;909;p15"/>
            <p:cNvSpPr/>
            <p:nvPr/>
          </p:nvSpPr>
          <p:spPr>
            <a:xfrm>
              <a:off x="6289040" y="1433194"/>
              <a:ext cx="218440" cy="128269"/>
            </a:xfrm>
            <a:custGeom>
              <a:avLst/>
              <a:gdLst/>
              <a:ahLst/>
              <a:cxnLst/>
              <a:rect l="l" t="t" r="r" b="b"/>
              <a:pathLst>
                <a:path w="218440" h="128269" extrusionOk="0">
                  <a:moveTo>
                    <a:pt x="42545" y="9525"/>
                  </a:moveTo>
                  <a:lnTo>
                    <a:pt x="19050" y="0"/>
                  </a:lnTo>
                  <a:lnTo>
                    <a:pt x="0" y="46990"/>
                  </a:lnTo>
                  <a:lnTo>
                    <a:pt x="23495" y="56515"/>
                  </a:lnTo>
                  <a:lnTo>
                    <a:pt x="175895" y="118745"/>
                  </a:lnTo>
                  <a:lnTo>
                    <a:pt x="199390" y="128270"/>
                  </a:lnTo>
                  <a:lnTo>
                    <a:pt x="218440" y="81280"/>
                  </a:lnTo>
                  <a:lnTo>
                    <a:pt x="194945" y="7175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910" name="Google Shape;910;p15"/>
            <p:cNvSpPr/>
            <p:nvPr/>
          </p:nvSpPr>
          <p:spPr>
            <a:xfrm>
              <a:off x="6924040" y="1795145"/>
              <a:ext cx="218440" cy="128269"/>
            </a:xfrm>
            <a:custGeom>
              <a:avLst/>
              <a:gdLst/>
              <a:ahLst/>
              <a:cxnLst/>
              <a:rect l="l" t="t" r="r" b="b"/>
              <a:pathLst>
                <a:path w="218440" h="128269" extrusionOk="0">
                  <a:moveTo>
                    <a:pt x="175895" y="118745"/>
                  </a:moveTo>
                  <a:lnTo>
                    <a:pt x="199390" y="128270"/>
                  </a:lnTo>
                  <a:lnTo>
                    <a:pt x="218440" y="81280"/>
                  </a:lnTo>
                  <a:lnTo>
                    <a:pt x="194945" y="71755"/>
                  </a:lnTo>
                  <a:lnTo>
                    <a:pt x="42545" y="9525"/>
                  </a:lnTo>
                  <a:lnTo>
                    <a:pt x="19050" y="0"/>
                  </a:lnTo>
                  <a:lnTo>
                    <a:pt x="0" y="46990"/>
                  </a:lnTo>
                  <a:lnTo>
                    <a:pt x="23495"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911" name="Google Shape;911;p15"/>
            <p:cNvSpPr/>
            <p:nvPr/>
          </p:nvSpPr>
          <p:spPr>
            <a:xfrm>
              <a:off x="7559040" y="2157095"/>
              <a:ext cx="218440" cy="128269"/>
            </a:xfrm>
            <a:custGeom>
              <a:avLst/>
              <a:gdLst/>
              <a:ahLst/>
              <a:cxnLst/>
              <a:rect l="l" t="t" r="r" b="b"/>
              <a:pathLst>
                <a:path w="218440" h="128269" extrusionOk="0">
                  <a:moveTo>
                    <a:pt x="175895" y="118745"/>
                  </a:moveTo>
                  <a:lnTo>
                    <a:pt x="199390" y="128270"/>
                  </a:lnTo>
                  <a:lnTo>
                    <a:pt x="218440" y="81280"/>
                  </a:lnTo>
                  <a:lnTo>
                    <a:pt x="194945" y="71755"/>
                  </a:lnTo>
                  <a:lnTo>
                    <a:pt x="42545" y="9525"/>
                  </a:lnTo>
                  <a:lnTo>
                    <a:pt x="19050" y="0"/>
                  </a:lnTo>
                  <a:lnTo>
                    <a:pt x="0" y="46990"/>
                  </a:lnTo>
                  <a:lnTo>
                    <a:pt x="23495"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912" name="Google Shape;912;p15"/>
            <p:cNvSpPr/>
            <p:nvPr/>
          </p:nvSpPr>
          <p:spPr>
            <a:xfrm>
              <a:off x="8194040" y="2519045"/>
              <a:ext cx="218440" cy="128269"/>
            </a:xfrm>
            <a:custGeom>
              <a:avLst/>
              <a:gdLst/>
              <a:ahLst/>
              <a:cxnLst/>
              <a:rect l="l" t="t" r="r" b="b"/>
              <a:pathLst>
                <a:path w="218440" h="128269" extrusionOk="0">
                  <a:moveTo>
                    <a:pt x="175895" y="118745"/>
                  </a:moveTo>
                  <a:lnTo>
                    <a:pt x="199390" y="128270"/>
                  </a:lnTo>
                  <a:lnTo>
                    <a:pt x="218440" y="81280"/>
                  </a:lnTo>
                  <a:lnTo>
                    <a:pt x="194945" y="71755"/>
                  </a:lnTo>
                  <a:lnTo>
                    <a:pt x="42545" y="9525"/>
                  </a:lnTo>
                  <a:lnTo>
                    <a:pt x="19050" y="0"/>
                  </a:lnTo>
                  <a:lnTo>
                    <a:pt x="0" y="46990"/>
                  </a:lnTo>
                  <a:lnTo>
                    <a:pt x="23495"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913" name="Google Shape;913;p15"/>
            <p:cNvSpPr/>
            <p:nvPr/>
          </p:nvSpPr>
          <p:spPr>
            <a:xfrm>
              <a:off x="8829040" y="2880995"/>
              <a:ext cx="218440" cy="128269"/>
            </a:xfrm>
            <a:custGeom>
              <a:avLst/>
              <a:gdLst/>
              <a:ahLst/>
              <a:cxnLst/>
              <a:rect l="l" t="t" r="r" b="b"/>
              <a:pathLst>
                <a:path w="218440" h="128269" extrusionOk="0">
                  <a:moveTo>
                    <a:pt x="42545" y="9525"/>
                  </a:moveTo>
                  <a:lnTo>
                    <a:pt x="19050" y="0"/>
                  </a:lnTo>
                  <a:lnTo>
                    <a:pt x="0" y="46990"/>
                  </a:lnTo>
                  <a:lnTo>
                    <a:pt x="23495" y="56515"/>
                  </a:lnTo>
                  <a:lnTo>
                    <a:pt x="175895" y="118745"/>
                  </a:lnTo>
                  <a:lnTo>
                    <a:pt x="199390" y="128270"/>
                  </a:lnTo>
                  <a:lnTo>
                    <a:pt x="218440" y="81280"/>
                  </a:lnTo>
                  <a:lnTo>
                    <a:pt x="194945" y="7175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914" name="Google Shape;914;p15"/>
            <p:cNvSpPr/>
            <p:nvPr/>
          </p:nvSpPr>
          <p:spPr>
            <a:xfrm>
              <a:off x="9464040" y="3242945"/>
              <a:ext cx="218440" cy="128270"/>
            </a:xfrm>
            <a:custGeom>
              <a:avLst/>
              <a:gdLst/>
              <a:ahLst/>
              <a:cxnLst/>
              <a:rect l="l" t="t" r="r" b="b"/>
              <a:pathLst>
                <a:path w="218440" h="128270" extrusionOk="0">
                  <a:moveTo>
                    <a:pt x="175895" y="118745"/>
                  </a:moveTo>
                  <a:lnTo>
                    <a:pt x="199390" y="128270"/>
                  </a:lnTo>
                  <a:lnTo>
                    <a:pt x="218440" y="81280"/>
                  </a:lnTo>
                  <a:lnTo>
                    <a:pt x="194945" y="71755"/>
                  </a:lnTo>
                  <a:lnTo>
                    <a:pt x="42545" y="9525"/>
                  </a:lnTo>
                  <a:lnTo>
                    <a:pt x="19050" y="0"/>
                  </a:lnTo>
                  <a:lnTo>
                    <a:pt x="0" y="46990"/>
                  </a:lnTo>
                  <a:lnTo>
                    <a:pt x="23495"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915" name="Google Shape;915;p15"/>
            <p:cNvSpPr/>
            <p:nvPr/>
          </p:nvSpPr>
          <p:spPr>
            <a:xfrm>
              <a:off x="10099040" y="3604895"/>
              <a:ext cx="218440" cy="128270"/>
            </a:xfrm>
            <a:custGeom>
              <a:avLst/>
              <a:gdLst/>
              <a:ahLst/>
              <a:cxnLst/>
              <a:rect l="l" t="t" r="r" b="b"/>
              <a:pathLst>
                <a:path w="218440" h="128270" extrusionOk="0">
                  <a:moveTo>
                    <a:pt x="175895" y="118745"/>
                  </a:moveTo>
                  <a:lnTo>
                    <a:pt x="199390" y="128270"/>
                  </a:lnTo>
                  <a:lnTo>
                    <a:pt x="218440" y="81280"/>
                  </a:lnTo>
                  <a:lnTo>
                    <a:pt x="194945" y="71755"/>
                  </a:lnTo>
                  <a:lnTo>
                    <a:pt x="42545" y="9525"/>
                  </a:lnTo>
                  <a:lnTo>
                    <a:pt x="19050" y="0"/>
                  </a:lnTo>
                  <a:lnTo>
                    <a:pt x="0" y="46990"/>
                  </a:lnTo>
                  <a:lnTo>
                    <a:pt x="23495"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916" name="Google Shape;916;p15"/>
            <p:cNvSpPr/>
            <p:nvPr/>
          </p:nvSpPr>
          <p:spPr>
            <a:xfrm>
              <a:off x="10734040" y="3966845"/>
              <a:ext cx="218440" cy="128270"/>
            </a:xfrm>
            <a:custGeom>
              <a:avLst/>
              <a:gdLst/>
              <a:ahLst/>
              <a:cxnLst/>
              <a:rect l="l" t="t" r="r" b="b"/>
              <a:pathLst>
                <a:path w="218440" h="128270" extrusionOk="0">
                  <a:moveTo>
                    <a:pt x="175895" y="118745"/>
                  </a:moveTo>
                  <a:lnTo>
                    <a:pt x="199390" y="128270"/>
                  </a:lnTo>
                  <a:lnTo>
                    <a:pt x="218440" y="81280"/>
                  </a:lnTo>
                  <a:lnTo>
                    <a:pt x="194945" y="71755"/>
                  </a:lnTo>
                  <a:lnTo>
                    <a:pt x="42545" y="9525"/>
                  </a:lnTo>
                  <a:lnTo>
                    <a:pt x="19050" y="0"/>
                  </a:lnTo>
                  <a:lnTo>
                    <a:pt x="0" y="46990"/>
                  </a:lnTo>
                  <a:lnTo>
                    <a:pt x="23495"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917" name="Google Shape;917;p15"/>
            <p:cNvSpPr/>
            <p:nvPr/>
          </p:nvSpPr>
          <p:spPr>
            <a:xfrm>
              <a:off x="11369040" y="4328795"/>
              <a:ext cx="218440" cy="128270"/>
            </a:xfrm>
            <a:custGeom>
              <a:avLst/>
              <a:gdLst/>
              <a:ahLst/>
              <a:cxnLst/>
              <a:rect l="l" t="t" r="r" b="b"/>
              <a:pathLst>
                <a:path w="218440" h="128270" extrusionOk="0">
                  <a:moveTo>
                    <a:pt x="175895" y="118745"/>
                  </a:moveTo>
                  <a:lnTo>
                    <a:pt x="199390" y="128270"/>
                  </a:lnTo>
                  <a:lnTo>
                    <a:pt x="218440" y="81280"/>
                  </a:lnTo>
                  <a:lnTo>
                    <a:pt x="194945" y="71755"/>
                  </a:lnTo>
                  <a:lnTo>
                    <a:pt x="42545" y="9525"/>
                  </a:lnTo>
                  <a:lnTo>
                    <a:pt x="19050" y="0"/>
                  </a:lnTo>
                  <a:lnTo>
                    <a:pt x="0" y="46990"/>
                  </a:lnTo>
                  <a:lnTo>
                    <a:pt x="23495"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918" name="Google Shape;918;p15"/>
            <p:cNvSpPr/>
            <p:nvPr/>
          </p:nvSpPr>
          <p:spPr>
            <a:xfrm>
              <a:off x="12004040" y="4690745"/>
              <a:ext cx="187959" cy="123825"/>
            </a:xfrm>
            <a:custGeom>
              <a:avLst/>
              <a:gdLst/>
              <a:ahLst/>
              <a:cxnLst/>
              <a:rect l="l" t="t" r="r" b="b"/>
              <a:pathLst>
                <a:path w="187959" h="123825" extrusionOk="0">
                  <a:moveTo>
                    <a:pt x="19050" y="0"/>
                  </a:moveTo>
                  <a:lnTo>
                    <a:pt x="0" y="46990"/>
                  </a:lnTo>
                  <a:lnTo>
                    <a:pt x="23495" y="56515"/>
                  </a:lnTo>
                  <a:lnTo>
                    <a:pt x="175895" y="118745"/>
                  </a:lnTo>
                  <a:lnTo>
                    <a:pt x="187960" y="123825"/>
                  </a:lnTo>
                  <a:lnTo>
                    <a:pt x="187960" y="68580"/>
                  </a:lnTo>
                  <a:lnTo>
                    <a:pt x="42545" y="952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919" name="Google Shape;919;p15"/>
            <p:cNvSpPr/>
            <p:nvPr/>
          </p:nvSpPr>
          <p:spPr>
            <a:xfrm>
              <a:off x="4319270" y="3810"/>
              <a:ext cx="212725" cy="92075"/>
            </a:xfrm>
            <a:custGeom>
              <a:avLst/>
              <a:gdLst/>
              <a:ahLst/>
              <a:cxnLst/>
              <a:rect l="l" t="t" r="r" b="b"/>
              <a:pathLst>
                <a:path w="212725" h="92075" extrusionOk="0">
                  <a:moveTo>
                    <a:pt x="177165" y="86360"/>
                  </a:moveTo>
                  <a:lnTo>
                    <a:pt x="201930" y="92075"/>
                  </a:lnTo>
                  <a:lnTo>
                    <a:pt x="212725" y="41910"/>
                  </a:lnTo>
                  <a:lnTo>
                    <a:pt x="187325" y="36830"/>
                  </a:lnTo>
                  <a:lnTo>
                    <a:pt x="34925" y="5080"/>
                  </a:lnTo>
                  <a:lnTo>
                    <a:pt x="10160" y="0"/>
                  </a:lnTo>
                  <a:lnTo>
                    <a:pt x="0" y="49530"/>
                  </a:lnTo>
                  <a:lnTo>
                    <a:pt x="24765" y="5461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920" name="Google Shape;920;p15"/>
            <p:cNvSpPr/>
            <p:nvPr/>
          </p:nvSpPr>
          <p:spPr>
            <a:xfrm>
              <a:off x="4954270" y="365759"/>
              <a:ext cx="212725" cy="92075"/>
            </a:xfrm>
            <a:custGeom>
              <a:avLst/>
              <a:gdLst/>
              <a:ahLst/>
              <a:cxnLst/>
              <a:rect l="l" t="t" r="r" b="b"/>
              <a:pathLst>
                <a:path w="212725" h="92075" extrusionOk="0">
                  <a:moveTo>
                    <a:pt x="10160" y="0"/>
                  </a:moveTo>
                  <a:lnTo>
                    <a:pt x="0" y="49530"/>
                  </a:lnTo>
                  <a:lnTo>
                    <a:pt x="24765" y="54610"/>
                  </a:lnTo>
                  <a:lnTo>
                    <a:pt x="177165" y="86360"/>
                  </a:lnTo>
                  <a:lnTo>
                    <a:pt x="201930" y="92075"/>
                  </a:lnTo>
                  <a:lnTo>
                    <a:pt x="212725" y="41910"/>
                  </a:lnTo>
                  <a:lnTo>
                    <a:pt x="187325" y="36830"/>
                  </a:lnTo>
                  <a:lnTo>
                    <a:pt x="34925" y="50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921" name="Google Shape;921;p15"/>
            <p:cNvSpPr/>
            <p:nvPr/>
          </p:nvSpPr>
          <p:spPr>
            <a:xfrm>
              <a:off x="5589270" y="727709"/>
              <a:ext cx="212725" cy="92075"/>
            </a:xfrm>
            <a:custGeom>
              <a:avLst/>
              <a:gdLst/>
              <a:ahLst/>
              <a:cxnLst/>
              <a:rect l="l" t="t" r="r" b="b"/>
              <a:pathLst>
                <a:path w="212725" h="92075" extrusionOk="0">
                  <a:moveTo>
                    <a:pt x="34925" y="5080"/>
                  </a:moveTo>
                  <a:lnTo>
                    <a:pt x="10160" y="0"/>
                  </a:lnTo>
                  <a:lnTo>
                    <a:pt x="0" y="49530"/>
                  </a:lnTo>
                  <a:lnTo>
                    <a:pt x="24765" y="54610"/>
                  </a:lnTo>
                  <a:lnTo>
                    <a:pt x="177165" y="86360"/>
                  </a:lnTo>
                  <a:lnTo>
                    <a:pt x="201930" y="92075"/>
                  </a:lnTo>
                  <a:lnTo>
                    <a:pt x="212725" y="41910"/>
                  </a:lnTo>
                  <a:lnTo>
                    <a:pt x="187325" y="3683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922" name="Google Shape;922;p15"/>
            <p:cNvSpPr/>
            <p:nvPr/>
          </p:nvSpPr>
          <p:spPr>
            <a:xfrm>
              <a:off x="6224270" y="1089660"/>
              <a:ext cx="212725" cy="92075"/>
            </a:xfrm>
            <a:custGeom>
              <a:avLst/>
              <a:gdLst/>
              <a:ahLst/>
              <a:cxnLst/>
              <a:rect l="l" t="t" r="r" b="b"/>
              <a:pathLst>
                <a:path w="212725" h="92075" extrusionOk="0">
                  <a:moveTo>
                    <a:pt x="201930" y="92075"/>
                  </a:moveTo>
                  <a:lnTo>
                    <a:pt x="212725" y="41910"/>
                  </a:lnTo>
                  <a:lnTo>
                    <a:pt x="187325" y="36830"/>
                  </a:lnTo>
                  <a:lnTo>
                    <a:pt x="34925" y="5080"/>
                  </a:lnTo>
                  <a:lnTo>
                    <a:pt x="10160" y="0"/>
                  </a:lnTo>
                  <a:lnTo>
                    <a:pt x="0" y="49530"/>
                  </a:lnTo>
                  <a:lnTo>
                    <a:pt x="24765" y="54610"/>
                  </a:lnTo>
                  <a:lnTo>
                    <a:pt x="177165" y="8636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923" name="Google Shape;923;p15"/>
            <p:cNvSpPr/>
            <p:nvPr/>
          </p:nvSpPr>
          <p:spPr>
            <a:xfrm>
              <a:off x="6859269" y="1451610"/>
              <a:ext cx="212725" cy="92075"/>
            </a:xfrm>
            <a:custGeom>
              <a:avLst/>
              <a:gdLst/>
              <a:ahLst/>
              <a:cxnLst/>
              <a:rect l="l" t="t" r="r" b="b"/>
              <a:pathLst>
                <a:path w="212725" h="92075" extrusionOk="0">
                  <a:moveTo>
                    <a:pt x="201930" y="92075"/>
                  </a:moveTo>
                  <a:lnTo>
                    <a:pt x="212725" y="41910"/>
                  </a:lnTo>
                  <a:lnTo>
                    <a:pt x="187325" y="36830"/>
                  </a:lnTo>
                  <a:lnTo>
                    <a:pt x="34925" y="5080"/>
                  </a:lnTo>
                  <a:lnTo>
                    <a:pt x="10161" y="0"/>
                  </a:lnTo>
                  <a:lnTo>
                    <a:pt x="0" y="49530"/>
                  </a:lnTo>
                  <a:lnTo>
                    <a:pt x="24765" y="54610"/>
                  </a:lnTo>
                  <a:lnTo>
                    <a:pt x="177165" y="8636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924" name="Google Shape;924;p15"/>
            <p:cNvSpPr/>
            <p:nvPr/>
          </p:nvSpPr>
          <p:spPr>
            <a:xfrm>
              <a:off x="7494269" y="1813560"/>
              <a:ext cx="212725" cy="92075"/>
            </a:xfrm>
            <a:custGeom>
              <a:avLst/>
              <a:gdLst/>
              <a:ahLst/>
              <a:cxnLst/>
              <a:rect l="l" t="t" r="r" b="b"/>
              <a:pathLst>
                <a:path w="212725" h="92075" extrusionOk="0">
                  <a:moveTo>
                    <a:pt x="201930" y="92075"/>
                  </a:moveTo>
                  <a:lnTo>
                    <a:pt x="212725" y="41910"/>
                  </a:lnTo>
                  <a:lnTo>
                    <a:pt x="187325" y="36830"/>
                  </a:lnTo>
                  <a:lnTo>
                    <a:pt x="34925" y="5080"/>
                  </a:lnTo>
                  <a:lnTo>
                    <a:pt x="10161" y="0"/>
                  </a:lnTo>
                  <a:lnTo>
                    <a:pt x="0" y="49530"/>
                  </a:lnTo>
                  <a:lnTo>
                    <a:pt x="24765" y="54610"/>
                  </a:lnTo>
                  <a:lnTo>
                    <a:pt x="177165" y="8636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925" name="Google Shape;925;p15"/>
            <p:cNvSpPr/>
            <p:nvPr/>
          </p:nvSpPr>
          <p:spPr>
            <a:xfrm>
              <a:off x="8129269" y="2175510"/>
              <a:ext cx="212725" cy="92075"/>
            </a:xfrm>
            <a:custGeom>
              <a:avLst/>
              <a:gdLst/>
              <a:ahLst/>
              <a:cxnLst/>
              <a:rect l="l" t="t" r="r" b="b"/>
              <a:pathLst>
                <a:path w="212725" h="92075" extrusionOk="0">
                  <a:moveTo>
                    <a:pt x="201930" y="92075"/>
                  </a:moveTo>
                  <a:lnTo>
                    <a:pt x="212725" y="41910"/>
                  </a:lnTo>
                  <a:lnTo>
                    <a:pt x="187325" y="36830"/>
                  </a:lnTo>
                  <a:lnTo>
                    <a:pt x="34925" y="5080"/>
                  </a:lnTo>
                  <a:lnTo>
                    <a:pt x="10161" y="0"/>
                  </a:lnTo>
                  <a:lnTo>
                    <a:pt x="0" y="49530"/>
                  </a:lnTo>
                  <a:lnTo>
                    <a:pt x="24765" y="54610"/>
                  </a:lnTo>
                  <a:lnTo>
                    <a:pt x="177165" y="8636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926" name="Google Shape;926;p15"/>
            <p:cNvSpPr/>
            <p:nvPr/>
          </p:nvSpPr>
          <p:spPr>
            <a:xfrm>
              <a:off x="8764269" y="2537460"/>
              <a:ext cx="212725" cy="92075"/>
            </a:xfrm>
            <a:custGeom>
              <a:avLst/>
              <a:gdLst/>
              <a:ahLst/>
              <a:cxnLst/>
              <a:rect l="l" t="t" r="r" b="b"/>
              <a:pathLst>
                <a:path w="212725" h="92075" extrusionOk="0">
                  <a:moveTo>
                    <a:pt x="34925" y="5080"/>
                  </a:moveTo>
                  <a:lnTo>
                    <a:pt x="10161" y="0"/>
                  </a:lnTo>
                  <a:lnTo>
                    <a:pt x="0" y="49530"/>
                  </a:lnTo>
                  <a:lnTo>
                    <a:pt x="24765" y="54610"/>
                  </a:lnTo>
                  <a:lnTo>
                    <a:pt x="177165" y="86360"/>
                  </a:lnTo>
                  <a:lnTo>
                    <a:pt x="201930" y="92075"/>
                  </a:lnTo>
                  <a:lnTo>
                    <a:pt x="212725" y="41910"/>
                  </a:lnTo>
                  <a:lnTo>
                    <a:pt x="187325" y="3683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927" name="Google Shape;927;p15"/>
            <p:cNvSpPr/>
            <p:nvPr/>
          </p:nvSpPr>
          <p:spPr>
            <a:xfrm>
              <a:off x="9399269" y="2899410"/>
              <a:ext cx="212725" cy="92075"/>
            </a:xfrm>
            <a:custGeom>
              <a:avLst/>
              <a:gdLst/>
              <a:ahLst/>
              <a:cxnLst/>
              <a:rect l="l" t="t" r="r" b="b"/>
              <a:pathLst>
                <a:path w="212725" h="92075" extrusionOk="0">
                  <a:moveTo>
                    <a:pt x="201930" y="92075"/>
                  </a:moveTo>
                  <a:lnTo>
                    <a:pt x="212725" y="41910"/>
                  </a:lnTo>
                  <a:lnTo>
                    <a:pt x="187325" y="36830"/>
                  </a:lnTo>
                  <a:lnTo>
                    <a:pt x="34925" y="5080"/>
                  </a:lnTo>
                  <a:lnTo>
                    <a:pt x="10161" y="0"/>
                  </a:lnTo>
                  <a:lnTo>
                    <a:pt x="0" y="49530"/>
                  </a:lnTo>
                  <a:lnTo>
                    <a:pt x="24765" y="54610"/>
                  </a:lnTo>
                  <a:lnTo>
                    <a:pt x="177165" y="8636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928" name="Google Shape;928;p15"/>
            <p:cNvSpPr/>
            <p:nvPr/>
          </p:nvSpPr>
          <p:spPr>
            <a:xfrm>
              <a:off x="10034269" y="3261359"/>
              <a:ext cx="212725" cy="92075"/>
            </a:xfrm>
            <a:custGeom>
              <a:avLst/>
              <a:gdLst/>
              <a:ahLst/>
              <a:cxnLst/>
              <a:rect l="l" t="t" r="r" b="b"/>
              <a:pathLst>
                <a:path w="212725" h="92075" extrusionOk="0">
                  <a:moveTo>
                    <a:pt x="201930" y="92075"/>
                  </a:moveTo>
                  <a:lnTo>
                    <a:pt x="212725" y="41910"/>
                  </a:lnTo>
                  <a:lnTo>
                    <a:pt x="187325" y="36830"/>
                  </a:lnTo>
                  <a:lnTo>
                    <a:pt x="34925" y="5080"/>
                  </a:lnTo>
                  <a:lnTo>
                    <a:pt x="10161" y="0"/>
                  </a:lnTo>
                  <a:lnTo>
                    <a:pt x="0" y="49530"/>
                  </a:lnTo>
                  <a:lnTo>
                    <a:pt x="24765" y="54610"/>
                  </a:lnTo>
                  <a:lnTo>
                    <a:pt x="177165" y="8636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929" name="Google Shape;929;p15"/>
            <p:cNvSpPr/>
            <p:nvPr/>
          </p:nvSpPr>
          <p:spPr>
            <a:xfrm>
              <a:off x="10669269" y="3623309"/>
              <a:ext cx="212725" cy="92075"/>
            </a:xfrm>
            <a:custGeom>
              <a:avLst/>
              <a:gdLst/>
              <a:ahLst/>
              <a:cxnLst/>
              <a:rect l="l" t="t" r="r" b="b"/>
              <a:pathLst>
                <a:path w="212725" h="92075" extrusionOk="0">
                  <a:moveTo>
                    <a:pt x="201930" y="92075"/>
                  </a:moveTo>
                  <a:lnTo>
                    <a:pt x="212725" y="41910"/>
                  </a:lnTo>
                  <a:lnTo>
                    <a:pt x="187325" y="36830"/>
                  </a:lnTo>
                  <a:lnTo>
                    <a:pt x="34925" y="5080"/>
                  </a:lnTo>
                  <a:lnTo>
                    <a:pt x="10161" y="0"/>
                  </a:lnTo>
                  <a:lnTo>
                    <a:pt x="0" y="49530"/>
                  </a:lnTo>
                  <a:lnTo>
                    <a:pt x="24765" y="54610"/>
                  </a:lnTo>
                  <a:lnTo>
                    <a:pt x="177165" y="8636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930" name="Google Shape;930;p15"/>
            <p:cNvSpPr/>
            <p:nvPr/>
          </p:nvSpPr>
          <p:spPr>
            <a:xfrm>
              <a:off x="11304269" y="3985259"/>
              <a:ext cx="212725" cy="92075"/>
            </a:xfrm>
            <a:custGeom>
              <a:avLst/>
              <a:gdLst/>
              <a:ahLst/>
              <a:cxnLst/>
              <a:rect l="l" t="t" r="r" b="b"/>
              <a:pathLst>
                <a:path w="212725" h="92075" extrusionOk="0">
                  <a:moveTo>
                    <a:pt x="177165" y="86360"/>
                  </a:moveTo>
                  <a:lnTo>
                    <a:pt x="201930" y="92075"/>
                  </a:lnTo>
                  <a:lnTo>
                    <a:pt x="212725" y="41910"/>
                  </a:lnTo>
                  <a:lnTo>
                    <a:pt x="187325" y="36830"/>
                  </a:lnTo>
                  <a:lnTo>
                    <a:pt x="34925" y="5080"/>
                  </a:lnTo>
                  <a:lnTo>
                    <a:pt x="10161" y="0"/>
                  </a:lnTo>
                  <a:lnTo>
                    <a:pt x="0" y="49530"/>
                  </a:lnTo>
                  <a:lnTo>
                    <a:pt x="24765" y="5461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931" name="Google Shape;931;p15"/>
            <p:cNvSpPr/>
            <p:nvPr/>
          </p:nvSpPr>
          <p:spPr>
            <a:xfrm>
              <a:off x="11939269" y="4347209"/>
              <a:ext cx="212725" cy="92075"/>
            </a:xfrm>
            <a:custGeom>
              <a:avLst/>
              <a:gdLst/>
              <a:ahLst/>
              <a:cxnLst/>
              <a:rect l="l" t="t" r="r" b="b"/>
              <a:pathLst>
                <a:path w="212725" h="92075" extrusionOk="0">
                  <a:moveTo>
                    <a:pt x="201930" y="92075"/>
                  </a:moveTo>
                  <a:lnTo>
                    <a:pt x="212725" y="41910"/>
                  </a:lnTo>
                  <a:lnTo>
                    <a:pt x="187325" y="36830"/>
                  </a:lnTo>
                  <a:lnTo>
                    <a:pt x="34925" y="5080"/>
                  </a:lnTo>
                  <a:lnTo>
                    <a:pt x="10161" y="0"/>
                  </a:lnTo>
                  <a:lnTo>
                    <a:pt x="0" y="49530"/>
                  </a:lnTo>
                  <a:lnTo>
                    <a:pt x="24765" y="54610"/>
                  </a:lnTo>
                  <a:lnTo>
                    <a:pt x="177165" y="8636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932" name="Google Shape;932;p15"/>
            <p:cNvSpPr/>
            <p:nvPr/>
          </p:nvSpPr>
          <p:spPr>
            <a:xfrm>
              <a:off x="4935854" y="24129"/>
              <a:ext cx="203200" cy="50800"/>
            </a:xfrm>
            <a:custGeom>
              <a:avLst/>
              <a:gdLst/>
              <a:ahLst/>
              <a:cxnLst/>
              <a:rect l="l" t="t" r="r" b="b"/>
              <a:pathLst>
                <a:path w="203200" h="50800" extrusionOk="0">
                  <a:moveTo>
                    <a:pt x="177800" y="50800"/>
                  </a:moveTo>
                  <a:lnTo>
                    <a:pt x="203200" y="50800"/>
                  </a:lnTo>
                  <a:lnTo>
                    <a:pt x="203200" y="0"/>
                  </a:lnTo>
                  <a:lnTo>
                    <a:pt x="177800" y="0"/>
                  </a:lnTo>
                  <a:lnTo>
                    <a:pt x="25400" y="0"/>
                  </a:lnTo>
                  <a:lnTo>
                    <a:pt x="0" y="0"/>
                  </a:lnTo>
                  <a:lnTo>
                    <a:pt x="0" y="50800"/>
                  </a:lnTo>
                  <a:lnTo>
                    <a:pt x="25400" y="5080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933" name="Google Shape;933;p15"/>
            <p:cNvSpPr/>
            <p:nvPr/>
          </p:nvSpPr>
          <p:spPr>
            <a:xfrm>
              <a:off x="5570854" y="386079"/>
              <a:ext cx="203200" cy="50800"/>
            </a:xfrm>
            <a:custGeom>
              <a:avLst/>
              <a:gdLst/>
              <a:ahLst/>
              <a:cxnLst/>
              <a:rect l="l" t="t" r="r" b="b"/>
              <a:pathLst>
                <a:path w="203200" h="50800" extrusionOk="0">
                  <a:moveTo>
                    <a:pt x="177800" y="50800"/>
                  </a:moveTo>
                  <a:lnTo>
                    <a:pt x="203200" y="50800"/>
                  </a:lnTo>
                  <a:lnTo>
                    <a:pt x="203200" y="0"/>
                  </a:lnTo>
                  <a:lnTo>
                    <a:pt x="177800" y="0"/>
                  </a:lnTo>
                  <a:lnTo>
                    <a:pt x="25400" y="0"/>
                  </a:lnTo>
                  <a:lnTo>
                    <a:pt x="0" y="0"/>
                  </a:lnTo>
                  <a:lnTo>
                    <a:pt x="0" y="50800"/>
                  </a:lnTo>
                  <a:lnTo>
                    <a:pt x="25400" y="5080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934" name="Google Shape;934;p15"/>
            <p:cNvSpPr/>
            <p:nvPr/>
          </p:nvSpPr>
          <p:spPr>
            <a:xfrm>
              <a:off x="6205854" y="748030"/>
              <a:ext cx="203200" cy="50800"/>
            </a:xfrm>
            <a:custGeom>
              <a:avLst/>
              <a:gdLst/>
              <a:ahLst/>
              <a:cxnLst/>
              <a:rect l="l" t="t" r="r" b="b"/>
              <a:pathLst>
                <a:path w="203200" h="50800" extrusionOk="0">
                  <a:moveTo>
                    <a:pt x="177800" y="50800"/>
                  </a:moveTo>
                  <a:lnTo>
                    <a:pt x="203200" y="50800"/>
                  </a:lnTo>
                  <a:lnTo>
                    <a:pt x="203200" y="0"/>
                  </a:lnTo>
                  <a:lnTo>
                    <a:pt x="177800" y="0"/>
                  </a:lnTo>
                  <a:lnTo>
                    <a:pt x="25400" y="0"/>
                  </a:lnTo>
                  <a:lnTo>
                    <a:pt x="0" y="0"/>
                  </a:lnTo>
                  <a:lnTo>
                    <a:pt x="0" y="50800"/>
                  </a:lnTo>
                  <a:lnTo>
                    <a:pt x="25400" y="5080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935" name="Google Shape;935;p15"/>
            <p:cNvSpPr/>
            <p:nvPr/>
          </p:nvSpPr>
          <p:spPr>
            <a:xfrm>
              <a:off x="6840855" y="1109980"/>
              <a:ext cx="203200" cy="50800"/>
            </a:xfrm>
            <a:custGeom>
              <a:avLst/>
              <a:gdLst/>
              <a:ahLst/>
              <a:cxnLst/>
              <a:rect l="l" t="t" r="r" b="b"/>
              <a:pathLst>
                <a:path w="203200" h="50800" extrusionOk="0">
                  <a:moveTo>
                    <a:pt x="177800" y="50800"/>
                  </a:moveTo>
                  <a:lnTo>
                    <a:pt x="203200" y="50800"/>
                  </a:lnTo>
                  <a:lnTo>
                    <a:pt x="203200" y="0"/>
                  </a:lnTo>
                  <a:lnTo>
                    <a:pt x="177800" y="0"/>
                  </a:lnTo>
                  <a:lnTo>
                    <a:pt x="25400" y="0"/>
                  </a:lnTo>
                  <a:lnTo>
                    <a:pt x="0" y="0"/>
                  </a:lnTo>
                  <a:lnTo>
                    <a:pt x="0" y="50800"/>
                  </a:lnTo>
                  <a:lnTo>
                    <a:pt x="25400" y="5080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936" name="Google Shape;936;p15"/>
            <p:cNvSpPr/>
            <p:nvPr/>
          </p:nvSpPr>
          <p:spPr>
            <a:xfrm>
              <a:off x="7475855" y="1471930"/>
              <a:ext cx="203200" cy="50800"/>
            </a:xfrm>
            <a:custGeom>
              <a:avLst/>
              <a:gdLst/>
              <a:ahLst/>
              <a:cxnLst/>
              <a:rect l="l" t="t" r="r" b="b"/>
              <a:pathLst>
                <a:path w="203200" h="50800" extrusionOk="0">
                  <a:moveTo>
                    <a:pt x="177800" y="50800"/>
                  </a:moveTo>
                  <a:lnTo>
                    <a:pt x="203200" y="50800"/>
                  </a:lnTo>
                  <a:lnTo>
                    <a:pt x="203200" y="0"/>
                  </a:lnTo>
                  <a:lnTo>
                    <a:pt x="177800" y="0"/>
                  </a:lnTo>
                  <a:lnTo>
                    <a:pt x="25400" y="0"/>
                  </a:lnTo>
                  <a:lnTo>
                    <a:pt x="0" y="0"/>
                  </a:lnTo>
                  <a:lnTo>
                    <a:pt x="0" y="50800"/>
                  </a:lnTo>
                  <a:lnTo>
                    <a:pt x="25400" y="5080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937" name="Google Shape;937;p15"/>
            <p:cNvSpPr/>
            <p:nvPr/>
          </p:nvSpPr>
          <p:spPr>
            <a:xfrm>
              <a:off x="8110855" y="1833879"/>
              <a:ext cx="203200" cy="50800"/>
            </a:xfrm>
            <a:custGeom>
              <a:avLst/>
              <a:gdLst/>
              <a:ahLst/>
              <a:cxnLst/>
              <a:rect l="l" t="t" r="r" b="b"/>
              <a:pathLst>
                <a:path w="203200" h="50800" extrusionOk="0">
                  <a:moveTo>
                    <a:pt x="177800" y="50800"/>
                  </a:moveTo>
                  <a:lnTo>
                    <a:pt x="203200" y="50800"/>
                  </a:lnTo>
                  <a:lnTo>
                    <a:pt x="203200" y="0"/>
                  </a:lnTo>
                  <a:lnTo>
                    <a:pt x="177800" y="0"/>
                  </a:lnTo>
                  <a:lnTo>
                    <a:pt x="25400" y="0"/>
                  </a:lnTo>
                  <a:lnTo>
                    <a:pt x="0" y="0"/>
                  </a:lnTo>
                  <a:lnTo>
                    <a:pt x="0" y="50800"/>
                  </a:lnTo>
                  <a:lnTo>
                    <a:pt x="25400" y="5080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938" name="Google Shape;938;p15"/>
            <p:cNvSpPr/>
            <p:nvPr/>
          </p:nvSpPr>
          <p:spPr>
            <a:xfrm>
              <a:off x="8745855" y="2195829"/>
              <a:ext cx="203200" cy="50800"/>
            </a:xfrm>
            <a:custGeom>
              <a:avLst/>
              <a:gdLst/>
              <a:ahLst/>
              <a:cxnLst/>
              <a:rect l="l" t="t" r="r" b="b"/>
              <a:pathLst>
                <a:path w="203200" h="50800" extrusionOk="0">
                  <a:moveTo>
                    <a:pt x="0" y="50800"/>
                  </a:moveTo>
                  <a:lnTo>
                    <a:pt x="25400" y="50800"/>
                  </a:lnTo>
                  <a:lnTo>
                    <a:pt x="177800" y="50800"/>
                  </a:lnTo>
                  <a:lnTo>
                    <a:pt x="203200" y="50800"/>
                  </a:lnTo>
                  <a:lnTo>
                    <a:pt x="203200" y="0"/>
                  </a:lnTo>
                  <a:lnTo>
                    <a:pt x="177800" y="0"/>
                  </a:lnTo>
                  <a:lnTo>
                    <a:pt x="25400" y="0"/>
                  </a:lnTo>
                  <a:lnTo>
                    <a:pt x="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939" name="Google Shape;939;p15"/>
            <p:cNvSpPr/>
            <p:nvPr/>
          </p:nvSpPr>
          <p:spPr>
            <a:xfrm>
              <a:off x="9380855" y="2557779"/>
              <a:ext cx="203200" cy="50800"/>
            </a:xfrm>
            <a:custGeom>
              <a:avLst/>
              <a:gdLst/>
              <a:ahLst/>
              <a:cxnLst/>
              <a:rect l="l" t="t" r="r" b="b"/>
              <a:pathLst>
                <a:path w="203200" h="50800" extrusionOk="0">
                  <a:moveTo>
                    <a:pt x="0" y="50800"/>
                  </a:moveTo>
                  <a:lnTo>
                    <a:pt x="25400" y="50800"/>
                  </a:lnTo>
                  <a:lnTo>
                    <a:pt x="177800" y="50800"/>
                  </a:lnTo>
                  <a:lnTo>
                    <a:pt x="203200" y="50800"/>
                  </a:lnTo>
                  <a:lnTo>
                    <a:pt x="203200" y="0"/>
                  </a:lnTo>
                  <a:lnTo>
                    <a:pt x="177800" y="0"/>
                  </a:lnTo>
                  <a:lnTo>
                    <a:pt x="25400" y="0"/>
                  </a:lnTo>
                  <a:lnTo>
                    <a:pt x="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940" name="Google Shape;940;p15"/>
            <p:cNvSpPr/>
            <p:nvPr/>
          </p:nvSpPr>
          <p:spPr>
            <a:xfrm>
              <a:off x="10015855" y="2919729"/>
              <a:ext cx="203200" cy="50800"/>
            </a:xfrm>
            <a:custGeom>
              <a:avLst/>
              <a:gdLst/>
              <a:ahLst/>
              <a:cxnLst/>
              <a:rect l="l" t="t" r="r" b="b"/>
              <a:pathLst>
                <a:path w="203200" h="50800" extrusionOk="0">
                  <a:moveTo>
                    <a:pt x="0" y="50800"/>
                  </a:moveTo>
                  <a:lnTo>
                    <a:pt x="25400" y="50800"/>
                  </a:lnTo>
                  <a:lnTo>
                    <a:pt x="177800" y="50800"/>
                  </a:lnTo>
                  <a:lnTo>
                    <a:pt x="203200" y="50800"/>
                  </a:lnTo>
                  <a:lnTo>
                    <a:pt x="203200" y="0"/>
                  </a:lnTo>
                  <a:lnTo>
                    <a:pt x="177800" y="0"/>
                  </a:lnTo>
                  <a:lnTo>
                    <a:pt x="25400" y="0"/>
                  </a:lnTo>
                  <a:lnTo>
                    <a:pt x="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941" name="Google Shape;941;p15"/>
            <p:cNvSpPr/>
            <p:nvPr/>
          </p:nvSpPr>
          <p:spPr>
            <a:xfrm>
              <a:off x="10650855" y="3281679"/>
              <a:ext cx="203200" cy="50800"/>
            </a:xfrm>
            <a:custGeom>
              <a:avLst/>
              <a:gdLst/>
              <a:ahLst/>
              <a:cxnLst/>
              <a:rect l="l" t="t" r="r" b="b"/>
              <a:pathLst>
                <a:path w="203200" h="50800" extrusionOk="0">
                  <a:moveTo>
                    <a:pt x="0" y="50800"/>
                  </a:moveTo>
                  <a:lnTo>
                    <a:pt x="25400" y="50800"/>
                  </a:lnTo>
                  <a:lnTo>
                    <a:pt x="177800" y="50800"/>
                  </a:lnTo>
                  <a:lnTo>
                    <a:pt x="203200" y="50800"/>
                  </a:lnTo>
                  <a:lnTo>
                    <a:pt x="203200" y="0"/>
                  </a:lnTo>
                  <a:lnTo>
                    <a:pt x="177800" y="0"/>
                  </a:lnTo>
                  <a:lnTo>
                    <a:pt x="25400" y="0"/>
                  </a:lnTo>
                  <a:lnTo>
                    <a:pt x="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942" name="Google Shape;942;p15"/>
            <p:cNvSpPr/>
            <p:nvPr/>
          </p:nvSpPr>
          <p:spPr>
            <a:xfrm>
              <a:off x="11285855" y="3643629"/>
              <a:ext cx="203200" cy="50800"/>
            </a:xfrm>
            <a:custGeom>
              <a:avLst/>
              <a:gdLst/>
              <a:ahLst/>
              <a:cxnLst/>
              <a:rect l="l" t="t" r="r" b="b"/>
              <a:pathLst>
                <a:path w="203200" h="50800" extrusionOk="0">
                  <a:moveTo>
                    <a:pt x="0" y="50800"/>
                  </a:moveTo>
                  <a:lnTo>
                    <a:pt x="25400" y="50800"/>
                  </a:lnTo>
                  <a:lnTo>
                    <a:pt x="177800" y="50800"/>
                  </a:lnTo>
                  <a:lnTo>
                    <a:pt x="203200" y="50800"/>
                  </a:lnTo>
                  <a:lnTo>
                    <a:pt x="203200" y="0"/>
                  </a:lnTo>
                  <a:lnTo>
                    <a:pt x="177800" y="0"/>
                  </a:lnTo>
                  <a:lnTo>
                    <a:pt x="25400" y="0"/>
                  </a:lnTo>
                  <a:lnTo>
                    <a:pt x="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943" name="Google Shape;943;p15"/>
            <p:cNvSpPr/>
            <p:nvPr/>
          </p:nvSpPr>
          <p:spPr>
            <a:xfrm>
              <a:off x="11920855" y="4005579"/>
              <a:ext cx="203200" cy="50800"/>
            </a:xfrm>
            <a:custGeom>
              <a:avLst/>
              <a:gdLst/>
              <a:ahLst/>
              <a:cxnLst/>
              <a:rect l="l" t="t" r="r" b="b"/>
              <a:pathLst>
                <a:path w="203200" h="50800" extrusionOk="0">
                  <a:moveTo>
                    <a:pt x="177800" y="50800"/>
                  </a:moveTo>
                  <a:lnTo>
                    <a:pt x="203200" y="50800"/>
                  </a:lnTo>
                  <a:lnTo>
                    <a:pt x="203200" y="0"/>
                  </a:lnTo>
                  <a:lnTo>
                    <a:pt x="177800" y="0"/>
                  </a:lnTo>
                  <a:lnTo>
                    <a:pt x="25400" y="0"/>
                  </a:lnTo>
                  <a:lnTo>
                    <a:pt x="0" y="0"/>
                  </a:lnTo>
                  <a:lnTo>
                    <a:pt x="0" y="50800"/>
                  </a:lnTo>
                  <a:lnTo>
                    <a:pt x="25400" y="5080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944" name="Google Shape;944;p15"/>
            <p:cNvSpPr/>
            <p:nvPr/>
          </p:nvSpPr>
          <p:spPr>
            <a:xfrm>
              <a:off x="5588634" y="3810"/>
              <a:ext cx="212090" cy="91439"/>
            </a:xfrm>
            <a:custGeom>
              <a:avLst/>
              <a:gdLst/>
              <a:ahLst/>
              <a:cxnLst/>
              <a:rect l="l" t="t" r="r" b="b"/>
              <a:pathLst>
                <a:path w="212090" h="91439" extrusionOk="0">
                  <a:moveTo>
                    <a:pt x="34925" y="86360"/>
                  </a:moveTo>
                  <a:lnTo>
                    <a:pt x="187325" y="55245"/>
                  </a:lnTo>
                  <a:lnTo>
                    <a:pt x="212090" y="50165"/>
                  </a:lnTo>
                  <a:lnTo>
                    <a:pt x="201930" y="0"/>
                  </a:lnTo>
                  <a:lnTo>
                    <a:pt x="177165" y="5080"/>
                  </a:lnTo>
                  <a:lnTo>
                    <a:pt x="24765" y="36830"/>
                  </a:lnTo>
                  <a:lnTo>
                    <a:pt x="0" y="41910"/>
                  </a:lnTo>
                  <a:lnTo>
                    <a:pt x="10160" y="914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945" name="Google Shape;945;p15"/>
            <p:cNvSpPr/>
            <p:nvPr/>
          </p:nvSpPr>
          <p:spPr>
            <a:xfrm>
              <a:off x="6223634" y="365759"/>
              <a:ext cx="212090" cy="91440"/>
            </a:xfrm>
            <a:custGeom>
              <a:avLst/>
              <a:gdLst/>
              <a:ahLst/>
              <a:cxnLst/>
              <a:rect l="l" t="t" r="r" b="b"/>
              <a:pathLst>
                <a:path w="212090" h="91440" extrusionOk="0">
                  <a:moveTo>
                    <a:pt x="34925" y="86360"/>
                  </a:moveTo>
                  <a:lnTo>
                    <a:pt x="187325" y="55245"/>
                  </a:lnTo>
                  <a:lnTo>
                    <a:pt x="212090" y="50165"/>
                  </a:lnTo>
                  <a:lnTo>
                    <a:pt x="201930" y="0"/>
                  </a:lnTo>
                  <a:lnTo>
                    <a:pt x="177165" y="5080"/>
                  </a:lnTo>
                  <a:lnTo>
                    <a:pt x="24765" y="36830"/>
                  </a:lnTo>
                  <a:lnTo>
                    <a:pt x="0" y="41910"/>
                  </a:lnTo>
                  <a:lnTo>
                    <a:pt x="10160" y="914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946" name="Google Shape;946;p15"/>
            <p:cNvSpPr/>
            <p:nvPr/>
          </p:nvSpPr>
          <p:spPr>
            <a:xfrm>
              <a:off x="6858634" y="727709"/>
              <a:ext cx="212090" cy="91440"/>
            </a:xfrm>
            <a:custGeom>
              <a:avLst/>
              <a:gdLst/>
              <a:ahLst/>
              <a:cxnLst/>
              <a:rect l="l" t="t" r="r" b="b"/>
              <a:pathLst>
                <a:path w="212090" h="91440" extrusionOk="0">
                  <a:moveTo>
                    <a:pt x="34925" y="86360"/>
                  </a:moveTo>
                  <a:lnTo>
                    <a:pt x="187325" y="55245"/>
                  </a:lnTo>
                  <a:lnTo>
                    <a:pt x="212090" y="50165"/>
                  </a:lnTo>
                  <a:lnTo>
                    <a:pt x="201930" y="0"/>
                  </a:lnTo>
                  <a:lnTo>
                    <a:pt x="177165" y="5080"/>
                  </a:lnTo>
                  <a:lnTo>
                    <a:pt x="24765" y="36830"/>
                  </a:lnTo>
                  <a:lnTo>
                    <a:pt x="0" y="41910"/>
                  </a:lnTo>
                  <a:lnTo>
                    <a:pt x="10160" y="914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947" name="Google Shape;947;p15"/>
            <p:cNvSpPr/>
            <p:nvPr/>
          </p:nvSpPr>
          <p:spPr>
            <a:xfrm>
              <a:off x="7493634" y="1089660"/>
              <a:ext cx="212090" cy="91439"/>
            </a:xfrm>
            <a:custGeom>
              <a:avLst/>
              <a:gdLst/>
              <a:ahLst/>
              <a:cxnLst/>
              <a:rect l="l" t="t" r="r" b="b"/>
              <a:pathLst>
                <a:path w="212090" h="91439" extrusionOk="0">
                  <a:moveTo>
                    <a:pt x="34925" y="86360"/>
                  </a:moveTo>
                  <a:lnTo>
                    <a:pt x="187325" y="55245"/>
                  </a:lnTo>
                  <a:lnTo>
                    <a:pt x="212090" y="50165"/>
                  </a:lnTo>
                  <a:lnTo>
                    <a:pt x="201930" y="0"/>
                  </a:lnTo>
                  <a:lnTo>
                    <a:pt x="177165" y="5080"/>
                  </a:lnTo>
                  <a:lnTo>
                    <a:pt x="24765" y="36830"/>
                  </a:lnTo>
                  <a:lnTo>
                    <a:pt x="0" y="41910"/>
                  </a:lnTo>
                  <a:lnTo>
                    <a:pt x="10160" y="914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948" name="Google Shape;948;p15"/>
            <p:cNvSpPr/>
            <p:nvPr/>
          </p:nvSpPr>
          <p:spPr>
            <a:xfrm>
              <a:off x="8128634" y="1451610"/>
              <a:ext cx="212090" cy="91439"/>
            </a:xfrm>
            <a:custGeom>
              <a:avLst/>
              <a:gdLst/>
              <a:ahLst/>
              <a:cxnLst/>
              <a:rect l="l" t="t" r="r" b="b"/>
              <a:pathLst>
                <a:path w="212090" h="91439" extrusionOk="0">
                  <a:moveTo>
                    <a:pt x="34925" y="86360"/>
                  </a:moveTo>
                  <a:lnTo>
                    <a:pt x="187325" y="55245"/>
                  </a:lnTo>
                  <a:lnTo>
                    <a:pt x="212090" y="50165"/>
                  </a:lnTo>
                  <a:lnTo>
                    <a:pt x="201930" y="0"/>
                  </a:lnTo>
                  <a:lnTo>
                    <a:pt x="177165" y="5080"/>
                  </a:lnTo>
                  <a:lnTo>
                    <a:pt x="24765" y="36830"/>
                  </a:lnTo>
                  <a:lnTo>
                    <a:pt x="0" y="41910"/>
                  </a:lnTo>
                  <a:lnTo>
                    <a:pt x="10160" y="914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949" name="Google Shape;949;p15"/>
            <p:cNvSpPr/>
            <p:nvPr/>
          </p:nvSpPr>
          <p:spPr>
            <a:xfrm>
              <a:off x="8763634" y="1813560"/>
              <a:ext cx="212090" cy="91439"/>
            </a:xfrm>
            <a:custGeom>
              <a:avLst/>
              <a:gdLst/>
              <a:ahLst/>
              <a:cxnLst/>
              <a:rect l="l" t="t" r="r" b="b"/>
              <a:pathLst>
                <a:path w="212090" h="91439" extrusionOk="0">
                  <a:moveTo>
                    <a:pt x="177165" y="5080"/>
                  </a:moveTo>
                  <a:lnTo>
                    <a:pt x="24765" y="36830"/>
                  </a:lnTo>
                  <a:lnTo>
                    <a:pt x="0" y="41910"/>
                  </a:lnTo>
                  <a:lnTo>
                    <a:pt x="10160" y="91440"/>
                  </a:lnTo>
                  <a:lnTo>
                    <a:pt x="34925" y="86360"/>
                  </a:lnTo>
                  <a:lnTo>
                    <a:pt x="187325" y="55245"/>
                  </a:lnTo>
                  <a:lnTo>
                    <a:pt x="212090" y="50165"/>
                  </a:lnTo>
                  <a:lnTo>
                    <a:pt x="20193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950" name="Google Shape;950;p15"/>
            <p:cNvSpPr/>
            <p:nvPr/>
          </p:nvSpPr>
          <p:spPr>
            <a:xfrm>
              <a:off x="9398634" y="2175510"/>
              <a:ext cx="212090" cy="91439"/>
            </a:xfrm>
            <a:custGeom>
              <a:avLst/>
              <a:gdLst/>
              <a:ahLst/>
              <a:cxnLst/>
              <a:rect l="l" t="t" r="r" b="b"/>
              <a:pathLst>
                <a:path w="212090" h="91439" extrusionOk="0">
                  <a:moveTo>
                    <a:pt x="0" y="41910"/>
                  </a:moveTo>
                  <a:lnTo>
                    <a:pt x="10160" y="91440"/>
                  </a:lnTo>
                  <a:lnTo>
                    <a:pt x="34925" y="86360"/>
                  </a:lnTo>
                  <a:lnTo>
                    <a:pt x="187325" y="55245"/>
                  </a:lnTo>
                  <a:lnTo>
                    <a:pt x="212090" y="50165"/>
                  </a:lnTo>
                  <a:lnTo>
                    <a:pt x="201930" y="0"/>
                  </a:lnTo>
                  <a:lnTo>
                    <a:pt x="177165" y="5080"/>
                  </a:lnTo>
                  <a:lnTo>
                    <a:pt x="24765" y="3683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951" name="Google Shape;951;p15"/>
            <p:cNvSpPr/>
            <p:nvPr/>
          </p:nvSpPr>
          <p:spPr>
            <a:xfrm>
              <a:off x="10033634" y="2537460"/>
              <a:ext cx="212090" cy="91439"/>
            </a:xfrm>
            <a:custGeom>
              <a:avLst/>
              <a:gdLst/>
              <a:ahLst/>
              <a:cxnLst/>
              <a:rect l="l" t="t" r="r" b="b"/>
              <a:pathLst>
                <a:path w="212090" h="91439" extrusionOk="0">
                  <a:moveTo>
                    <a:pt x="0" y="41910"/>
                  </a:moveTo>
                  <a:lnTo>
                    <a:pt x="10160" y="91440"/>
                  </a:lnTo>
                  <a:lnTo>
                    <a:pt x="34925" y="86360"/>
                  </a:lnTo>
                  <a:lnTo>
                    <a:pt x="187325" y="55245"/>
                  </a:lnTo>
                  <a:lnTo>
                    <a:pt x="212090" y="50165"/>
                  </a:lnTo>
                  <a:lnTo>
                    <a:pt x="201930" y="0"/>
                  </a:lnTo>
                  <a:lnTo>
                    <a:pt x="177165" y="5080"/>
                  </a:lnTo>
                  <a:lnTo>
                    <a:pt x="24765" y="3683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952" name="Google Shape;952;p15"/>
            <p:cNvSpPr/>
            <p:nvPr/>
          </p:nvSpPr>
          <p:spPr>
            <a:xfrm>
              <a:off x="10668634" y="2899410"/>
              <a:ext cx="212090" cy="91439"/>
            </a:xfrm>
            <a:custGeom>
              <a:avLst/>
              <a:gdLst/>
              <a:ahLst/>
              <a:cxnLst/>
              <a:rect l="l" t="t" r="r" b="b"/>
              <a:pathLst>
                <a:path w="212090" h="91439" extrusionOk="0">
                  <a:moveTo>
                    <a:pt x="0" y="41910"/>
                  </a:moveTo>
                  <a:lnTo>
                    <a:pt x="10160" y="91440"/>
                  </a:lnTo>
                  <a:lnTo>
                    <a:pt x="34925" y="86360"/>
                  </a:lnTo>
                  <a:lnTo>
                    <a:pt x="187325" y="55245"/>
                  </a:lnTo>
                  <a:lnTo>
                    <a:pt x="212090" y="50165"/>
                  </a:lnTo>
                  <a:lnTo>
                    <a:pt x="201930" y="0"/>
                  </a:lnTo>
                  <a:lnTo>
                    <a:pt x="177165" y="5080"/>
                  </a:lnTo>
                  <a:lnTo>
                    <a:pt x="24765" y="3683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953" name="Google Shape;953;p15"/>
            <p:cNvSpPr/>
            <p:nvPr/>
          </p:nvSpPr>
          <p:spPr>
            <a:xfrm>
              <a:off x="11303634" y="3261359"/>
              <a:ext cx="212090" cy="91440"/>
            </a:xfrm>
            <a:custGeom>
              <a:avLst/>
              <a:gdLst/>
              <a:ahLst/>
              <a:cxnLst/>
              <a:rect l="l" t="t" r="r" b="b"/>
              <a:pathLst>
                <a:path w="212090" h="91440" extrusionOk="0">
                  <a:moveTo>
                    <a:pt x="34925" y="86360"/>
                  </a:moveTo>
                  <a:lnTo>
                    <a:pt x="187325" y="55245"/>
                  </a:lnTo>
                  <a:lnTo>
                    <a:pt x="212090" y="50165"/>
                  </a:lnTo>
                  <a:lnTo>
                    <a:pt x="201930" y="0"/>
                  </a:lnTo>
                  <a:lnTo>
                    <a:pt x="177165" y="5080"/>
                  </a:lnTo>
                  <a:lnTo>
                    <a:pt x="24765" y="36830"/>
                  </a:lnTo>
                  <a:lnTo>
                    <a:pt x="0" y="41910"/>
                  </a:lnTo>
                  <a:lnTo>
                    <a:pt x="10160" y="914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954" name="Google Shape;954;p15"/>
            <p:cNvSpPr/>
            <p:nvPr/>
          </p:nvSpPr>
          <p:spPr>
            <a:xfrm>
              <a:off x="11938634" y="3623309"/>
              <a:ext cx="212090" cy="91440"/>
            </a:xfrm>
            <a:custGeom>
              <a:avLst/>
              <a:gdLst/>
              <a:ahLst/>
              <a:cxnLst/>
              <a:rect l="l" t="t" r="r" b="b"/>
              <a:pathLst>
                <a:path w="212090" h="91440" extrusionOk="0">
                  <a:moveTo>
                    <a:pt x="177165" y="5080"/>
                  </a:moveTo>
                  <a:lnTo>
                    <a:pt x="24765" y="36830"/>
                  </a:lnTo>
                  <a:lnTo>
                    <a:pt x="0" y="41910"/>
                  </a:lnTo>
                  <a:lnTo>
                    <a:pt x="10160" y="91440"/>
                  </a:lnTo>
                  <a:lnTo>
                    <a:pt x="34925" y="86360"/>
                  </a:lnTo>
                  <a:lnTo>
                    <a:pt x="187325" y="55245"/>
                  </a:lnTo>
                  <a:lnTo>
                    <a:pt x="212090" y="50165"/>
                  </a:lnTo>
                  <a:lnTo>
                    <a:pt x="20193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955" name="Google Shape;955;p15"/>
            <p:cNvSpPr/>
            <p:nvPr/>
          </p:nvSpPr>
          <p:spPr>
            <a:xfrm>
              <a:off x="6287134" y="0"/>
              <a:ext cx="218440" cy="113664"/>
            </a:xfrm>
            <a:custGeom>
              <a:avLst/>
              <a:gdLst/>
              <a:ahLst/>
              <a:cxnLst/>
              <a:rect l="l" t="t" r="r" b="b"/>
              <a:pathLst>
                <a:path w="218440" h="113664" extrusionOk="0">
                  <a:moveTo>
                    <a:pt x="42545" y="104140"/>
                  </a:moveTo>
                  <a:lnTo>
                    <a:pt x="194945" y="42545"/>
                  </a:lnTo>
                  <a:lnTo>
                    <a:pt x="218440" y="33020"/>
                  </a:lnTo>
                  <a:lnTo>
                    <a:pt x="205740" y="0"/>
                  </a:lnTo>
                  <a:lnTo>
                    <a:pt x="164465" y="0"/>
                  </a:lnTo>
                  <a:lnTo>
                    <a:pt x="23495" y="57150"/>
                  </a:lnTo>
                  <a:lnTo>
                    <a:pt x="0" y="66675"/>
                  </a:lnTo>
                  <a:lnTo>
                    <a:pt x="19050" y="11366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956" name="Google Shape;956;p15"/>
            <p:cNvSpPr/>
            <p:nvPr/>
          </p:nvSpPr>
          <p:spPr>
            <a:xfrm>
              <a:off x="6922134" y="347979"/>
              <a:ext cx="218440" cy="127635"/>
            </a:xfrm>
            <a:custGeom>
              <a:avLst/>
              <a:gdLst/>
              <a:ahLst/>
              <a:cxnLst/>
              <a:rect l="l" t="t" r="r" b="b"/>
              <a:pathLst>
                <a:path w="218440" h="127635" extrusionOk="0">
                  <a:moveTo>
                    <a:pt x="42545" y="118110"/>
                  </a:moveTo>
                  <a:lnTo>
                    <a:pt x="194945" y="56515"/>
                  </a:lnTo>
                  <a:lnTo>
                    <a:pt x="218440" y="46990"/>
                  </a:lnTo>
                  <a:lnTo>
                    <a:pt x="199390" y="0"/>
                  </a:lnTo>
                  <a:lnTo>
                    <a:pt x="175895" y="9525"/>
                  </a:lnTo>
                  <a:lnTo>
                    <a:pt x="23495" y="71120"/>
                  </a:lnTo>
                  <a:lnTo>
                    <a:pt x="0" y="80645"/>
                  </a:lnTo>
                  <a:lnTo>
                    <a:pt x="19050" y="12763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957" name="Google Shape;957;p15"/>
            <p:cNvSpPr/>
            <p:nvPr/>
          </p:nvSpPr>
          <p:spPr>
            <a:xfrm>
              <a:off x="7557134" y="709930"/>
              <a:ext cx="218440" cy="127634"/>
            </a:xfrm>
            <a:custGeom>
              <a:avLst/>
              <a:gdLst/>
              <a:ahLst/>
              <a:cxnLst/>
              <a:rect l="l" t="t" r="r" b="b"/>
              <a:pathLst>
                <a:path w="218440" h="127634" extrusionOk="0">
                  <a:moveTo>
                    <a:pt x="42545" y="118110"/>
                  </a:moveTo>
                  <a:lnTo>
                    <a:pt x="194945" y="56515"/>
                  </a:lnTo>
                  <a:lnTo>
                    <a:pt x="218440" y="46990"/>
                  </a:lnTo>
                  <a:lnTo>
                    <a:pt x="199390" y="0"/>
                  </a:lnTo>
                  <a:lnTo>
                    <a:pt x="175895" y="9525"/>
                  </a:lnTo>
                  <a:lnTo>
                    <a:pt x="23495" y="71120"/>
                  </a:lnTo>
                  <a:lnTo>
                    <a:pt x="0" y="80645"/>
                  </a:lnTo>
                  <a:lnTo>
                    <a:pt x="19050" y="12763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958" name="Google Shape;958;p15"/>
            <p:cNvSpPr/>
            <p:nvPr/>
          </p:nvSpPr>
          <p:spPr>
            <a:xfrm>
              <a:off x="8192134" y="1071880"/>
              <a:ext cx="218440" cy="127634"/>
            </a:xfrm>
            <a:custGeom>
              <a:avLst/>
              <a:gdLst/>
              <a:ahLst/>
              <a:cxnLst/>
              <a:rect l="l" t="t" r="r" b="b"/>
              <a:pathLst>
                <a:path w="218440" h="127634" extrusionOk="0">
                  <a:moveTo>
                    <a:pt x="42545" y="118110"/>
                  </a:moveTo>
                  <a:lnTo>
                    <a:pt x="194945" y="56515"/>
                  </a:lnTo>
                  <a:lnTo>
                    <a:pt x="218440" y="46990"/>
                  </a:lnTo>
                  <a:lnTo>
                    <a:pt x="199390" y="0"/>
                  </a:lnTo>
                  <a:lnTo>
                    <a:pt x="175895" y="9525"/>
                  </a:lnTo>
                  <a:lnTo>
                    <a:pt x="23495" y="71120"/>
                  </a:lnTo>
                  <a:lnTo>
                    <a:pt x="0" y="80645"/>
                  </a:lnTo>
                  <a:lnTo>
                    <a:pt x="19050" y="12763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959" name="Google Shape;959;p15"/>
            <p:cNvSpPr/>
            <p:nvPr/>
          </p:nvSpPr>
          <p:spPr>
            <a:xfrm>
              <a:off x="8827134" y="1433830"/>
              <a:ext cx="218440" cy="127634"/>
            </a:xfrm>
            <a:custGeom>
              <a:avLst/>
              <a:gdLst/>
              <a:ahLst/>
              <a:cxnLst/>
              <a:rect l="l" t="t" r="r" b="b"/>
              <a:pathLst>
                <a:path w="218440" h="127634" extrusionOk="0">
                  <a:moveTo>
                    <a:pt x="19050" y="127635"/>
                  </a:moveTo>
                  <a:lnTo>
                    <a:pt x="42545" y="118110"/>
                  </a:lnTo>
                  <a:lnTo>
                    <a:pt x="194945" y="56515"/>
                  </a:lnTo>
                  <a:lnTo>
                    <a:pt x="218440" y="46990"/>
                  </a:lnTo>
                  <a:lnTo>
                    <a:pt x="199390" y="0"/>
                  </a:lnTo>
                  <a:lnTo>
                    <a:pt x="175895" y="9525"/>
                  </a:lnTo>
                  <a:lnTo>
                    <a:pt x="23495" y="71120"/>
                  </a:lnTo>
                  <a:lnTo>
                    <a:pt x="0" y="8064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960" name="Google Shape;960;p15"/>
            <p:cNvSpPr/>
            <p:nvPr/>
          </p:nvSpPr>
          <p:spPr>
            <a:xfrm>
              <a:off x="9462134" y="1795779"/>
              <a:ext cx="218440" cy="127635"/>
            </a:xfrm>
            <a:custGeom>
              <a:avLst/>
              <a:gdLst/>
              <a:ahLst/>
              <a:cxnLst/>
              <a:rect l="l" t="t" r="r" b="b"/>
              <a:pathLst>
                <a:path w="218440" h="127635" extrusionOk="0">
                  <a:moveTo>
                    <a:pt x="0" y="80645"/>
                  </a:moveTo>
                  <a:lnTo>
                    <a:pt x="19050" y="127635"/>
                  </a:lnTo>
                  <a:lnTo>
                    <a:pt x="42545" y="118110"/>
                  </a:lnTo>
                  <a:lnTo>
                    <a:pt x="194945" y="56515"/>
                  </a:lnTo>
                  <a:lnTo>
                    <a:pt x="218440" y="46990"/>
                  </a:lnTo>
                  <a:lnTo>
                    <a:pt x="199390" y="0"/>
                  </a:lnTo>
                  <a:lnTo>
                    <a:pt x="175895" y="9525"/>
                  </a:lnTo>
                  <a:lnTo>
                    <a:pt x="23495" y="7112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961" name="Google Shape;961;p15"/>
            <p:cNvSpPr/>
            <p:nvPr/>
          </p:nvSpPr>
          <p:spPr>
            <a:xfrm>
              <a:off x="10097134" y="2157729"/>
              <a:ext cx="218440" cy="127635"/>
            </a:xfrm>
            <a:custGeom>
              <a:avLst/>
              <a:gdLst/>
              <a:ahLst/>
              <a:cxnLst/>
              <a:rect l="l" t="t" r="r" b="b"/>
              <a:pathLst>
                <a:path w="218440" h="127635" extrusionOk="0">
                  <a:moveTo>
                    <a:pt x="0" y="80645"/>
                  </a:moveTo>
                  <a:lnTo>
                    <a:pt x="19050" y="127635"/>
                  </a:lnTo>
                  <a:lnTo>
                    <a:pt x="42545" y="118110"/>
                  </a:lnTo>
                  <a:lnTo>
                    <a:pt x="194945" y="56515"/>
                  </a:lnTo>
                  <a:lnTo>
                    <a:pt x="218440" y="46990"/>
                  </a:lnTo>
                  <a:lnTo>
                    <a:pt x="199390" y="0"/>
                  </a:lnTo>
                  <a:lnTo>
                    <a:pt x="175895" y="9525"/>
                  </a:lnTo>
                  <a:lnTo>
                    <a:pt x="23495" y="7112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962" name="Google Shape;962;p15"/>
            <p:cNvSpPr/>
            <p:nvPr/>
          </p:nvSpPr>
          <p:spPr>
            <a:xfrm>
              <a:off x="10732134" y="2519679"/>
              <a:ext cx="218440" cy="127635"/>
            </a:xfrm>
            <a:custGeom>
              <a:avLst/>
              <a:gdLst/>
              <a:ahLst/>
              <a:cxnLst/>
              <a:rect l="l" t="t" r="r" b="b"/>
              <a:pathLst>
                <a:path w="218440" h="127635" extrusionOk="0">
                  <a:moveTo>
                    <a:pt x="0" y="80645"/>
                  </a:moveTo>
                  <a:lnTo>
                    <a:pt x="19050" y="127635"/>
                  </a:lnTo>
                  <a:lnTo>
                    <a:pt x="42545" y="118110"/>
                  </a:lnTo>
                  <a:lnTo>
                    <a:pt x="194945" y="56515"/>
                  </a:lnTo>
                  <a:lnTo>
                    <a:pt x="218440" y="46990"/>
                  </a:lnTo>
                  <a:lnTo>
                    <a:pt x="199390" y="0"/>
                  </a:lnTo>
                  <a:lnTo>
                    <a:pt x="175895" y="9525"/>
                  </a:lnTo>
                  <a:lnTo>
                    <a:pt x="23495" y="7112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963" name="Google Shape;963;p15"/>
            <p:cNvSpPr/>
            <p:nvPr/>
          </p:nvSpPr>
          <p:spPr>
            <a:xfrm>
              <a:off x="11367134" y="2881629"/>
              <a:ext cx="218440" cy="127635"/>
            </a:xfrm>
            <a:custGeom>
              <a:avLst/>
              <a:gdLst/>
              <a:ahLst/>
              <a:cxnLst/>
              <a:rect l="l" t="t" r="r" b="b"/>
              <a:pathLst>
                <a:path w="218440" h="127635" extrusionOk="0">
                  <a:moveTo>
                    <a:pt x="0" y="80645"/>
                  </a:moveTo>
                  <a:lnTo>
                    <a:pt x="19050" y="127635"/>
                  </a:lnTo>
                  <a:lnTo>
                    <a:pt x="42545" y="118110"/>
                  </a:lnTo>
                  <a:lnTo>
                    <a:pt x="194945" y="56515"/>
                  </a:lnTo>
                  <a:lnTo>
                    <a:pt x="218440" y="46990"/>
                  </a:lnTo>
                  <a:lnTo>
                    <a:pt x="199390" y="0"/>
                  </a:lnTo>
                  <a:lnTo>
                    <a:pt x="175895" y="9525"/>
                  </a:lnTo>
                  <a:lnTo>
                    <a:pt x="23495" y="7112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964" name="Google Shape;964;p15"/>
            <p:cNvSpPr/>
            <p:nvPr/>
          </p:nvSpPr>
          <p:spPr>
            <a:xfrm>
              <a:off x="12002134" y="3247389"/>
              <a:ext cx="189865" cy="123825"/>
            </a:xfrm>
            <a:custGeom>
              <a:avLst/>
              <a:gdLst/>
              <a:ahLst/>
              <a:cxnLst/>
              <a:rect l="l" t="t" r="r" b="b"/>
              <a:pathLst>
                <a:path w="189865" h="123825" extrusionOk="0">
                  <a:moveTo>
                    <a:pt x="23495" y="67310"/>
                  </a:moveTo>
                  <a:lnTo>
                    <a:pt x="0" y="76835"/>
                  </a:lnTo>
                  <a:lnTo>
                    <a:pt x="19050" y="123825"/>
                  </a:lnTo>
                  <a:lnTo>
                    <a:pt x="42545" y="114300"/>
                  </a:lnTo>
                  <a:lnTo>
                    <a:pt x="189865" y="54610"/>
                  </a:lnTo>
                  <a:lnTo>
                    <a:pt x="189865" y="0"/>
                  </a:lnTo>
                  <a:lnTo>
                    <a:pt x="175895" y="57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965" name="Google Shape;965;p15"/>
            <p:cNvSpPr/>
            <p:nvPr/>
          </p:nvSpPr>
          <p:spPr>
            <a:xfrm>
              <a:off x="7029450" y="0"/>
              <a:ext cx="222250" cy="128904"/>
            </a:xfrm>
            <a:custGeom>
              <a:avLst/>
              <a:gdLst/>
              <a:ahLst/>
              <a:cxnLst/>
              <a:rect l="l" t="t" r="r" b="b"/>
              <a:pathLst>
                <a:path w="222250" h="128904" extrusionOk="0">
                  <a:moveTo>
                    <a:pt x="47625" y="116205"/>
                  </a:moveTo>
                  <a:lnTo>
                    <a:pt x="200025" y="26670"/>
                  </a:lnTo>
                  <a:lnTo>
                    <a:pt x="222250" y="13970"/>
                  </a:lnTo>
                  <a:lnTo>
                    <a:pt x="213995" y="0"/>
                  </a:lnTo>
                  <a:lnTo>
                    <a:pt x="145415" y="0"/>
                  </a:lnTo>
                  <a:lnTo>
                    <a:pt x="22225" y="72390"/>
                  </a:lnTo>
                  <a:lnTo>
                    <a:pt x="0" y="85090"/>
                  </a:lnTo>
                  <a:lnTo>
                    <a:pt x="26035" y="12890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966" name="Google Shape;966;p15"/>
            <p:cNvSpPr/>
            <p:nvPr/>
          </p:nvSpPr>
          <p:spPr>
            <a:xfrm>
              <a:off x="7664450" y="332104"/>
              <a:ext cx="222250" cy="158750"/>
            </a:xfrm>
            <a:custGeom>
              <a:avLst/>
              <a:gdLst/>
              <a:ahLst/>
              <a:cxnLst/>
              <a:rect l="l" t="t" r="r" b="b"/>
              <a:pathLst>
                <a:path w="222250" h="158750" extrusionOk="0">
                  <a:moveTo>
                    <a:pt x="47625" y="146050"/>
                  </a:moveTo>
                  <a:lnTo>
                    <a:pt x="200025" y="56515"/>
                  </a:lnTo>
                  <a:lnTo>
                    <a:pt x="222250" y="43815"/>
                  </a:lnTo>
                  <a:lnTo>
                    <a:pt x="196215" y="0"/>
                  </a:lnTo>
                  <a:lnTo>
                    <a:pt x="174625" y="12700"/>
                  </a:lnTo>
                  <a:lnTo>
                    <a:pt x="22225" y="102235"/>
                  </a:lnTo>
                  <a:lnTo>
                    <a:pt x="0" y="114935"/>
                  </a:lnTo>
                  <a:lnTo>
                    <a:pt x="26035" y="15875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967" name="Google Shape;967;p15"/>
            <p:cNvSpPr/>
            <p:nvPr/>
          </p:nvSpPr>
          <p:spPr>
            <a:xfrm>
              <a:off x="8299450" y="694055"/>
              <a:ext cx="222250" cy="158750"/>
            </a:xfrm>
            <a:custGeom>
              <a:avLst/>
              <a:gdLst/>
              <a:ahLst/>
              <a:cxnLst/>
              <a:rect l="l" t="t" r="r" b="b"/>
              <a:pathLst>
                <a:path w="222250" h="158750" extrusionOk="0">
                  <a:moveTo>
                    <a:pt x="47625" y="146050"/>
                  </a:moveTo>
                  <a:lnTo>
                    <a:pt x="200025" y="56515"/>
                  </a:lnTo>
                  <a:lnTo>
                    <a:pt x="222250" y="43815"/>
                  </a:lnTo>
                  <a:lnTo>
                    <a:pt x="196215" y="0"/>
                  </a:lnTo>
                  <a:lnTo>
                    <a:pt x="174625" y="12700"/>
                  </a:lnTo>
                  <a:lnTo>
                    <a:pt x="22225" y="102235"/>
                  </a:lnTo>
                  <a:lnTo>
                    <a:pt x="0" y="114935"/>
                  </a:lnTo>
                  <a:lnTo>
                    <a:pt x="26035" y="15875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968" name="Google Shape;968;p15"/>
            <p:cNvSpPr/>
            <p:nvPr/>
          </p:nvSpPr>
          <p:spPr>
            <a:xfrm>
              <a:off x="8934450" y="1056005"/>
              <a:ext cx="222250" cy="158750"/>
            </a:xfrm>
            <a:custGeom>
              <a:avLst/>
              <a:gdLst/>
              <a:ahLst/>
              <a:cxnLst/>
              <a:rect l="l" t="t" r="r" b="b"/>
              <a:pathLst>
                <a:path w="222250" h="158750" extrusionOk="0">
                  <a:moveTo>
                    <a:pt x="47625" y="146050"/>
                  </a:moveTo>
                  <a:lnTo>
                    <a:pt x="200025" y="56515"/>
                  </a:lnTo>
                  <a:lnTo>
                    <a:pt x="222250" y="43815"/>
                  </a:lnTo>
                  <a:lnTo>
                    <a:pt x="196215" y="0"/>
                  </a:lnTo>
                  <a:lnTo>
                    <a:pt x="174625" y="12700"/>
                  </a:lnTo>
                  <a:lnTo>
                    <a:pt x="22225" y="102235"/>
                  </a:lnTo>
                  <a:lnTo>
                    <a:pt x="0" y="114935"/>
                  </a:lnTo>
                  <a:lnTo>
                    <a:pt x="26035" y="15875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969" name="Google Shape;969;p15"/>
            <p:cNvSpPr/>
            <p:nvPr/>
          </p:nvSpPr>
          <p:spPr>
            <a:xfrm>
              <a:off x="9569450" y="1417955"/>
              <a:ext cx="222250" cy="158750"/>
            </a:xfrm>
            <a:custGeom>
              <a:avLst/>
              <a:gdLst/>
              <a:ahLst/>
              <a:cxnLst/>
              <a:rect l="l" t="t" r="r" b="b"/>
              <a:pathLst>
                <a:path w="222250" h="158750" extrusionOk="0">
                  <a:moveTo>
                    <a:pt x="174625" y="12700"/>
                  </a:moveTo>
                  <a:lnTo>
                    <a:pt x="22225" y="102235"/>
                  </a:lnTo>
                  <a:lnTo>
                    <a:pt x="0" y="114935"/>
                  </a:lnTo>
                  <a:lnTo>
                    <a:pt x="26035" y="158750"/>
                  </a:lnTo>
                  <a:lnTo>
                    <a:pt x="47625" y="146050"/>
                  </a:lnTo>
                  <a:lnTo>
                    <a:pt x="200025" y="56515"/>
                  </a:lnTo>
                  <a:lnTo>
                    <a:pt x="222250" y="43815"/>
                  </a:lnTo>
                  <a:lnTo>
                    <a:pt x="19621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970" name="Google Shape;970;p15"/>
            <p:cNvSpPr/>
            <p:nvPr/>
          </p:nvSpPr>
          <p:spPr>
            <a:xfrm>
              <a:off x="10204450" y="1779904"/>
              <a:ext cx="222250" cy="158750"/>
            </a:xfrm>
            <a:custGeom>
              <a:avLst/>
              <a:gdLst/>
              <a:ahLst/>
              <a:cxnLst/>
              <a:rect l="l" t="t" r="r" b="b"/>
              <a:pathLst>
                <a:path w="222250" h="158750" extrusionOk="0">
                  <a:moveTo>
                    <a:pt x="174625" y="12700"/>
                  </a:moveTo>
                  <a:lnTo>
                    <a:pt x="22225" y="102235"/>
                  </a:lnTo>
                  <a:lnTo>
                    <a:pt x="0" y="114935"/>
                  </a:lnTo>
                  <a:lnTo>
                    <a:pt x="26035" y="158750"/>
                  </a:lnTo>
                  <a:lnTo>
                    <a:pt x="47625" y="146050"/>
                  </a:lnTo>
                  <a:lnTo>
                    <a:pt x="200025" y="56515"/>
                  </a:lnTo>
                  <a:lnTo>
                    <a:pt x="222250" y="43815"/>
                  </a:lnTo>
                  <a:lnTo>
                    <a:pt x="19621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971" name="Google Shape;971;p15"/>
            <p:cNvSpPr/>
            <p:nvPr/>
          </p:nvSpPr>
          <p:spPr>
            <a:xfrm>
              <a:off x="10839450" y="2141854"/>
              <a:ext cx="222250" cy="158750"/>
            </a:xfrm>
            <a:custGeom>
              <a:avLst/>
              <a:gdLst/>
              <a:ahLst/>
              <a:cxnLst/>
              <a:rect l="l" t="t" r="r" b="b"/>
              <a:pathLst>
                <a:path w="222250" h="158750" extrusionOk="0">
                  <a:moveTo>
                    <a:pt x="0" y="114935"/>
                  </a:moveTo>
                  <a:lnTo>
                    <a:pt x="26035" y="158750"/>
                  </a:lnTo>
                  <a:lnTo>
                    <a:pt x="47625" y="146050"/>
                  </a:lnTo>
                  <a:lnTo>
                    <a:pt x="200025" y="56515"/>
                  </a:lnTo>
                  <a:lnTo>
                    <a:pt x="222250" y="43815"/>
                  </a:lnTo>
                  <a:lnTo>
                    <a:pt x="196215" y="0"/>
                  </a:lnTo>
                  <a:lnTo>
                    <a:pt x="174625" y="12700"/>
                  </a:lnTo>
                  <a:lnTo>
                    <a:pt x="22225" y="10223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972" name="Google Shape;972;p15"/>
            <p:cNvSpPr/>
            <p:nvPr/>
          </p:nvSpPr>
          <p:spPr>
            <a:xfrm>
              <a:off x="11474450" y="2503804"/>
              <a:ext cx="222250" cy="158750"/>
            </a:xfrm>
            <a:custGeom>
              <a:avLst/>
              <a:gdLst/>
              <a:ahLst/>
              <a:cxnLst/>
              <a:rect l="l" t="t" r="r" b="b"/>
              <a:pathLst>
                <a:path w="222250" h="158750" extrusionOk="0">
                  <a:moveTo>
                    <a:pt x="0" y="114935"/>
                  </a:moveTo>
                  <a:lnTo>
                    <a:pt x="26035" y="158750"/>
                  </a:lnTo>
                  <a:lnTo>
                    <a:pt x="47625" y="146050"/>
                  </a:lnTo>
                  <a:lnTo>
                    <a:pt x="200025" y="56515"/>
                  </a:lnTo>
                  <a:lnTo>
                    <a:pt x="222250" y="43815"/>
                  </a:lnTo>
                  <a:lnTo>
                    <a:pt x="196215" y="0"/>
                  </a:lnTo>
                  <a:lnTo>
                    <a:pt x="174625" y="12700"/>
                  </a:lnTo>
                  <a:lnTo>
                    <a:pt x="22225" y="10223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973" name="Google Shape;973;p15"/>
            <p:cNvSpPr/>
            <p:nvPr/>
          </p:nvSpPr>
          <p:spPr>
            <a:xfrm>
              <a:off x="12109450" y="2932429"/>
              <a:ext cx="82550" cy="92075"/>
            </a:xfrm>
            <a:custGeom>
              <a:avLst/>
              <a:gdLst/>
              <a:ahLst/>
              <a:cxnLst/>
              <a:rect l="l" t="t" r="r" b="b"/>
              <a:pathLst>
                <a:path w="82550" h="92075" extrusionOk="0">
                  <a:moveTo>
                    <a:pt x="0" y="48260"/>
                  </a:moveTo>
                  <a:lnTo>
                    <a:pt x="26035" y="92075"/>
                  </a:lnTo>
                  <a:lnTo>
                    <a:pt x="47625" y="79375"/>
                  </a:lnTo>
                  <a:lnTo>
                    <a:pt x="82550" y="59055"/>
                  </a:lnTo>
                  <a:lnTo>
                    <a:pt x="82550" y="0"/>
                  </a:lnTo>
                  <a:lnTo>
                    <a:pt x="22225" y="3556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974" name="Google Shape;974;p15"/>
            <p:cNvSpPr/>
            <p:nvPr/>
          </p:nvSpPr>
          <p:spPr>
            <a:xfrm>
              <a:off x="7810500" y="0"/>
              <a:ext cx="220980" cy="142239"/>
            </a:xfrm>
            <a:custGeom>
              <a:avLst/>
              <a:gdLst/>
              <a:ahLst/>
              <a:cxnLst/>
              <a:rect l="l" t="t" r="r" b="b"/>
              <a:pathLst>
                <a:path w="220980" h="142239" extrusionOk="0">
                  <a:moveTo>
                    <a:pt x="50800" y="127000"/>
                  </a:moveTo>
                  <a:lnTo>
                    <a:pt x="203200" y="13335"/>
                  </a:lnTo>
                  <a:lnTo>
                    <a:pt x="220980" y="0"/>
                  </a:lnTo>
                  <a:lnTo>
                    <a:pt x="135890" y="0"/>
                  </a:lnTo>
                  <a:lnTo>
                    <a:pt x="20320" y="86360"/>
                  </a:lnTo>
                  <a:lnTo>
                    <a:pt x="0" y="100965"/>
                  </a:lnTo>
                  <a:lnTo>
                    <a:pt x="30480" y="1422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975" name="Google Shape;975;p15"/>
            <p:cNvSpPr/>
            <p:nvPr/>
          </p:nvSpPr>
          <p:spPr>
            <a:xfrm>
              <a:off x="8445500" y="319404"/>
              <a:ext cx="223519" cy="184785"/>
            </a:xfrm>
            <a:custGeom>
              <a:avLst/>
              <a:gdLst/>
              <a:ahLst/>
              <a:cxnLst/>
              <a:rect l="l" t="t" r="r" b="b"/>
              <a:pathLst>
                <a:path w="223519" h="184785" extrusionOk="0">
                  <a:moveTo>
                    <a:pt x="50800" y="169545"/>
                  </a:moveTo>
                  <a:lnTo>
                    <a:pt x="203200" y="55880"/>
                  </a:lnTo>
                  <a:lnTo>
                    <a:pt x="223520" y="40640"/>
                  </a:lnTo>
                  <a:lnTo>
                    <a:pt x="193040" y="0"/>
                  </a:lnTo>
                  <a:lnTo>
                    <a:pt x="172720" y="15240"/>
                  </a:lnTo>
                  <a:lnTo>
                    <a:pt x="20320" y="128905"/>
                  </a:lnTo>
                  <a:lnTo>
                    <a:pt x="0" y="143510"/>
                  </a:lnTo>
                  <a:lnTo>
                    <a:pt x="30480" y="18478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976" name="Google Shape;976;p15"/>
            <p:cNvSpPr/>
            <p:nvPr/>
          </p:nvSpPr>
          <p:spPr>
            <a:xfrm>
              <a:off x="9080500" y="681355"/>
              <a:ext cx="223519" cy="184784"/>
            </a:xfrm>
            <a:custGeom>
              <a:avLst/>
              <a:gdLst/>
              <a:ahLst/>
              <a:cxnLst/>
              <a:rect l="l" t="t" r="r" b="b"/>
              <a:pathLst>
                <a:path w="223519" h="184784" extrusionOk="0">
                  <a:moveTo>
                    <a:pt x="50800" y="169545"/>
                  </a:moveTo>
                  <a:lnTo>
                    <a:pt x="203200" y="55880"/>
                  </a:lnTo>
                  <a:lnTo>
                    <a:pt x="223520" y="40640"/>
                  </a:lnTo>
                  <a:lnTo>
                    <a:pt x="193040" y="0"/>
                  </a:lnTo>
                  <a:lnTo>
                    <a:pt x="172720" y="15240"/>
                  </a:lnTo>
                  <a:lnTo>
                    <a:pt x="20320" y="128905"/>
                  </a:lnTo>
                  <a:lnTo>
                    <a:pt x="0" y="143510"/>
                  </a:lnTo>
                  <a:lnTo>
                    <a:pt x="30480" y="18478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977" name="Google Shape;977;p15"/>
            <p:cNvSpPr/>
            <p:nvPr/>
          </p:nvSpPr>
          <p:spPr>
            <a:xfrm>
              <a:off x="9715500" y="1043305"/>
              <a:ext cx="223519" cy="184784"/>
            </a:xfrm>
            <a:custGeom>
              <a:avLst/>
              <a:gdLst/>
              <a:ahLst/>
              <a:cxnLst/>
              <a:rect l="l" t="t" r="r" b="b"/>
              <a:pathLst>
                <a:path w="223519" h="184784" extrusionOk="0">
                  <a:moveTo>
                    <a:pt x="50800" y="169545"/>
                  </a:moveTo>
                  <a:lnTo>
                    <a:pt x="203200" y="55880"/>
                  </a:lnTo>
                  <a:lnTo>
                    <a:pt x="223520" y="40640"/>
                  </a:lnTo>
                  <a:lnTo>
                    <a:pt x="193040" y="0"/>
                  </a:lnTo>
                  <a:lnTo>
                    <a:pt x="172720" y="15240"/>
                  </a:lnTo>
                  <a:lnTo>
                    <a:pt x="20320" y="128905"/>
                  </a:lnTo>
                  <a:lnTo>
                    <a:pt x="0" y="143510"/>
                  </a:lnTo>
                  <a:lnTo>
                    <a:pt x="30480" y="18478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978" name="Google Shape;978;p15"/>
            <p:cNvSpPr/>
            <p:nvPr/>
          </p:nvSpPr>
          <p:spPr>
            <a:xfrm>
              <a:off x="10350500" y="1405255"/>
              <a:ext cx="223519" cy="184784"/>
            </a:xfrm>
            <a:custGeom>
              <a:avLst/>
              <a:gdLst/>
              <a:ahLst/>
              <a:cxnLst/>
              <a:rect l="l" t="t" r="r" b="b"/>
              <a:pathLst>
                <a:path w="223519" h="184784" extrusionOk="0">
                  <a:moveTo>
                    <a:pt x="0" y="143510"/>
                  </a:moveTo>
                  <a:lnTo>
                    <a:pt x="30480" y="184785"/>
                  </a:lnTo>
                  <a:lnTo>
                    <a:pt x="50800" y="169545"/>
                  </a:lnTo>
                  <a:lnTo>
                    <a:pt x="203200" y="55880"/>
                  </a:lnTo>
                  <a:lnTo>
                    <a:pt x="223520" y="40640"/>
                  </a:lnTo>
                  <a:lnTo>
                    <a:pt x="193040" y="0"/>
                  </a:lnTo>
                  <a:lnTo>
                    <a:pt x="172720" y="15240"/>
                  </a:lnTo>
                  <a:lnTo>
                    <a:pt x="20320" y="12890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979" name="Google Shape;979;p15"/>
            <p:cNvSpPr/>
            <p:nvPr/>
          </p:nvSpPr>
          <p:spPr>
            <a:xfrm>
              <a:off x="10985500" y="1767204"/>
              <a:ext cx="223519" cy="184785"/>
            </a:xfrm>
            <a:custGeom>
              <a:avLst/>
              <a:gdLst/>
              <a:ahLst/>
              <a:cxnLst/>
              <a:rect l="l" t="t" r="r" b="b"/>
              <a:pathLst>
                <a:path w="223519" h="184785" extrusionOk="0">
                  <a:moveTo>
                    <a:pt x="20320" y="128905"/>
                  </a:moveTo>
                  <a:lnTo>
                    <a:pt x="0" y="143510"/>
                  </a:lnTo>
                  <a:lnTo>
                    <a:pt x="30480" y="184785"/>
                  </a:lnTo>
                  <a:lnTo>
                    <a:pt x="50800" y="169545"/>
                  </a:lnTo>
                  <a:lnTo>
                    <a:pt x="203200" y="55880"/>
                  </a:lnTo>
                  <a:lnTo>
                    <a:pt x="223520" y="40640"/>
                  </a:lnTo>
                  <a:lnTo>
                    <a:pt x="193040" y="0"/>
                  </a:lnTo>
                  <a:lnTo>
                    <a:pt x="172720" y="152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980" name="Google Shape;980;p15"/>
            <p:cNvSpPr/>
            <p:nvPr/>
          </p:nvSpPr>
          <p:spPr>
            <a:xfrm>
              <a:off x="11620500" y="2129154"/>
              <a:ext cx="223519" cy="184785"/>
            </a:xfrm>
            <a:custGeom>
              <a:avLst/>
              <a:gdLst/>
              <a:ahLst/>
              <a:cxnLst/>
              <a:rect l="l" t="t" r="r" b="b"/>
              <a:pathLst>
                <a:path w="223519" h="184785" extrusionOk="0">
                  <a:moveTo>
                    <a:pt x="172720" y="15240"/>
                  </a:moveTo>
                  <a:lnTo>
                    <a:pt x="20320" y="128905"/>
                  </a:lnTo>
                  <a:lnTo>
                    <a:pt x="0" y="143510"/>
                  </a:lnTo>
                  <a:lnTo>
                    <a:pt x="30480" y="184785"/>
                  </a:lnTo>
                  <a:lnTo>
                    <a:pt x="50800" y="169545"/>
                  </a:lnTo>
                  <a:lnTo>
                    <a:pt x="203200" y="55880"/>
                  </a:lnTo>
                  <a:lnTo>
                    <a:pt x="223520" y="40640"/>
                  </a:lnTo>
                  <a:lnTo>
                    <a:pt x="19304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981" name="Google Shape;981;p15"/>
            <p:cNvSpPr/>
            <p:nvPr/>
          </p:nvSpPr>
          <p:spPr>
            <a:xfrm>
              <a:off x="8623934" y="0"/>
              <a:ext cx="207009" cy="152400"/>
            </a:xfrm>
            <a:custGeom>
              <a:avLst/>
              <a:gdLst/>
              <a:ahLst/>
              <a:cxnLst/>
              <a:rect l="l" t="t" r="r" b="b"/>
              <a:pathLst>
                <a:path w="207009" h="152400" extrusionOk="0">
                  <a:moveTo>
                    <a:pt x="52705" y="135255"/>
                  </a:moveTo>
                  <a:lnTo>
                    <a:pt x="205105" y="1905"/>
                  </a:lnTo>
                  <a:lnTo>
                    <a:pt x="207010" y="0"/>
                  </a:lnTo>
                  <a:lnTo>
                    <a:pt x="130175" y="0"/>
                  </a:lnTo>
                  <a:lnTo>
                    <a:pt x="19050" y="97155"/>
                  </a:lnTo>
                  <a:lnTo>
                    <a:pt x="0" y="113665"/>
                  </a:lnTo>
                  <a:lnTo>
                    <a:pt x="33020" y="15240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982" name="Google Shape;982;p15"/>
            <p:cNvSpPr/>
            <p:nvPr/>
          </p:nvSpPr>
          <p:spPr>
            <a:xfrm>
              <a:off x="9258934" y="309245"/>
              <a:ext cx="224155" cy="205104"/>
            </a:xfrm>
            <a:custGeom>
              <a:avLst/>
              <a:gdLst/>
              <a:ahLst/>
              <a:cxnLst/>
              <a:rect l="l" t="t" r="r" b="b"/>
              <a:pathLst>
                <a:path w="224155" h="205104" extrusionOk="0">
                  <a:moveTo>
                    <a:pt x="52705" y="187960"/>
                  </a:moveTo>
                  <a:lnTo>
                    <a:pt x="205105" y="54610"/>
                  </a:lnTo>
                  <a:lnTo>
                    <a:pt x="224155" y="38100"/>
                  </a:lnTo>
                  <a:lnTo>
                    <a:pt x="190500" y="0"/>
                  </a:lnTo>
                  <a:lnTo>
                    <a:pt x="171450" y="16510"/>
                  </a:lnTo>
                  <a:lnTo>
                    <a:pt x="19050" y="149860"/>
                  </a:lnTo>
                  <a:lnTo>
                    <a:pt x="0" y="166370"/>
                  </a:lnTo>
                  <a:lnTo>
                    <a:pt x="33020" y="20510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983" name="Google Shape;983;p15"/>
            <p:cNvSpPr/>
            <p:nvPr/>
          </p:nvSpPr>
          <p:spPr>
            <a:xfrm>
              <a:off x="9893934" y="671194"/>
              <a:ext cx="224155" cy="205105"/>
            </a:xfrm>
            <a:custGeom>
              <a:avLst/>
              <a:gdLst/>
              <a:ahLst/>
              <a:cxnLst/>
              <a:rect l="l" t="t" r="r" b="b"/>
              <a:pathLst>
                <a:path w="224155" h="205105" extrusionOk="0">
                  <a:moveTo>
                    <a:pt x="52705" y="187960"/>
                  </a:moveTo>
                  <a:lnTo>
                    <a:pt x="205105" y="54610"/>
                  </a:lnTo>
                  <a:lnTo>
                    <a:pt x="224155" y="38100"/>
                  </a:lnTo>
                  <a:lnTo>
                    <a:pt x="190500" y="0"/>
                  </a:lnTo>
                  <a:lnTo>
                    <a:pt x="171450" y="16510"/>
                  </a:lnTo>
                  <a:lnTo>
                    <a:pt x="19050" y="149860"/>
                  </a:lnTo>
                  <a:lnTo>
                    <a:pt x="0" y="166370"/>
                  </a:lnTo>
                  <a:lnTo>
                    <a:pt x="33020" y="20510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984" name="Google Shape;984;p15"/>
            <p:cNvSpPr/>
            <p:nvPr/>
          </p:nvSpPr>
          <p:spPr>
            <a:xfrm>
              <a:off x="10528934" y="1033144"/>
              <a:ext cx="224155" cy="205105"/>
            </a:xfrm>
            <a:custGeom>
              <a:avLst/>
              <a:gdLst/>
              <a:ahLst/>
              <a:cxnLst/>
              <a:rect l="l" t="t" r="r" b="b"/>
              <a:pathLst>
                <a:path w="224155" h="205105" extrusionOk="0">
                  <a:moveTo>
                    <a:pt x="52705" y="187960"/>
                  </a:moveTo>
                  <a:lnTo>
                    <a:pt x="205105" y="54610"/>
                  </a:lnTo>
                  <a:lnTo>
                    <a:pt x="224155" y="38100"/>
                  </a:lnTo>
                  <a:lnTo>
                    <a:pt x="190500" y="0"/>
                  </a:lnTo>
                  <a:lnTo>
                    <a:pt x="171450" y="16510"/>
                  </a:lnTo>
                  <a:lnTo>
                    <a:pt x="19050" y="149860"/>
                  </a:lnTo>
                  <a:lnTo>
                    <a:pt x="0" y="166370"/>
                  </a:lnTo>
                  <a:lnTo>
                    <a:pt x="33020" y="20510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985" name="Google Shape;985;p15"/>
            <p:cNvSpPr/>
            <p:nvPr/>
          </p:nvSpPr>
          <p:spPr>
            <a:xfrm>
              <a:off x="11163934" y="1395094"/>
              <a:ext cx="224155" cy="205105"/>
            </a:xfrm>
            <a:custGeom>
              <a:avLst/>
              <a:gdLst/>
              <a:ahLst/>
              <a:cxnLst/>
              <a:rect l="l" t="t" r="r" b="b"/>
              <a:pathLst>
                <a:path w="224155" h="205105" extrusionOk="0">
                  <a:moveTo>
                    <a:pt x="171450" y="16510"/>
                  </a:moveTo>
                  <a:lnTo>
                    <a:pt x="19050" y="149860"/>
                  </a:lnTo>
                  <a:lnTo>
                    <a:pt x="0" y="166370"/>
                  </a:lnTo>
                  <a:lnTo>
                    <a:pt x="33020" y="205105"/>
                  </a:lnTo>
                  <a:lnTo>
                    <a:pt x="52705" y="187960"/>
                  </a:lnTo>
                  <a:lnTo>
                    <a:pt x="205105" y="54610"/>
                  </a:lnTo>
                  <a:lnTo>
                    <a:pt x="224155" y="38100"/>
                  </a:lnTo>
                  <a:lnTo>
                    <a:pt x="19050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986" name="Google Shape;986;p15"/>
            <p:cNvSpPr/>
            <p:nvPr/>
          </p:nvSpPr>
          <p:spPr>
            <a:xfrm>
              <a:off x="11798934" y="1757045"/>
              <a:ext cx="224155" cy="205104"/>
            </a:xfrm>
            <a:custGeom>
              <a:avLst/>
              <a:gdLst/>
              <a:ahLst/>
              <a:cxnLst/>
              <a:rect l="l" t="t" r="r" b="b"/>
              <a:pathLst>
                <a:path w="224155" h="205104" extrusionOk="0">
                  <a:moveTo>
                    <a:pt x="224155" y="38100"/>
                  </a:moveTo>
                  <a:lnTo>
                    <a:pt x="190500" y="0"/>
                  </a:lnTo>
                  <a:lnTo>
                    <a:pt x="171450" y="16510"/>
                  </a:lnTo>
                  <a:lnTo>
                    <a:pt x="19050" y="149860"/>
                  </a:lnTo>
                  <a:lnTo>
                    <a:pt x="0" y="166370"/>
                  </a:lnTo>
                  <a:lnTo>
                    <a:pt x="33020" y="205105"/>
                  </a:lnTo>
                  <a:lnTo>
                    <a:pt x="52705" y="187960"/>
                  </a:lnTo>
                  <a:lnTo>
                    <a:pt x="205105" y="5461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987" name="Google Shape;987;p15"/>
            <p:cNvSpPr/>
            <p:nvPr/>
          </p:nvSpPr>
          <p:spPr>
            <a:xfrm>
              <a:off x="9462134" y="0"/>
              <a:ext cx="199390" cy="159385"/>
            </a:xfrm>
            <a:custGeom>
              <a:avLst/>
              <a:gdLst/>
              <a:ahLst/>
              <a:cxnLst/>
              <a:rect l="l" t="t" r="r" b="b"/>
              <a:pathLst>
                <a:path w="199390" h="159385" extrusionOk="0">
                  <a:moveTo>
                    <a:pt x="53340" y="141605"/>
                  </a:moveTo>
                  <a:lnTo>
                    <a:pt x="199390" y="0"/>
                  </a:lnTo>
                  <a:lnTo>
                    <a:pt x="126365" y="0"/>
                  </a:lnTo>
                  <a:lnTo>
                    <a:pt x="17780" y="105410"/>
                  </a:lnTo>
                  <a:lnTo>
                    <a:pt x="0" y="123190"/>
                  </a:lnTo>
                  <a:lnTo>
                    <a:pt x="34925" y="15938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988" name="Google Shape;988;p15"/>
            <p:cNvSpPr/>
            <p:nvPr/>
          </p:nvSpPr>
          <p:spPr>
            <a:xfrm>
              <a:off x="10097134" y="301625"/>
              <a:ext cx="224155" cy="219709"/>
            </a:xfrm>
            <a:custGeom>
              <a:avLst/>
              <a:gdLst/>
              <a:ahLst/>
              <a:cxnLst/>
              <a:rect l="l" t="t" r="r" b="b"/>
              <a:pathLst>
                <a:path w="224155" h="219709" extrusionOk="0">
                  <a:moveTo>
                    <a:pt x="53340" y="201930"/>
                  </a:moveTo>
                  <a:lnTo>
                    <a:pt x="205740" y="53975"/>
                  </a:lnTo>
                  <a:lnTo>
                    <a:pt x="224155" y="36830"/>
                  </a:lnTo>
                  <a:lnTo>
                    <a:pt x="188595" y="0"/>
                  </a:lnTo>
                  <a:lnTo>
                    <a:pt x="170180" y="17780"/>
                  </a:lnTo>
                  <a:lnTo>
                    <a:pt x="17780" y="165735"/>
                  </a:lnTo>
                  <a:lnTo>
                    <a:pt x="0" y="183515"/>
                  </a:lnTo>
                  <a:lnTo>
                    <a:pt x="34925" y="21971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989" name="Google Shape;989;p15"/>
            <p:cNvSpPr/>
            <p:nvPr/>
          </p:nvSpPr>
          <p:spPr>
            <a:xfrm>
              <a:off x="10732134" y="663575"/>
              <a:ext cx="224155" cy="219710"/>
            </a:xfrm>
            <a:custGeom>
              <a:avLst/>
              <a:gdLst/>
              <a:ahLst/>
              <a:cxnLst/>
              <a:rect l="l" t="t" r="r" b="b"/>
              <a:pathLst>
                <a:path w="224155" h="219710" extrusionOk="0">
                  <a:moveTo>
                    <a:pt x="53340" y="201930"/>
                  </a:moveTo>
                  <a:lnTo>
                    <a:pt x="205740" y="53975"/>
                  </a:lnTo>
                  <a:lnTo>
                    <a:pt x="224155" y="36830"/>
                  </a:lnTo>
                  <a:lnTo>
                    <a:pt x="188595" y="0"/>
                  </a:lnTo>
                  <a:lnTo>
                    <a:pt x="170180" y="17780"/>
                  </a:lnTo>
                  <a:lnTo>
                    <a:pt x="17780" y="165735"/>
                  </a:lnTo>
                  <a:lnTo>
                    <a:pt x="0" y="183515"/>
                  </a:lnTo>
                  <a:lnTo>
                    <a:pt x="34925" y="21971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990" name="Google Shape;990;p15"/>
            <p:cNvSpPr/>
            <p:nvPr/>
          </p:nvSpPr>
          <p:spPr>
            <a:xfrm>
              <a:off x="11367134" y="1025525"/>
              <a:ext cx="224155" cy="219710"/>
            </a:xfrm>
            <a:custGeom>
              <a:avLst/>
              <a:gdLst/>
              <a:ahLst/>
              <a:cxnLst/>
              <a:rect l="l" t="t" r="r" b="b"/>
              <a:pathLst>
                <a:path w="224155" h="219710" extrusionOk="0">
                  <a:moveTo>
                    <a:pt x="34925" y="219710"/>
                  </a:moveTo>
                  <a:lnTo>
                    <a:pt x="53340" y="201930"/>
                  </a:lnTo>
                  <a:lnTo>
                    <a:pt x="205740" y="53975"/>
                  </a:lnTo>
                  <a:lnTo>
                    <a:pt x="224155" y="36830"/>
                  </a:lnTo>
                  <a:lnTo>
                    <a:pt x="188595" y="0"/>
                  </a:lnTo>
                  <a:lnTo>
                    <a:pt x="170180" y="17780"/>
                  </a:lnTo>
                  <a:lnTo>
                    <a:pt x="17780" y="165735"/>
                  </a:lnTo>
                  <a:lnTo>
                    <a:pt x="0" y="183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991" name="Google Shape;991;p15"/>
            <p:cNvSpPr/>
            <p:nvPr/>
          </p:nvSpPr>
          <p:spPr>
            <a:xfrm>
              <a:off x="12002134" y="1387475"/>
              <a:ext cx="189865" cy="219710"/>
            </a:xfrm>
            <a:custGeom>
              <a:avLst/>
              <a:gdLst/>
              <a:ahLst/>
              <a:cxnLst/>
              <a:rect l="l" t="t" r="r" b="b"/>
              <a:pathLst>
                <a:path w="189865" h="219710" extrusionOk="0">
                  <a:moveTo>
                    <a:pt x="170180" y="17780"/>
                  </a:moveTo>
                  <a:lnTo>
                    <a:pt x="17780" y="165735"/>
                  </a:lnTo>
                  <a:lnTo>
                    <a:pt x="0" y="183515"/>
                  </a:lnTo>
                  <a:lnTo>
                    <a:pt x="34925" y="219710"/>
                  </a:lnTo>
                  <a:lnTo>
                    <a:pt x="53340" y="201930"/>
                  </a:lnTo>
                  <a:lnTo>
                    <a:pt x="189865" y="69850"/>
                  </a:lnTo>
                  <a:lnTo>
                    <a:pt x="189865" y="1270"/>
                  </a:lnTo>
                  <a:lnTo>
                    <a:pt x="18859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992" name="Google Shape;992;p15"/>
            <p:cNvSpPr/>
            <p:nvPr/>
          </p:nvSpPr>
          <p:spPr>
            <a:xfrm>
              <a:off x="10316844" y="0"/>
              <a:ext cx="195580" cy="163829"/>
            </a:xfrm>
            <a:custGeom>
              <a:avLst/>
              <a:gdLst/>
              <a:ahLst/>
              <a:cxnLst/>
              <a:rect l="l" t="t" r="r" b="b"/>
              <a:pathLst>
                <a:path w="195580" h="163829" extrusionOk="0">
                  <a:moveTo>
                    <a:pt x="53975" y="145415"/>
                  </a:moveTo>
                  <a:lnTo>
                    <a:pt x="195580" y="0"/>
                  </a:lnTo>
                  <a:lnTo>
                    <a:pt x="125095" y="0"/>
                  </a:lnTo>
                  <a:lnTo>
                    <a:pt x="17780" y="109855"/>
                  </a:lnTo>
                  <a:lnTo>
                    <a:pt x="0" y="128270"/>
                  </a:lnTo>
                  <a:lnTo>
                    <a:pt x="36195" y="16383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993" name="Google Shape;993;p15"/>
            <p:cNvSpPr/>
            <p:nvPr/>
          </p:nvSpPr>
          <p:spPr>
            <a:xfrm>
              <a:off x="10951844" y="297179"/>
              <a:ext cx="224155" cy="228600"/>
            </a:xfrm>
            <a:custGeom>
              <a:avLst/>
              <a:gdLst/>
              <a:ahLst/>
              <a:cxnLst/>
              <a:rect l="l" t="t" r="r" b="b"/>
              <a:pathLst>
                <a:path w="224155" h="228600" extrusionOk="0">
                  <a:moveTo>
                    <a:pt x="53975" y="210185"/>
                  </a:moveTo>
                  <a:lnTo>
                    <a:pt x="206375" y="53975"/>
                  </a:lnTo>
                  <a:lnTo>
                    <a:pt x="224155" y="35560"/>
                  </a:lnTo>
                  <a:lnTo>
                    <a:pt x="187961" y="0"/>
                  </a:lnTo>
                  <a:lnTo>
                    <a:pt x="170180" y="18415"/>
                  </a:lnTo>
                  <a:lnTo>
                    <a:pt x="17780" y="174625"/>
                  </a:lnTo>
                  <a:lnTo>
                    <a:pt x="0" y="193040"/>
                  </a:lnTo>
                  <a:lnTo>
                    <a:pt x="36195" y="22860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994" name="Google Shape;994;p15"/>
            <p:cNvSpPr/>
            <p:nvPr/>
          </p:nvSpPr>
          <p:spPr>
            <a:xfrm>
              <a:off x="11586844" y="659130"/>
              <a:ext cx="224155" cy="228600"/>
            </a:xfrm>
            <a:custGeom>
              <a:avLst/>
              <a:gdLst/>
              <a:ahLst/>
              <a:cxnLst/>
              <a:rect l="l" t="t" r="r" b="b"/>
              <a:pathLst>
                <a:path w="224155" h="228600" extrusionOk="0">
                  <a:moveTo>
                    <a:pt x="53975" y="210185"/>
                  </a:moveTo>
                  <a:lnTo>
                    <a:pt x="206375" y="53975"/>
                  </a:lnTo>
                  <a:lnTo>
                    <a:pt x="224155" y="35560"/>
                  </a:lnTo>
                  <a:lnTo>
                    <a:pt x="187961" y="0"/>
                  </a:lnTo>
                  <a:lnTo>
                    <a:pt x="170180" y="18415"/>
                  </a:lnTo>
                  <a:lnTo>
                    <a:pt x="17780" y="174625"/>
                  </a:lnTo>
                  <a:lnTo>
                    <a:pt x="0" y="193040"/>
                  </a:lnTo>
                  <a:lnTo>
                    <a:pt x="36195" y="22860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995" name="Google Shape;995;p15"/>
            <p:cNvSpPr/>
            <p:nvPr/>
          </p:nvSpPr>
          <p:spPr>
            <a:xfrm>
              <a:off x="11179175" y="0"/>
              <a:ext cx="194944" cy="165100"/>
            </a:xfrm>
            <a:custGeom>
              <a:avLst/>
              <a:gdLst/>
              <a:ahLst/>
              <a:cxnLst/>
              <a:rect l="l" t="t" r="r" b="b"/>
              <a:pathLst>
                <a:path w="194944" h="165100" extrusionOk="0">
                  <a:moveTo>
                    <a:pt x="54610" y="146685"/>
                  </a:moveTo>
                  <a:lnTo>
                    <a:pt x="194945" y="0"/>
                  </a:lnTo>
                  <a:lnTo>
                    <a:pt x="124460" y="0"/>
                  </a:lnTo>
                  <a:lnTo>
                    <a:pt x="17780" y="111125"/>
                  </a:lnTo>
                  <a:lnTo>
                    <a:pt x="0" y="129540"/>
                  </a:lnTo>
                  <a:lnTo>
                    <a:pt x="36830" y="16510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996" name="Google Shape;996;p15"/>
            <p:cNvSpPr/>
            <p:nvPr/>
          </p:nvSpPr>
          <p:spPr>
            <a:xfrm>
              <a:off x="11814175" y="296545"/>
              <a:ext cx="224155" cy="230504"/>
            </a:xfrm>
            <a:custGeom>
              <a:avLst/>
              <a:gdLst/>
              <a:ahLst/>
              <a:cxnLst/>
              <a:rect l="l" t="t" r="r" b="b"/>
              <a:pathLst>
                <a:path w="224155" h="230504" extrusionOk="0">
                  <a:moveTo>
                    <a:pt x="54610" y="212090"/>
                  </a:moveTo>
                  <a:lnTo>
                    <a:pt x="207010" y="53340"/>
                  </a:lnTo>
                  <a:lnTo>
                    <a:pt x="224155" y="34925"/>
                  </a:lnTo>
                  <a:lnTo>
                    <a:pt x="187960" y="0"/>
                  </a:lnTo>
                  <a:lnTo>
                    <a:pt x="170180" y="17780"/>
                  </a:lnTo>
                  <a:lnTo>
                    <a:pt x="17780" y="176530"/>
                  </a:lnTo>
                  <a:lnTo>
                    <a:pt x="0" y="194945"/>
                  </a:lnTo>
                  <a:lnTo>
                    <a:pt x="36830" y="23050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997" name="Google Shape;997;p15"/>
            <p:cNvSpPr/>
            <p:nvPr/>
          </p:nvSpPr>
          <p:spPr>
            <a:xfrm>
              <a:off x="12040869" y="0"/>
              <a:ext cx="151130" cy="162560"/>
            </a:xfrm>
            <a:custGeom>
              <a:avLst/>
              <a:gdLst/>
              <a:ahLst/>
              <a:cxnLst/>
              <a:rect l="l" t="t" r="r" b="b"/>
              <a:pathLst>
                <a:path w="151130" h="162560" extrusionOk="0">
                  <a:moveTo>
                    <a:pt x="125095" y="0"/>
                  </a:moveTo>
                  <a:lnTo>
                    <a:pt x="17780" y="109220"/>
                  </a:lnTo>
                  <a:lnTo>
                    <a:pt x="0" y="127000"/>
                  </a:lnTo>
                  <a:lnTo>
                    <a:pt x="36195" y="162560"/>
                  </a:lnTo>
                  <a:lnTo>
                    <a:pt x="53975" y="144780"/>
                  </a:lnTo>
                  <a:lnTo>
                    <a:pt x="151130" y="45720"/>
                  </a:lnTo>
                  <a:lnTo>
                    <a:pt x="15113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grpSp>
      <p:sp>
        <p:nvSpPr>
          <p:cNvPr id="998" name="Google Shape;998;p15"/>
          <p:cNvSpPr/>
          <p:nvPr/>
        </p:nvSpPr>
        <p:spPr>
          <a:xfrm>
            <a:off x="0" y="0"/>
            <a:ext cx="6592800" cy="6867200"/>
          </a:xfrm>
          <a:prstGeom prst="rect">
            <a:avLst/>
          </a:prstGeom>
          <a:solidFill>
            <a:schemeClr val="dk2"/>
          </a:solidFill>
          <a:ln>
            <a:noFill/>
          </a:ln>
        </p:spPr>
        <p:txBody>
          <a:bodyPr spcFirstLastPara="1" wrap="square" lIns="121900" tIns="121900" rIns="121900" bIns="121900"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sp>
        <p:nvSpPr>
          <p:cNvPr id="999" name="Google Shape;999;p15"/>
          <p:cNvSpPr/>
          <p:nvPr/>
        </p:nvSpPr>
        <p:spPr>
          <a:xfrm>
            <a:off x="5437234" y="1475433"/>
            <a:ext cx="1539167" cy="5391667"/>
          </a:xfrm>
          <a:custGeom>
            <a:avLst/>
            <a:gdLst/>
            <a:ahLst/>
            <a:cxnLst/>
            <a:rect l="l" t="t" r="r" b="b"/>
            <a:pathLst>
              <a:path w="46175" h="161750" extrusionOk="0">
                <a:moveTo>
                  <a:pt x="10655" y="0"/>
                </a:moveTo>
                <a:lnTo>
                  <a:pt x="30874" y="24044"/>
                </a:lnTo>
                <a:lnTo>
                  <a:pt x="22404" y="35246"/>
                </a:lnTo>
                <a:lnTo>
                  <a:pt x="16940" y="45082"/>
                </a:lnTo>
                <a:lnTo>
                  <a:pt x="25410" y="59290"/>
                </a:lnTo>
                <a:lnTo>
                  <a:pt x="46175" y="103826"/>
                </a:lnTo>
                <a:lnTo>
                  <a:pt x="38251" y="161477"/>
                </a:lnTo>
                <a:lnTo>
                  <a:pt x="19399" y="161750"/>
                </a:lnTo>
                <a:lnTo>
                  <a:pt x="0" y="160111"/>
                </a:lnTo>
                <a:close/>
              </a:path>
            </a:pathLst>
          </a:custGeom>
          <a:solidFill>
            <a:schemeClr val="dk2"/>
          </a:solidFill>
          <a:ln>
            <a:noFill/>
          </a:ln>
        </p:spPr>
      </p:sp>
      <p:sp>
        <p:nvSpPr>
          <p:cNvPr id="1000" name="Google Shape;1000;p15"/>
          <p:cNvSpPr txBox="1">
            <a:spLocks noGrp="1"/>
          </p:cNvSpPr>
          <p:nvPr>
            <p:ph type="title"/>
          </p:nvPr>
        </p:nvSpPr>
        <p:spPr>
          <a:xfrm>
            <a:off x="951700" y="359997"/>
            <a:ext cx="10515600" cy="975200"/>
          </a:xfrm>
          <a:prstGeom prst="rect">
            <a:avLst/>
          </a:prstGeom>
          <a:noFill/>
          <a:ln>
            <a:noFill/>
          </a:ln>
        </p:spPr>
        <p:txBody>
          <a:bodyPr spcFirstLastPara="1" wrap="square" lIns="0" tIns="0" rIns="68575" bIns="34275" anchor="t" anchorCtr="0">
            <a:noAutofit/>
          </a:bodyPr>
          <a:lstStyle>
            <a:lvl1pPr lvl="0" algn="l" rtl="0">
              <a:lnSpc>
                <a:spcPct val="90000"/>
              </a:lnSpc>
              <a:spcBef>
                <a:spcPts val="0"/>
              </a:spcBef>
              <a:spcAft>
                <a:spcPts val="0"/>
              </a:spcAft>
              <a:buClr>
                <a:schemeClr val="lt1"/>
              </a:buClr>
              <a:buSzPts val="2400"/>
              <a:buFont typeface="Inter Medium"/>
              <a:buNone/>
              <a:defRPr sz="3200">
                <a:solidFill>
                  <a:schemeClr val="lt1"/>
                </a:solidFill>
                <a:latin typeface="Inter Medium"/>
                <a:ea typeface="Inter Medium"/>
                <a:cs typeface="Inter Medium"/>
                <a:sym typeface="Inter Medium"/>
              </a:defRPr>
            </a:lvl1pPr>
            <a:lvl2pPr lvl="1" rtl="0">
              <a:spcBef>
                <a:spcPts val="0"/>
              </a:spcBef>
              <a:spcAft>
                <a:spcPts val="0"/>
              </a:spcAft>
              <a:buClr>
                <a:schemeClr val="lt1"/>
              </a:buClr>
              <a:buSzPts val="1100"/>
              <a:buNone/>
              <a:defRPr b="1">
                <a:solidFill>
                  <a:schemeClr val="lt1"/>
                </a:solidFill>
              </a:defRPr>
            </a:lvl2pPr>
            <a:lvl3pPr lvl="2" rtl="0">
              <a:spcBef>
                <a:spcPts val="0"/>
              </a:spcBef>
              <a:spcAft>
                <a:spcPts val="0"/>
              </a:spcAft>
              <a:buClr>
                <a:schemeClr val="lt1"/>
              </a:buClr>
              <a:buSzPts val="1100"/>
              <a:buNone/>
              <a:defRPr b="1">
                <a:solidFill>
                  <a:schemeClr val="lt1"/>
                </a:solidFill>
              </a:defRPr>
            </a:lvl3pPr>
            <a:lvl4pPr lvl="3" rtl="0">
              <a:spcBef>
                <a:spcPts val="0"/>
              </a:spcBef>
              <a:spcAft>
                <a:spcPts val="0"/>
              </a:spcAft>
              <a:buClr>
                <a:schemeClr val="lt1"/>
              </a:buClr>
              <a:buSzPts val="1100"/>
              <a:buNone/>
              <a:defRPr b="1">
                <a:solidFill>
                  <a:schemeClr val="lt1"/>
                </a:solidFill>
              </a:defRPr>
            </a:lvl4pPr>
            <a:lvl5pPr lvl="4" rtl="0">
              <a:spcBef>
                <a:spcPts val="0"/>
              </a:spcBef>
              <a:spcAft>
                <a:spcPts val="0"/>
              </a:spcAft>
              <a:buClr>
                <a:schemeClr val="lt1"/>
              </a:buClr>
              <a:buSzPts val="1100"/>
              <a:buNone/>
              <a:defRPr b="1">
                <a:solidFill>
                  <a:schemeClr val="lt1"/>
                </a:solidFill>
              </a:defRPr>
            </a:lvl5pPr>
            <a:lvl6pPr lvl="5" rtl="0">
              <a:spcBef>
                <a:spcPts val="0"/>
              </a:spcBef>
              <a:spcAft>
                <a:spcPts val="0"/>
              </a:spcAft>
              <a:buClr>
                <a:schemeClr val="lt1"/>
              </a:buClr>
              <a:buSzPts val="1100"/>
              <a:buNone/>
              <a:defRPr b="1">
                <a:solidFill>
                  <a:schemeClr val="lt1"/>
                </a:solidFill>
              </a:defRPr>
            </a:lvl6pPr>
            <a:lvl7pPr lvl="6" rtl="0">
              <a:spcBef>
                <a:spcPts val="0"/>
              </a:spcBef>
              <a:spcAft>
                <a:spcPts val="0"/>
              </a:spcAft>
              <a:buClr>
                <a:schemeClr val="lt1"/>
              </a:buClr>
              <a:buSzPts val="1100"/>
              <a:buNone/>
              <a:defRPr b="1">
                <a:solidFill>
                  <a:schemeClr val="lt1"/>
                </a:solidFill>
              </a:defRPr>
            </a:lvl7pPr>
            <a:lvl8pPr lvl="7" rtl="0">
              <a:spcBef>
                <a:spcPts val="0"/>
              </a:spcBef>
              <a:spcAft>
                <a:spcPts val="0"/>
              </a:spcAft>
              <a:buClr>
                <a:schemeClr val="lt1"/>
              </a:buClr>
              <a:buSzPts val="1100"/>
              <a:buNone/>
              <a:defRPr b="1">
                <a:solidFill>
                  <a:schemeClr val="lt1"/>
                </a:solidFill>
              </a:defRPr>
            </a:lvl8pPr>
            <a:lvl9pPr lvl="8" rtl="0">
              <a:spcBef>
                <a:spcPts val="0"/>
              </a:spcBef>
              <a:spcAft>
                <a:spcPts val="0"/>
              </a:spcAft>
              <a:buClr>
                <a:schemeClr val="lt1"/>
              </a:buClr>
              <a:buSzPts val="1100"/>
              <a:buNone/>
              <a:defRPr b="1">
                <a:solidFill>
                  <a:schemeClr val="lt1"/>
                </a:solidFill>
              </a:defRPr>
            </a:lvl9pPr>
          </a:lstStyle>
          <a:p>
            <a:endParaRPr/>
          </a:p>
        </p:txBody>
      </p:sp>
      <p:sp>
        <p:nvSpPr>
          <p:cNvPr id="1001" name="Google Shape;1001;p15"/>
          <p:cNvSpPr txBox="1">
            <a:spLocks noGrp="1"/>
          </p:cNvSpPr>
          <p:nvPr>
            <p:ph type="sldNum" idx="12"/>
          </p:nvPr>
        </p:nvSpPr>
        <p:spPr>
          <a:xfrm>
            <a:off x="10978812" y="5993647"/>
            <a:ext cx="731600" cy="524800"/>
          </a:xfrm>
          <a:prstGeom prst="rect">
            <a:avLst/>
          </a:prstGeom>
        </p:spPr>
        <p:txBody>
          <a:bodyPr spcFirstLastPara="1" wrap="square" lIns="91425" tIns="91425" rIns="0" bIns="0" anchor="b" anchorCtr="0">
            <a:noAutofit/>
          </a:bodyPr>
          <a:lstStyle>
            <a:lvl1pPr lvl="0" algn="r" rtl="0">
              <a:buNone/>
              <a:defRPr sz="667">
                <a:solidFill>
                  <a:schemeClr val="lt1"/>
                </a:solidFill>
                <a:latin typeface="Inter"/>
                <a:ea typeface="Inter"/>
                <a:cs typeface="Inter"/>
                <a:sym typeface="Inter"/>
              </a:defRPr>
            </a:lvl1pPr>
            <a:lvl2pPr lvl="1" algn="r" rtl="0">
              <a:buNone/>
              <a:defRPr sz="667">
                <a:solidFill>
                  <a:schemeClr val="lt1"/>
                </a:solidFill>
                <a:latin typeface="Inter"/>
                <a:ea typeface="Inter"/>
                <a:cs typeface="Inter"/>
                <a:sym typeface="Inter"/>
              </a:defRPr>
            </a:lvl2pPr>
            <a:lvl3pPr lvl="2" algn="r" rtl="0">
              <a:buNone/>
              <a:defRPr sz="667">
                <a:solidFill>
                  <a:schemeClr val="lt1"/>
                </a:solidFill>
                <a:latin typeface="Inter"/>
                <a:ea typeface="Inter"/>
                <a:cs typeface="Inter"/>
                <a:sym typeface="Inter"/>
              </a:defRPr>
            </a:lvl3pPr>
            <a:lvl4pPr lvl="3" algn="r" rtl="0">
              <a:buNone/>
              <a:defRPr sz="667">
                <a:solidFill>
                  <a:schemeClr val="lt1"/>
                </a:solidFill>
                <a:latin typeface="Inter"/>
                <a:ea typeface="Inter"/>
                <a:cs typeface="Inter"/>
                <a:sym typeface="Inter"/>
              </a:defRPr>
            </a:lvl4pPr>
            <a:lvl5pPr lvl="4" algn="r" rtl="0">
              <a:buNone/>
              <a:defRPr sz="667">
                <a:solidFill>
                  <a:schemeClr val="lt1"/>
                </a:solidFill>
                <a:latin typeface="Inter"/>
                <a:ea typeface="Inter"/>
                <a:cs typeface="Inter"/>
                <a:sym typeface="Inter"/>
              </a:defRPr>
            </a:lvl5pPr>
            <a:lvl6pPr lvl="5" algn="r" rtl="0">
              <a:buNone/>
              <a:defRPr sz="667">
                <a:solidFill>
                  <a:schemeClr val="lt1"/>
                </a:solidFill>
                <a:latin typeface="Inter"/>
                <a:ea typeface="Inter"/>
                <a:cs typeface="Inter"/>
                <a:sym typeface="Inter"/>
              </a:defRPr>
            </a:lvl6pPr>
            <a:lvl7pPr lvl="6" algn="r" rtl="0">
              <a:buNone/>
              <a:defRPr sz="667">
                <a:solidFill>
                  <a:schemeClr val="lt1"/>
                </a:solidFill>
                <a:latin typeface="Inter"/>
                <a:ea typeface="Inter"/>
                <a:cs typeface="Inter"/>
                <a:sym typeface="Inter"/>
              </a:defRPr>
            </a:lvl7pPr>
            <a:lvl8pPr lvl="7" algn="r" rtl="0">
              <a:buNone/>
              <a:defRPr sz="667">
                <a:solidFill>
                  <a:schemeClr val="lt1"/>
                </a:solidFill>
                <a:latin typeface="Inter"/>
                <a:ea typeface="Inter"/>
                <a:cs typeface="Inter"/>
                <a:sym typeface="Inter"/>
              </a:defRPr>
            </a:lvl8pPr>
            <a:lvl9pPr lvl="8" algn="r" rtl="0">
              <a:buNone/>
              <a:defRPr sz="667">
                <a:solidFill>
                  <a:schemeClr val="lt1"/>
                </a:solidFill>
                <a:latin typeface="Inter"/>
                <a:ea typeface="Inter"/>
                <a:cs typeface="Inter"/>
                <a:sym typeface="Inter"/>
              </a:defRPr>
            </a:lvl9pPr>
          </a:lstStyle>
          <a:p>
            <a:fld id="{00000000-1234-1234-1234-123412341234}" type="slidenum">
              <a:rPr lang="en-GB" smtClean="0"/>
              <a:pPr/>
              <a:t>‹#›</a:t>
            </a:fld>
            <a:endParaRPr lang="en-GB"/>
          </a:p>
        </p:txBody>
      </p:sp>
      <p:sp>
        <p:nvSpPr>
          <p:cNvPr id="1002" name="Google Shape;1002;p15"/>
          <p:cNvSpPr txBox="1"/>
          <p:nvPr/>
        </p:nvSpPr>
        <p:spPr>
          <a:xfrm>
            <a:off x="481600" y="6245247"/>
            <a:ext cx="1288400" cy="273200"/>
          </a:xfrm>
          <a:prstGeom prst="rect">
            <a:avLst/>
          </a:prstGeom>
          <a:noFill/>
          <a:ln>
            <a:noFill/>
          </a:ln>
        </p:spPr>
        <p:txBody>
          <a:bodyPr spcFirstLastPara="1" wrap="square" lIns="0" tIns="0" rIns="0" bIns="0" anchor="b" anchorCtr="0">
            <a:noAutofit/>
          </a:bodyPr>
          <a:lstStyle/>
          <a:p>
            <a:pPr marL="0" lvl="0" indent="0" algn="l" rtl="0">
              <a:spcBef>
                <a:spcPts val="0"/>
              </a:spcBef>
              <a:spcAft>
                <a:spcPts val="0"/>
              </a:spcAft>
              <a:buNone/>
            </a:pPr>
            <a:r>
              <a:rPr lang="en-GB" sz="667">
                <a:solidFill>
                  <a:schemeClr val="lt1"/>
                </a:solidFill>
                <a:latin typeface="Inter"/>
                <a:ea typeface="Inter"/>
                <a:cs typeface="Inter"/>
                <a:sym typeface="Inter"/>
              </a:rPr>
              <a:t>Multiverse</a:t>
            </a:r>
            <a:endParaRPr sz="667">
              <a:solidFill>
                <a:schemeClr val="lt1"/>
              </a:solidFill>
              <a:latin typeface="Inter"/>
              <a:ea typeface="Inter"/>
              <a:cs typeface="Inter"/>
              <a:sym typeface="Inter"/>
            </a:endParaRPr>
          </a:p>
        </p:txBody>
      </p:sp>
      <p:sp>
        <p:nvSpPr>
          <p:cNvPr id="1003" name="Google Shape;1003;p15"/>
          <p:cNvSpPr/>
          <p:nvPr/>
        </p:nvSpPr>
        <p:spPr>
          <a:xfrm>
            <a:off x="481601" y="414630"/>
            <a:ext cx="349111" cy="305471"/>
          </a:xfrm>
          <a:custGeom>
            <a:avLst/>
            <a:gdLst/>
            <a:ahLst/>
            <a:cxnLst/>
            <a:rect l="l" t="t" r="r" b="b"/>
            <a:pathLst>
              <a:path w="1586865" h="1388506" extrusionOk="0">
                <a:moveTo>
                  <a:pt x="1083683" y="969931"/>
                </a:moveTo>
                <a:lnTo>
                  <a:pt x="1083683" y="579692"/>
                </a:lnTo>
                <a:lnTo>
                  <a:pt x="849297" y="969931"/>
                </a:lnTo>
                <a:lnTo>
                  <a:pt x="848892" y="969931"/>
                </a:lnTo>
                <a:cubicBezTo>
                  <a:pt x="848892" y="969931"/>
                  <a:pt x="848892" y="969931"/>
                  <a:pt x="848892" y="969931"/>
                </a:cubicBezTo>
                <a:lnTo>
                  <a:pt x="738783" y="969931"/>
                </a:lnTo>
                <a:lnTo>
                  <a:pt x="738783" y="577668"/>
                </a:lnTo>
                <a:lnTo>
                  <a:pt x="549735" y="892612"/>
                </a:lnTo>
                <a:cubicBezTo>
                  <a:pt x="527876" y="929449"/>
                  <a:pt x="510873" y="958191"/>
                  <a:pt x="503992" y="969931"/>
                </a:cubicBezTo>
                <a:lnTo>
                  <a:pt x="393073" y="969931"/>
                </a:lnTo>
                <a:lnTo>
                  <a:pt x="393073" y="418576"/>
                </a:lnTo>
                <a:lnTo>
                  <a:pt x="503992" y="418576"/>
                </a:lnTo>
                <a:lnTo>
                  <a:pt x="502777" y="760643"/>
                </a:lnTo>
                <a:lnTo>
                  <a:pt x="503587" y="782098"/>
                </a:lnTo>
                <a:lnTo>
                  <a:pt x="721781" y="418981"/>
                </a:lnTo>
                <a:lnTo>
                  <a:pt x="721781" y="418981"/>
                </a:lnTo>
                <a:lnTo>
                  <a:pt x="721781" y="418981"/>
                </a:lnTo>
                <a:lnTo>
                  <a:pt x="739188" y="418981"/>
                </a:lnTo>
                <a:lnTo>
                  <a:pt x="847678" y="418981"/>
                </a:lnTo>
                <a:cubicBezTo>
                  <a:pt x="847678" y="418981"/>
                  <a:pt x="848487" y="722995"/>
                  <a:pt x="848892" y="783717"/>
                </a:cubicBezTo>
                <a:lnTo>
                  <a:pt x="1067895" y="418981"/>
                </a:lnTo>
                <a:lnTo>
                  <a:pt x="1067895" y="418981"/>
                </a:lnTo>
                <a:lnTo>
                  <a:pt x="1067895" y="418981"/>
                </a:lnTo>
                <a:lnTo>
                  <a:pt x="1085302" y="418981"/>
                </a:lnTo>
                <a:lnTo>
                  <a:pt x="1193387" y="418981"/>
                </a:lnTo>
                <a:lnTo>
                  <a:pt x="1193387" y="970336"/>
                </a:lnTo>
                <a:lnTo>
                  <a:pt x="1083683" y="970336"/>
                </a:lnTo>
                <a:close/>
                <a:moveTo>
                  <a:pt x="1190149" y="0"/>
                </a:moveTo>
                <a:lnTo>
                  <a:pt x="396716" y="0"/>
                </a:lnTo>
                <a:lnTo>
                  <a:pt x="0" y="694253"/>
                </a:lnTo>
                <a:lnTo>
                  <a:pt x="396716" y="1388507"/>
                </a:lnTo>
                <a:lnTo>
                  <a:pt x="1190149" y="1388507"/>
                </a:lnTo>
                <a:lnTo>
                  <a:pt x="1586865" y="694253"/>
                </a:lnTo>
                <a:lnTo>
                  <a:pt x="1190149" y="0"/>
                </a:lnTo>
                <a:close/>
              </a:path>
            </a:pathLst>
          </a:custGeom>
          <a:solidFill>
            <a:schemeClr val="lt1"/>
          </a:solidFill>
          <a:ln>
            <a:noFill/>
          </a:ln>
        </p:spPr>
        <p:txBody>
          <a:bodyPr spcFirstLastPara="1" wrap="square" lIns="91433" tIns="45700" rIns="91433" bIns="45700"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004" name="Google Shape;1004;p15"/>
          <p:cNvSpPr txBox="1"/>
          <p:nvPr/>
        </p:nvSpPr>
        <p:spPr>
          <a:xfrm>
            <a:off x="5451800" y="6245247"/>
            <a:ext cx="1288400" cy="273200"/>
          </a:xfrm>
          <a:prstGeom prst="rect">
            <a:avLst/>
          </a:prstGeom>
          <a:noFill/>
          <a:ln>
            <a:noFill/>
          </a:ln>
        </p:spPr>
        <p:txBody>
          <a:bodyPr spcFirstLastPara="1" wrap="square" lIns="0" tIns="0" rIns="0" bIns="0" anchor="b" anchorCtr="0">
            <a:noAutofit/>
          </a:bodyPr>
          <a:lstStyle/>
          <a:p>
            <a:pPr marL="0" lvl="0" indent="0" algn="ctr" rtl="0">
              <a:spcBef>
                <a:spcPts val="0"/>
              </a:spcBef>
              <a:spcAft>
                <a:spcPts val="0"/>
              </a:spcAft>
              <a:buNone/>
            </a:pPr>
            <a:r>
              <a:rPr lang="en-GB" sz="667">
                <a:solidFill>
                  <a:schemeClr val="lt1"/>
                </a:solidFill>
                <a:latin typeface="Inter"/>
                <a:ea typeface="Inter"/>
                <a:cs typeface="Inter"/>
                <a:sym typeface="Inter"/>
              </a:rPr>
              <a:t>Private and Confidential</a:t>
            </a:r>
            <a:endParaRPr sz="667">
              <a:solidFill>
                <a:schemeClr val="lt1"/>
              </a:solidFill>
              <a:latin typeface="Inter"/>
              <a:ea typeface="Inter"/>
              <a:cs typeface="Inter"/>
              <a:sym typeface="Inter"/>
            </a:endParaRPr>
          </a:p>
        </p:txBody>
      </p:sp>
      <p:sp>
        <p:nvSpPr>
          <p:cNvPr id="1005" name="Google Shape;1005;p15"/>
          <p:cNvSpPr/>
          <p:nvPr/>
        </p:nvSpPr>
        <p:spPr>
          <a:xfrm>
            <a:off x="6353034" y="1620567"/>
            <a:ext cx="739833" cy="2360367"/>
          </a:xfrm>
          <a:custGeom>
            <a:avLst/>
            <a:gdLst/>
            <a:ahLst/>
            <a:cxnLst/>
            <a:rect l="l" t="t" r="r" b="b"/>
            <a:pathLst>
              <a:path w="22195" h="70811" extrusionOk="0">
                <a:moveTo>
                  <a:pt x="0" y="0"/>
                </a:moveTo>
                <a:lnTo>
                  <a:pt x="22195" y="11978"/>
                </a:lnTo>
                <a:lnTo>
                  <a:pt x="8103" y="26069"/>
                </a:lnTo>
                <a:lnTo>
                  <a:pt x="15149" y="42275"/>
                </a:lnTo>
                <a:lnTo>
                  <a:pt x="9512" y="47207"/>
                </a:lnTo>
                <a:lnTo>
                  <a:pt x="15149" y="66583"/>
                </a:lnTo>
                <a:lnTo>
                  <a:pt x="2114" y="70811"/>
                </a:lnTo>
                <a:close/>
              </a:path>
            </a:pathLst>
          </a:custGeom>
          <a:solidFill>
            <a:schemeClr val="dk2"/>
          </a:solidFill>
          <a:ln>
            <a:noFill/>
          </a:ln>
        </p:spPr>
      </p:sp>
      <p:sp>
        <p:nvSpPr>
          <p:cNvPr id="1006" name="Google Shape;1006;p15"/>
          <p:cNvSpPr txBox="1">
            <a:spLocks noGrp="1"/>
          </p:cNvSpPr>
          <p:nvPr>
            <p:ph type="body" idx="1"/>
          </p:nvPr>
        </p:nvSpPr>
        <p:spPr>
          <a:xfrm>
            <a:off x="481600" y="1825633"/>
            <a:ext cx="5871600" cy="4351200"/>
          </a:xfrm>
          <a:prstGeom prst="rect">
            <a:avLst/>
          </a:prstGeom>
          <a:noFill/>
          <a:ln>
            <a:noFill/>
          </a:ln>
        </p:spPr>
        <p:txBody>
          <a:bodyPr spcFirstLastPara="1" wrap="square" lIns="0" tIns="34275" rIns="68575" bIns="34275" anchor="t" anchorCtr="0">
            <a:noAutofit/>
          </a:bodyPr>
          <a:lstStyle>
            <a:lvl1pPr marL="609585" lvl="0" indent="-406390" algn="l" rtl="0">
              <a:lnSpc>
                <a:spcPct val="125000"/>
              </a:lnSpc>
              <a:spcBef>
                <a:spcPts val="0"/>
              </a:spcBef>
              <a:spcAft>
                <a:spcPts val="0"/>
              </a:spcAft>
              <a:buClr>
                <a:schemeClr val="lt1"/>
              </a:buClr>
              <a:buSzPts val="1200"/>
              <a:buFont typeface="Inter"/>
              <a:buChar char="●"/>
              <a:defRPr>
                <a:solidFill>
                  <a:schemeClr val="lt1"/>
                </a:solidFill>
              </a:defRPr>
            </a:lvl1pPr>
            <a:lvl2pPr marL="1219170" lvl="1" indent="-406390" algn="l" rtl="0">
              <a:lnSpc>
                <a:spcPct val="125000"/>
              </a:lnSpc>
              <a:spcBef>
                <a:spcPts val="1200"/>
              </a:spcBef>
              <a:spcAft>
                <a:spcPts val="0"/>
              </a:spcAft>
              <a:buClr>
                <a:schemeClr val="lt1"/>
              </a:buClr>
              <a:buSzPts val="1200"/>
              <a:buFont typeface="Inter"/>
              <a:buChar char="●"/>
              <a:defRPr>
                <a:solidFill>
                  <a:schemeClr val="lt1"/>
                </a:solidFill>
              </a:defRPr>
            </a:lvl2pPr>
            <a:lvl3pPr marL="1828754" lvl="2" indent="-406390" algn="l" rtl="0">
              <a:lnSpc>
                <a:spcPct val="125000"/>
              </a:lnSpc>
              <a:spcBef>
                <a:spcPts val="1200"/>
              </a:spcBef>
              <a:spcAft>
                <a:spcPts val="0"/>
              </a:spcAft>
              <a:buClr>
                <a:schemeClr val="lt1"/>
              </a:buClr>
              <a:buSzPts val="1200"/>
              <a:buFont typeface="Inter"/>
              <a:buChar char="●"/>
              <a:defRPr>
                <a:solidFill>
                  <a:schemeClr val="lt1"/>
                </a:solidFill>
              </a:defRPr>
            </a:lvl3pPr>
            <a:lvl4pPr marL="2438339" lvl="3" indent="-406390" algn="l" rtl="0">
              <a:lnSpc>
                <a:spcPct val="125000"/>
              </a:lnSpc>
              <a:spcBef>
                <a:spcPts val="1200"/>
              </a:spcBef>
              <a:spcAft>
                <a:spcPts val="0"/>
              </a:spcAft>
              <a:buClr>
                <a:schemeClr val="lt1"/>
              </a:buClr>
              <a:buSzPts val="1200"/>
              <a:buFont typeface="Inter"/>
              <a:buChar char="●"/>
              <a:defRPr>
                <a:solidFill>
                  <a:schemeClr val="lt1"/>
                </a:solidFill>
              </a:defRPr>
            </a:lvl4pPr>
            <a:lvl5pPr marL="3047924" lvl="4" indent="-406390" algn="l" rtl="0">
              <a:lnSpc>
                <a:spcPct val="125000"/>
              </a:lnSpc>
              <a:spcBef>
                <a:spcPts val="1200"/>
              </a:spcBef>
              <a:spcAft>
                <a:spcPts val="0"/>
              </a:spcAft>
              <a:buClr>
                <a:schemeClr val="lt1"/>
              </a:buClr>
              <a:buSzPts val="1200"/>
              <a:buFont typeface="Inter"/>
              <a:buChar char="●"/>
              <a:defRPr>
                <a:solidFill>
                  <a:schemeClr val="lt1"/>
                </a:solidFill>
              </a:defRPr>
            </a:lvl5pPr>
            <a:lvl6pPr marL="3657509" lvl="5" indent="-406390" algn="l" rtl="0">
              <a:lnSpc>
                <a:spcPct val="125000"/>
              </a:lnSpc>
              <a:spcBef>
                <a:spcPts val="1200"/>
              </a:spcBef>
              <a:spcAft>
                <a:spcPts val="0"/>
              </a:spcAft>
              <a:buClr>
                <a:schemeClr val="lt1"/>
              </a:buClr>
              <a:buSzPts val="1200"/>
              <a:buFont typeface="Inter"/>
              <a:buChar char="●"/>
              <a:defRPr>
                <a:solidFill>
                  <a:schemeClr val="lt1"/>
                </a:solidFill>
              </a:defRPr>
            </a:lvl6pPr>
            <a:lvl7pPr marL="4267093" lvl="6" indent="-406390" algn="l" rtl="0">
              <a:lnSpc>
                <a:spcPct val="125000"/>
              </a:lnSpc>
              <a:spcBef>
                <a:spcPts val="1200"/>
              </a:spcBef>
              <a:spcAft>
                <a:spcPts val="0"/>
              </a:spcAft>
              <a:buClr>
                <a:schemeClr val="lt1"/>
              </a:buClr>
              <a:buSzPts val="1200"/>
              <a:buFont typeface="Inter"/>
              <a:buChar char="●"/>
              <a:defRPr>
                <a:solidFill>
                  <a:schemeClr val="lt1"/>
                </a:solidFill>
              </a:defRPr>
            </a:lvl7pPr>
            <a:lvl8pPr marL="4876678" lvl="7" indent="-406390" algn="l" rtl="0">
              <a:lnSpc>
                <a:spcPct val="125000"/>
              </a:lnSpc>
              <a:spcBef>
                <a:spcPts val="1200"/>
              </a:spcBef>
              <a:spcAft>
                <a:spcPts val="0"/>
              </a:spcAft>
              <a:buClr>
                <a:schemeClr val="lt1"/>
              </a:buClr>
              <a:buSzPts val="1200"/>
              <a:buFont typeface="Inter"/>
              <a:buChar char="●"/>
              <a:defRPr>
                <a:solidFill>
                  <a:schemeClr val="lt1"/>
                </a:solidFill>
              </a:defRPr>
            </a:lvl8pPr>
            <a:lvl9pPr marL="5486263" lvl="8" indent="-406390" algn="l" rtl="0">
              <a:lnSpc>
                <a:spcPct val="125000"/>
              </a:lnSpc>
              <a:spcBef>
                <a:spcPts val="1200"/>
              </a:spcBef>
              <a:spcAft>
                <a:spcPts val="1200"/>
              </a:spcAft>
              <a:buClr>
                <a:schemeClr val="lt1"/>
              </a:buClr>
              <a:buSzPts val="1200"/>
              <a:buFont typeface="Inter"/>
              <a:buChar char="●"/>
              <a:defRPr>
                <a:solidFill>
                  <a:schemeClr val="lt1"/>
                </a:solidFill>
              </a:defRPr>
            </a:lvl9pPr>
          </a:lstStyle>
          <a:p>
            <a:endParaRPr/>
          </a:p>
        </p:txBody>
      </p:sp>
    </p:spTree>
    <p:extLst>
      <p:ext uri="{BB962C8B-B14F-4D97-AF65-F5344CB8AC3E}">
        <p14:creationId xmlns:p14="http://schemas.microsoft.com/office/powerpoint/2010/main" val="134345013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Title and Content with Pattern 3">
  <p:cSld name="Title and Content with Pattern 3">
    <p:bg>
      <p:bgPr>
        <a:solidFill>
          <a:schemeClr val="dk2"/>
        </a:solidFill>
        <a:effectLst/>
      </p:bgPr>
    </p:bg>
    <p:spTree>
      <p:nvGrpSpPr>
        <p:cNvPr id="1" name="Shape 1007"/>
        <p:cNvGrpSpPr/>
        <p:nvPr/>
      </p:nvGrpSpPr>
      <p:grpSpPr>
        <a:xfrm>
          <a:off x="0" y="0"/>
          <a:ext cx="0" cy="0"/>
          <a:chOff x="0" y="0"/>
          <a:chExt cx="0" cy="0"/>
        </a:xfrm>
      </p:grpSpPr>
      <p:grpSp>
        <p:nvGrpSpPr>
          <p:cNvPr id="1008" name="Google Shape;1008;p16"/>
          <p:cNvGrpSpPr/>
          <p:nvPr/>
        </p:nvGrpSpPr>
        <p:grpSpPr>
          <a:xfrm>
            <a:off x="0" y="0"/>
            <a:ext cx="12192000" cy="6858000"/>
            <a:chOff x="0" y="0"/>
            <a:chExt cx="12192000" cy="6858000"/>
          </a:xfrm>
        </p:grpSpPr>
        <p:sp>
          <p:nvSpPr>
            <p:cNvPr id="1009" name="Google Shape;1009;p16"/>
            <p:cNvSpPr/>
            <p:nvPr/>
          </p:nvSpPr>
          <p:spPr>
            <a:xfrm>
              <a:off x="417830" y="6829425"/>
              <a:ext cx="57784" cy="28575"/>
            </a:xfrm>
            <a:custGeom>
              <a:avLst/>
              <a:gdLst/>
              <a:ahLst/>
              <a:cxnLst/>
              <a:rect l="l" t="t" r="r" b="b"/>
              <a:pathLst>
                <a:path w="57784" h="28575" extrusionOk="0">
                  <a:moveTo>
                    <a:pt x="15240" y="16510"/>
                  </a:moveTo>
                  <a:lnTo>
                    <a:pt x="0" y="28575"/>
                  </a:lnTo>
                  <a:lnTo>
                    <a:pt x="57785" y="28575"/>
                  </a:lnTo>
                  <a:lnTo>
                    <a:pt x="3556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010" name="Google Shape;1010;p16"/>
            <p:cNvSpPr/>
            <p:nvPr/>
          </p:nvSpPr>
          <p:spPr>
            <a:xfrm>
              <a:off x="450850" y="6458584"/>
              <a:ext cx="224155" cy="212090"/>
            </a:xfrm>
            <a:custGeom>
              <a:avLst/>
              <a:gdLst/>
              <a:ahLst/>
              <a:cxnLst/>
              <a:rect l="l" t="t" r="r" b="b"/>
              <a:pathLst>
                <a:path w="224155" h="212090" extrusionOk="0">
                  <a:moveTo>
                    <a:pt x="170815" y="17145"/>
                  </a:moveTo>
                  <a:lnTo>
                    <a:pt x="18415" y="157480"/>
                  </a:lnTo>
                  <a:lnTo>
                    <a:pt x="0" y="174625"/>
                  </a:lnTo>
                  <a:lnTo>
                    <a:pt x="34290" y="212090"/>
                  </a:lnTo>
                  <a:lnTo>
                    <a:pt x="52705" y="194945"/>
                  </a:lnTo>
                  <a:lnTo>
                    <a:pt x="205105" y="54610"/>
                  </a:lnTo>
                  <a:lnTo>
                    <a:pt x="224155" y="37465"/>
                  </a:lnTo>
                  <a:lnTo>
                    <a:pt x="18986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011" name="Google Shape;1011;p16"/>
            <p:cNvSpPr/>
            <p:nvPr/>
          </p:nvSpPr>
          <p:spPr>
            <a:xfrm>
              <a:off x="1235075" y="6820534"/>
              <a:ext cx="74930" cy="37465"/>
            </a:xfrm>
            <a:custGeom>
              <a:avLst/>
              <a:gdLst/>
              <a:ahLst/>
              <a:cxnLst/>
              <a:rect l="l" t="t" r="r" b="b"/>
              <a:pathLst>
                <a:path w="74930" h="37465" extrusionOk="0">
                  <a:moveTo>
                    <a:pt x="21590" y="17145"/>
                  </a:moveTo>
                  <a:lnTo>
                    <a:pt x="0" y="37465"/>
                  </a:lnTo>
                  <a:lnTo>
                    <a:pt x="74930" y="37465"/>
                  </a:lnTo>
                  <a:lnTo>
                    <a:pt x="4064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012" name="Google Shape;1012;p16"/>
            <p:cNvSpPr/>
            <p:nvPr/>
          </p:nvSpPr>
          <p:spPr>
            <a:xfrm>
              <a:off x="26669" y="5728970"/>
              <a:ext cx="224155" cy="223520"/>
            </a:xfrm>
            <a:custGeom>
              <a:avLst/>
              <a:gdLst/>
              <a:ahLst/>
              <a:cxnLst/>
              <a:rect l="l" t="t" r="r" b="b"/>
              <a:pathLst>
                <a:path w="224155" h="223520" extrusionOk="0">
                  <a:moveTo>
                    <a:pt x="170180" y="17780"/>
                  </a:moveTo>
                  <a:lnTo>
                    <a:pt x="17780" y="170180"/>
                  </a:lnTo>
                  <a:lnTo>
                    <a:pt x="0" y="187960"/>
                  </a:lnTo>
                  <a:lnTo>
                    <a:pt x="36195" y="223520"/>
                  </a:lnTo>
                  <a:lnTo>
                    <a:pt x="53975" y="205740"/>
                  </a:lnTo>
                  <a:lnTo>
                    <a:pt x="206375" y="53975"/>
                  </a:lnTo>
                  <a:lnTo>
                    <a:pt x="224155" y="35560"/>
                  </a:lnTo>
                  <a:lnTo>
                    <a:pt x="18859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013" name="Google Shape;1013;p16"/>
            <p:cNvSpPr/>
            <p:nvPr/>
          </p:nvSpPr>
          <p:spPr>
            <a:xfrm>
              <a:off x="661669" y="6090920"/>
              <a:ext cx="224155" cy="223520"/>
            </a:xfrm>
            <a:custGeom>
              <a:avLst/>
              <a:gdLst/>
              <a:ahLst/>
              <a:cxnLst/>
              <a:rect l="l" t="t" r="r" b="b"/>
              <a:pathLst>
                <a:path w="224155" h="223520" extrusionOk="0">
                  <a:moveTo>
                    <a:pt x="170180" y="17780"/>
                  </a:moveTo>
                  <a:lnTo>
                    <a:pt x="17780" y="170180"/>
                  </a:lnTo>
                  <a:lnTo>
                    <a:pt x="0" y="187960"/>
                  </a:lnTo>
                  <a:lnTo>
                    <a:pt x="36195" y="223520"/>
                  </a:lnTo>
                  <a:lnTo>
                    <a:pt x="53975" y="205740"/>
                  </a:lnTo>
                  <a:lnTo>
                    <a:pt x="206375" y="53975"/>
                  </a:lnTo>
                  <a:lnTo>
                    <a:pt x="224155" y="35560"/>
                  </a:lnTo>
                  <a:lnTo>
                    <a:pt x="18859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014" name="Google Shape;1014;p16"/>
            <p:cNvSpPr/>
            <p:nvPr/>
          </p:nvSpPr>
          <p:spPr>
            <a:xfrm>
              <a:off x="1296669" y="6452870"/>
              <a:ext cx="224155" cy="223520"/>
            </a:xfrm>
            <a:custGeom>
              <a:avLst/>
              <a:gdLst/>
              <a:ahLst/>
              <a:cxnLst/>
              <a:rect l="l" t="t" r="r" b="b"/>
              <a:pathLst>
                <a:path w="224155" h="223520" extrusionOk="0">
                  <a:moveTo>
                    <a:pt x="170180" y="17780"/>
                  </a:moveTo>
                  <a:lnTo>
                    <a:pt x="17780" y="170180"/>
                  </a:lnTo>
                  <a:lnTo>
                    <a:pt x="0" y="187960"/>
                  </a:lnTo>
                  <a:lnTo>
                    <a:pt x="36195" y="223520"/>
                  </a:lnTo>
                  <a:lnTo>
                    <a:pt x="53975" y="205740"/>
                  </a:lnTo>
                  <a:lnTo>
                    <a:pt x="206375" y="53975"/>
                  </a:lnTo>
                  <a:lnTo>
                    <a:pt x="224155" y="35560"/>
                  </a:lnTo>
                  <a:lnTo>
                    <a:pt x="18859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015" name="Google Shape;1015;p16"/>
            <p:cNvSpPr/>
            <p:nvPr/>
          </p:nvSpPr>
          <p:spPr>
            <a:xfrm>
              <a:off x="2076450" y="6814819"/>
              <a:ext cx="79375" cy="43180"/>
            </a:xfrm>
            <a:custGeom>
              <a:avLst/>
              <a:gdLst/>
              <a:ahLst/>
              <a:cxnLst/>
              <a:rect l="l" t="t" r="r" b="b"/>
              <a:pathLst>
                <a:path w="79375" h="43180" extrusionOk="0">
                  <a:moveTo>
                    <a:pt x="25400" y="17780"/>
                  </a:moveTo>
                  <a:lnTo>
                    <a:pt x="0" y="43180"/>
                  </a:lnTo>
                  <a:lnTo>
                    <a:pt x="72390" y="43180"/>
                  </a:lnTo>
                  <a:lnTo>
                    <a:pt x="79375" y="35561"/>
                  </a:lnTo>
                  <a:lnTo>
                    <a:pt x="4381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016" name="Google Shape;1016;p16"/>
            <p:cNvSpPr/>
            <p:nvPr/>
          </p:nvSpPr>
          <p:spPr>
            <a:xfrm>
              <a:off x="250825" y="5363845"/>
              <a:ext cx="224155" cy="229870"/>
            </a:xfrm>
            <a:custGeom>
              <a:avLst/>
              <a:gdLst/>
              <a:ahLst/>
              <a:cxnLst/>
              <a:rect l="l" t="t" r="r" b="b"/>
              <a:pathLst>
                <a:path w="224155" h="229870" extrusionOk="0">
                  <a:moveTo>
                    <a:pt x="224155" y="35560"/>
                  </a:moveTo>
                  <a:lnTo>
                    <a:pt x="187960" y="0"/>
                  </a:lnTo>
                  <a:lnTo>
                    <a:pt x="170180" y="18415"/>
                  </a:lnTo>
                  <a:lnTo>
                    <a:pt x="17780" y="176530"/>
                  </a:lnTo>
                  <a:lnTo>
                    <a:pt x="0" y="194945"/>
                  </a:lnTo>
                  <a:lnTo>
                    <a:pt x="36830" y="229870"/>
                  </a:lnTo>
                  <a:lnTo>
                    <a:pt x="53975" y="211455"/>
                  </a:lnTo>
                  <a:lnTo>
                    <a:pt x="206375" y="533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017" name="Google Shape;1017;p16"/>
            <p:cNvSpPr/>
            <p:nvPr/>
          </p:nvSpPr>
          <p:spPr>
            <a:xfrm>
              <a:off x="885825" y="5725795"/>
              <a:ext cx="224155" cy="229870"/>
            </a:xfrm>
            <a:custGeom>
              <a:avLst/>
              <a:gdLst/>
              <a:ahLst/>
              <a:cxnLst/>
              <a:rect l="l" t="t" r="r" b="b"/>
              <a:pathLst>
                <a:path w="224155" h="229870" extrusionOk="0">
                  <a:moveTo>
                    <a:pt x="170180" y="18415"/>
                  </a:moveTo>
                  <a:lnTo>
                    <a:pt x="17780" y="176530"/>
                  </a:lnTo>
                  <a:lnTo>
                    <a:pt x="0" y="194945"/>
                  </a:lnTo>
                  <a:lnTo>
                    <a:pt x="36830" y="229870"/>
                  </a:lnTo>
                  <a:lnTo>
                    <a:pt x="53975" y="211455"/>
                  </a:lnTo>
                  <a:lnTo>
                    <a:pt x="206375" y="53340"/>
                  </a:lnTo>
                  <a:lnTo>
                    <a:pt x="224155" y="35560"/>
                  </a:lnTo>
                  <a:lnTo>
                    <a:pt x="18796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018" name="Google Shape;1018;p16"/>
            <p:cNvSpPr/>
            <p:nvPr/>
          </p:nvSpPr>
          <p:spPr>
            <a:xfrm>
              <a:off x="1520825" y="6087745"/>
              <a:ext cx="224154" cy="229870"/>
            </a:xfrm>
            <a:custGeom>
              <a:avLst/>
              <a:gdLst/>
              <a:ahLst/>
              <a:cxnLst/>
              <a:rect l="l" t="t" r="r" b="b"/>
              <a:pathLst>
                <a:path w="224154" h="229870" extrusionOk="0">
                  <a:moveTo>
                    <a:pt x="170180" y="18415"/>
                  </a:moveTo>
                  <a:lnTo>
                    <a:pt x="17780" y="176530"/>
                  </a:lnTo>
                  <a:lnTo>
                    <a:pt x="0" y="194945"/>
                  </a:lnTo>
                  <a:lnTo>
                    <a:pt x="36830" y="229870"/>
                  </a:lnTo>
                  <a:lnTo>
                    <a:pt x="53975" y="211455"/>
                  </a:lnTo>
                  <a:lnTo>
                    <a:pt x="206375" y="53340"/>
                  </a:lnTo>
                  <a:lnTo>
                    <a:pt x="224155" y="35560"/>
                  </a:lnTo>
                  <a:lnTo>
                    <a:pt x="18796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019" name="Google Shape;1019;p16"/>
            <p:cNvSpPr/>
            <p:nvPr/>
          </p:nvSpPr>
          <p:spPr>
            <a:xfrm>
              <a:off x="2155825" y="6449695"/>
              <a:ext cx="224154" cy="229870"/>
            </a:xfrm>
            <a:custGeom>
              <a:avLst/>
              <a:gdLst/>
              <a:ahLst/>
              <a:cxnLst/>
              <a:rect l="l" t="t" r="r" b="b"/>
              <a:pathLst>
                <a:path w="224154" h="229870" extrusionOk="0">
                  <a:moveTo>
                    <a:pt x="170180" y="18415"/>
                  </a:moveTo>
                  <a:lnTo>
                    <a:pt x="17780" y="176530"/>
                  </a:lnTo>
                  <a:lnTo>
                    <a:pt x="0" y="194945"/>
                  </a:lnTo>
                  <a:lnTo>
                    <a:pt x="36830" y="229870"/>
                  </a:lnTo>
                  <a:lnTo>
                    <a:pt x="53975" y="211455"/>
                  </a:lnTo>
                  <a:lnTo>
                    <a:pt x="206375" y="53340"/>
                  </a:lnTo>
                  <a:lnTo>
                    <a:pt x="224155" y="35560"/>
                  </a:lnTo>
                  <a:lnTo>
                    <a:pt x="18796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020" name="Google Shape;1020;p16"/>
            <p:cNvSpPr/>
            <p:nvPr/>
          </p:nvSpPr>
          <p:spPr>
            <a:xfrm>
              <a:off x="2933700" y="6811644"/>
              <a:ext cx="81279" cy="46355"/>
            </a:xfrm>
            <a:custGeom>
              <a:avLst/>
              <a:gdLst/>
              <a:ahLst/>
              <a:cxnLst/>
              <a:rect l="l" t="t" r="r" b="b"/>
              <a:pathLst>
                <a:path w="81279" h="46355" extrusionOk="0">
                  <a:moveTo>
                    <a:pt x="27305" y="18415"/>
                  </a:moveTo>
                  <a:lnTo>
                    <a:pt x="0" y="46355"/>
                  </a:lnTo>
                  <a:lnTo>
                    <a:pt x="70485" y="46355"/>
                  </a:lnTo>
                  <a:lnTo>
                    <a:pt x="81280" y="35561"/>
                  </a:lnTo>
                  <a:lnTo>
                    <a:pt x="4508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021" name="Google Shape;1021;p16"/>
            <p:cNvSpPr/>
            <p:nvPr/>
          </p:nvSpPr>
          <p:spPr>
            <a:xfrm>
              <a:off x="478790" y="5001895"/>
              <a:ext cx="224790" cy="229870"/>
            </a:xfrm>
            <a:custGeom>
              <a:avLst/>
              <a:gdLst/>
              <a:ahLst/>
              <a:cxnLst/>
              <a:rect l="l" t="t" r="r" b="b"/>
              <a:pathLst>
                <a:path w="224790" h="229870" extrusionOk="0">
                  <a:moveTo>
                    <a:pt x="54610" y="211455"/>
                  </a:moveTo>
                  <a:lnTo>
                    <a:pt x="207010" y="53975"/>
                  </a:lnTo>
                  <a:lnTo>
                    <a:pt x="224790" y="35560"/>
                  </a:lnTo>
                  <a:lnTo>
                    <a:pt x="187960" y="0"/>
                  </a:lnTo>
                  <a:lnTo>
                    <a:pt x="170180" y="18415"/>
                  </a:lnTo>
                  <a:lnTo>
                    <a:pt x="17780" y="176530"/>
                  </a:lnTo>
                  <a:lnTo>
                    <a:pt x="0" y="194310"/>
                  </a:lnTo>
                  <a:lnTo>
                    <a:pt x="36830" y="22987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022" name="Google Shape;1022;p16"/>
            <p:cNvSpPr/>
            <p:nvPr/>
          </p:nvSpPr>
          <p:spPr>
            <a:xfrm>
              <a:off x="1113789" y="5363845"/>
              <a:ext cx="224790" cy="229870"/>
            </a:xfrm>
            <a:custGeom>
              <a:avLst/>
              <a:gdLst/>
              <a:ahLst/>
              <a:cxnLst/>
              <a:rect l="l" t="t" r="r" b="b"/>
              <a:pathLst>
                <a:path w="224790" h="229870" extrusionOk="0">
                  <a:moveTo>
                    <a:pt x="224790" y="35560"/>
                  </a:moveTo>
                  <a:lnTo>
                    <a:pt x="187960" y="0"/>
                  </a:lnTo>
                  <a:lnTo>
                    <a:pt x="170180" y="18415"/>
                  </a:lnTo>
                  <a:lnTo>
                    <a:pt x="17780" y="176530"/>
                  </a:lnTo>
                  <a:lnTo>
                    <a:pt x="0" y="194310"/>
                  </a:lnTo>
                  <a:lnTo>
                    <a:pt x="36830" y="229870"/>
                  </a:lnTo>
                  <a:lnTo>
                    <a:pt x="54610" y="211455"/>
                  </a:lnTo>
                  <a:lnTo>
                    <a:pt x="207010" y="5397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023" name="Google Shape;1023;p16"/>
            <p:cNvSpPr/>
            <p:nvPr/>
          </p:nvSpPr>
          <p:spPr>
            <a:xfrm>
              <a:off x="1748789" y="5725795"/>
              <a:ext cx="224789" cy="229870"/>
            </a:xfrm>
            <a:custGeom>
              <a:avLst/>
              <a:gdLst/>
              <a:ahLst/>
              <a:cxnLst/>
              <a:rect l="l" t="t" r="r" b="b"/>
              <a:pathLst>
                <a:path w="224789" h="229870" extrusionOk="0">
                  <a:moveTo>
                    <a:pt x="170180" y="18415"/>
                  </a:moveTo>
                  <a:lnTo>
                    <a:pt x="17780" y="176530"/>
                  </a:lnTo>
                  <a:lnTo>
                    <a:pt x="0" y="194310"/>
                  </a:lnTo>
                  <a:lnTo>
                    <a:pt x="36830" y="229870"/>
                  </a:lnTo>
                  <a:lnTo>
                    <a:pt x="54610" y="211455"/>
                  </a:lnTo>
                  <a:lnTo>
                    <a:pt x="207010" y="53975"/>
                  </a:lnTo>
                  <a:lnTo>
                    <a:pt x="224790" y="35560"/>
                  </a:lnTo>
                  <a:lnTo>
                    <a:pt x="18796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024" name="Google Shape;1024;p16"/>
            <p:cNvSpPr/>
            <p:nvPr/>
          </p:nvSpPr>
          <p:spPr>
            <a:xfrm>
              <a:off x="2383789" y="6087745"/>
              <a:ext cx="224789" cy="229870"/>
            </a:xfrm>
            <a:custGeom>
              <a:avLst/>
              <a:gdLst/>
              <a:ahLst/>
              <a:cxnLst/>
              <a:rect l="l" t="t" r="r" b="b"/>
              <a:pathLst>
                <a:path w="224789" h="229870" extrusionOk="0">
                  <a:moveTo>
                    <a:pt x="170180" y="18415"/>
                  </a:moveTo>
                  <a:lnTo>
                    <a:pt x="17780" y="176530"/>
                  </a:lnTo>
                  <a:lnTo>
                    <a:pt x="0" y="194310"/>
                  </a:lnTo>
                  <a:lnTo>
                    <a:pt x="36830" y="229870"/>
                  </a:lnTo>
                  <a:lnTo>
                    <a:pt x="54610" y="211455"/>
                  </a:lnTo>
                  <a:lnTo>
                    <a:pt x="207010" y="53975"/>
                  </a:lnTo>
                  <a:lnTo>
                    <a:pt x="224790" y="35560"/>
                  </a:lnTo>
                  <a:lnTo>
                    <a:pt x="18796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025" name="Google Shape;1025;p16"/>
            <p:cNvSpPr/>
            <p:nvPr/>
          </p:nvSpPr>
          <p:spPr>
            <a:xfrm>
              <a:off x="3018789" y="6449695"/>
              <a:ext cx="224789" cy="229870"/>
            </a:xfrm>
            <a:custGeom>
              <a:avLst/>
              <a:gdLst/>
              <a:ahLst/>
              <a:cxnLst/>
              <a:rect l="l" t="t" r="r" b="b"/>
              <a:pathLst>
                <a:path w="224789" h="229870" extrusionOk="0">
                  <a:moveTo>
                    <a:pt x="170180" y="18415"/>
                  </a:moveTo>
                  <a:lnTo>
                    <a:pt x="17780" y="176530"/>
                  </a:lnTo>
                  <a:lnTo>
                    <a:pt x="0" y="194310"/>
                  </a:lnTo>
                  <a:lnTo>
                    <a:pt x="36830" y="229870"/>
                  </a:lnTo>
                  <a:lnTo>
                    <a:pt x="54610" y="211455"/>
                  </a:lnTo>
                  <a:lnTo>
                    <a:pt x="207010" y="53975"/>
                  </a:lnTo>
                  <a:lnTo>
                    <a:pt x="224790" y="35560"/>
                  </a:lnTo>
                  <a:lnTo>
                    <a:pt x="18796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026" name="Google Shape;1026;p16"/>
            <p:cNvSpPr/>
            <p:nvPr/>
          </p:nvSpPr>
          <p:spPr>
            <a:xfrm>
              <a:off x="3797300" y="6811644"/>
              <a:ext cx="81279" cy="46355"/>
            </a:xfrm>
            <a:custGeom>
              <a:avLst/>
              <a:gdLst/>
              <a:ahLst/>
              <a:cxnLst/>
              <a:rect l="l" t="t" r="r" b="b"/>
              <a:pathLst>
                <a:path w="81279" h="46355" extrusionOk="0">
                  <a:moveTo>
                    <a:pt x="26670" y="18415"/>
                  </a:moveTo>
                  <a:lnTo>
                    <a:pt x="0" y="46355"/>
                  </a:lnTo>
                  <a:lnTo>
                    <a:pt x="70485" y="46355"/>
                  </a:lnTo>
                  <a:lnTo>
                    <a:pt x="81280" y="35561"/>
                  </a:lnTo>
                  <a:lnTo>
                    <a:pt x="4445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027" name="Google Shape;1027;p16"/>
            <p:cNvSpPr/>
            <p:nvPr/>
          </p:nvSpPr>
          <p:spPr>
            <a:xfrm>
              <a:off x="67310" y="4281804"/>
              <a:ext cx="224155" cy="222885"/>
            </a:xfrm>
            <a:custGeom>
              <a:avLst/>
              <a:gdLst/>
              <a:ahLst/>
              <a:cxnLst/>
              <a:rect l="l" t="t" r="r" b="b"/>
              <a:pathLst>
                <a:path w="224155" h="222885" extrusionOk="0">
                  <a:moveTo>
                    <a:pt x="0" y="186690"/>
                  </a:moveTo>
                  <a:lnTo>
                    <a:pt x="35560" y="222885"/>
                  </a:lnTo>
                  <a:lnTo>
                    <a:pt x="53975" y="205105"/>
                  </a:lnTo>
                  <a:lnTo>
                    <a:pt x="206375" y="53975"/>
                  </a:lnTo>
                  <a:lnTo>
                    <a:pt x="224155" y="35560"/>
                  </a:lnTo>
                  <a:lnTo>
                    <a:pt x="188595" y="0"/>
                  </a:lnTo>
                  <a:lnTo>
                    <a:pt x="170180" y="17780"/>
                  </a:lnTo>
                  <a:lnTo>
                    <a:pt x="17780" y="16891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028" name="Google Shape;1028;p16"/>
            <p:cNvSpPr/>
            <p:nvPr/>
          </p:nvSpPr>
          <p:spPr>
            <a:xfrm>
              <a:off x="702309" y="4643754"/>
              <a:ext cx="224154" cy="222885"/>
            </a:xfrm>
            <a:custGeom>
              <a:avLst/>
              <a:gdLst/>
              <a:ahLst/>
              <a:cxnLst/>
              <a:rect l="l" t="t" r="r" b="b"/>
              <a:pathLst>
                <a:path w="224154" h="222885" extrusionOk="0">
                  <a:moveTo>
                    <a:pt x="53975" y="205105"/>
                  </a:moveTo>
                  <a:lnTo>
                    <a:pt x="206375" y="53975"/>
                  </a:lnTo>
                  <a:lnTo>
                    <a:pt x="224155" y="35560"/>
                  </a:lnTo>
                  <a:lnTo>
                    <a:pt x="188595" y="0"/>
                  </a:lnTo>
                  <a:lnTo>
                    <a:pt x="170180" y="17780"/>
                  </a:lnTo>
                  <a:lnTo>
                    <a:pt x="17780" y="168910"/>
                  </a:lnTo>
                  <a:lnTo>
                    <a:pt x="0" y="186690"/>
                  </a:lnTo>
                  <a:lnTo>
                    <a:pt x="35560" y="22288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029" name="Google Shape;1029;p16"/>
            <p:cNvSpPr/>
            <p:nvPr/>
          </p:nvSpPr>
          <p:spPr>
            <a:xfrm>
              <a:off x="1337310" y="5005704"/>
              <a:ext cx="224154" cy="222885"/>
            </a:xfrm>
            <a:custGeom>
              <a:avLst/>
              <a:gdLst/>
              <a:ahLst/>
              <a:cxnLst/>
              <a:rect l="l" t="t" r="r" b="b"/>
              <a:pathLst>
                <a:path w="224154" h="222885" extrusionOk="0">
                  <a:moveTo>
                    <a:pt x="53975" y="205105"/>
                  </a:moveTo>
                  <a:lnTo>
                    <a:pt x="206375" y="53975"/>
                  </a:lnTo>
                  <a:lnTo>
                    <a:pt x="224155" y="35560"/>
                  </a:lnTo>
                  <a:lnTo>
                    <a:pt x="188595" y="0"/>
                  </a:lnTo>
                  <a:lnTo>
                    <a:pt x="170180" y="17780"/>
                  </a:lnTo>
                  <a:lnTo>
                    <a:pt x="17780" y="168910"/>
                  </a:lnTo>
                  <a:lnTo>
                    <a:pt x="0" y="186690"/>
                  </a:lnTo>
                  <a:lnTo>
                    <a:pt x="35560" y="22288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030" name="Google Shape;1030;p16"/>
            <p:cNvSpPr/>
            <p:nvPr/>
          </p:nvSpPr>
          <p:spPr>
            <a:xfrm>
              <a:off x="1972310" y="5367654"/>
              <a:ext cx="224154" cy="222885"/>
            </a:xfrm>
            <a:custGeom>
              <a:avLst/>
              <a:gdLst/>
              <a:ahLst/>
              <a:cxnLst/>
              <a:rect l="l" t="t" r="r" b="b"/>
              <a:pathLst>
                <a:path w="224154" h="222885" extrusionOk="0">
                  <a:moveTo>
                    <a:pt x="224155" y="35560"/>
                  </a:moveTo>
                  <a:lnTo>
                    <a:pt x="188595" y="0"/>
                  </a:lnTo>
                  <a:lnTo>
                    <a:pt x="170180" y="17780"/>
                  </a:lnTo>
                  <a:lnTo>
                    <a:pt x="17780" y="168910"/>
                  </a:lnTo>
                  <a:lnTo>
                    <a:pt x="0" y="186690"/>
                  </a:lnTo>
                  <a:lnTo>
                    <a:pt x="35560" y="222885"/>
                  </a:lnTo>
                  <a:lnTo>
                    <a:pt x="53975" y="205105"/>
                  </a:lnTo>
                  <a:lnTo>
                    <a:pt x="206375" y="5397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031" name="Google Shape;1031;p16"/>
            <p:cNvSpPr/>
            <p:nvPr/>
          </p:nvSpPr>
          <p:spPr>
            <a:xfrm>
              <a:off x="2607310" y="5729604"/>
              <a:ext cx="224154" cy="222885"/>
            </a:xfrm>
            <a:custGeom>
              <a:avLst/>
              <a:gdLst/>
              <a:ahLst/>
              <a:cxnLst/>
              <a:rect l="l" t="t" r="r" b="b"/>
              <a:pathLst>
                <a:path w="224154" h="222885" extrusionOk="0">
                  <a:moveTo>
                    <a:pt x="170180" y="17780"/>
                  </a:moveTo>
                  <a:lnTo>
                    <a:pt x="17780" y="168910"/>
                  </a:lnTo>
                  <a:lnTo>
                    <a:pt x="0" y="186690"/>
                  </a:lnTo>
                  <a:lnTo>
                    <a:pt x="35560" y="222885"/>
                  </a:lnTo>
                  <a:lnTo>
                    <a:pt x="53975" y="205105"/>
                  </a:lnTo>
                  <a:lnTo>
                    <a:pt x="206375" y="53975"/>
                  </a:lnTo>
                  <a:lnTo>
                    <a:pt x="224155" y="35560"/>
                  </a:lnTo>
                  <a:lnTo>
                    <a:pt x="18859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032" name="Google Shape;1032;p16"/>
            <p:cNvSpPr/>
            <p:nvPr/>
          </p:nvSpPr>
          <p:spPr>
            <a:xfrm>
              <a:off x="3242310" y="6091554"/>
              <a:ext cx="224155" cy="222885"/>
            </a:xfrm>
            <a:custGeom>
              <a:avLst/>
              <a:gdLst/>
              <a:ahLst/>
              <a:cxnLst/>
              <a:rect l="l" t="t" r="r" b="b"/>
              <a:pathLst>
                <a:path w="224155" h="222885" extrusionOk="0">
                  <a:moveTo>
                    <a:pt x="170180" y="17780"/>
                  </a:moveTo>
                  <a:lnTo>
                    <a:pt x="17780" y="168910"/>
                  </a:lnTo>
                  <a:lnTo>
                    <a:pt x="0" y="186690"/>
                  </a:lnTo>
                  <a:lnTo>
                    <a:pt x="35560" y="222885"/>
                  </a:lnTo>
                  <a:lnTo>
                    <a:pt x="53975" y="205105"/>
                  </a:lnTo>
                  <a:lnTo>
                    <a:pt x="206375" y="53975"/>
                  </a:lnTo>
                  <a:lnTo>
                    <a:pt x="224155" y="35560"/>
                  </a:lnTo>
                  <a:lnTo>
                    <a:pt x="18859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033" name="Google Shape;1033;p16"/>
            <p:cNvSpPr/>
            <p:nvPr/>
          </p:nvSpPr>
          <p:spPr>
            <a:xfrm>
              <a:off x="3877309" y="6453504"/>
              <a:ext cx="224155" cy="222885"/>
            </a:xfrm>
            <a:custGeom>
              <a:avLst/>
              <a:gdLst/>
              <a:ahLst/>
              <a:cxnLst/>
              <a:rect l="l" t="t" r="r" b="b"/>
              <a:pathLst>
                <a:path w="224155" h="222885" extrusionOk="0">
                  <a:moveTo>
                    <a:pt x="170180" y="17780"/>
                  </a:moveTo>
                  <a:lnTo>
                    <a:pt x="17780" y="168910"/>
                  </a:lnTo>
                  <a:lnTo>
                    <a:pt x="0" y="186690"/>
                  </a:lnTo>
                  <a:lnTo>
                    <a:pt x="35560" y="222885"/>
                  </a:lnTo>
                  <a:lnTo>
                    <a:pt x="53975" y="205105"/>
                  </a:lnTo>
                  <a:lnTo>
                    <a:pt x="206375" y="53975"/>
                  </a:lnTo>
                  <a:lnTo>
                    <a:pt x="224155" y="35560"/>
                  </a:lnTo>
                  <a:lnTo>
                    <a:pt x="18859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034" name="Google Shape;1034;p16"/>
            <p:cNvSpPr/>
            <p:nvPr/>
          </p:nvSpPr>
          <p:spPr>
            <a:xfrm>
              <a:off x="4657725" y="6815455"/>
              <a:ext cx="78740" cy="42544"/>
            </a:xfrm>
            <a:custGeom>
              <a:avLst/>
              <a:gdLst/>
              <a:ahLst/>
              <a:cxnLst/>
              <a:rect l="l" t="t" r="r" b="b"/>
              <a:pathLst>
                <a:path w="78740" h="42544" extrusionOk="0">
                  <a:moveTo>
                    <a:pt x="24765" y="17780"/>
                  </a:moveTo>
                  <a:lnTo>
                    <a:pt x="0" y="42545"/>
                  </a:lnTo>
                  <a:lnTo>
                    <a:pt x="71755" y="42545"/>
                  </a:lnTo>
                  <a:lnTo>
                    <a:pt x="78740" y="35560"/>
                  </a:lnTo>
                  <a:lnTo>
                    <a:pt x="4318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035" name="Google Shape;1035;p16"/>
            <p:cNvSpPr/>
            <p:nvPr/>
          </p:nvSpPr>
          <p:spPr>
            <a:xfrm>
              <a:off x="276859" y="3926204"/>
              <a:ext cx="224155" cy="210185"/>
            </a:xfrm>
            <a:custGeom>
              <a:avLst/>
              <a:gdLst/>
              <a:ahLst/>
              <a:cxnLst/>
              <a:rect l="l" t="t" r="r" b="b"/>
              <a:pathLst>
                <a:path w="224155" h="210185" extrusionOk="0">
                  <a:moveTo>
                    <a:pt x="52705" y="193040"/>
                  </a:moveTo>
                  <a:lnTo>
                    <a:pt x="205105" y="54610"/>
                  </a:lnTo>
                  <a:lnTo>
                    <a:pt x="224155" y="37465"/>
                  </a:lnTo>
                  <a:lnTo>
                    <a:pt x="189865" y="0"/>
                  </a:lnTo>
                  <a:lnTo>
                    <a:pt x="170815" y="16510"/>
                  </a:lnTo>
                  <a:lnTo>
                    <a:pt x="18415" y="155575"/>
                  </a:lnTo>
                  <a:lnTo>
                    <a:pt x="0" y="172720"/>
                  </a:lnTo>
                  <a:lnTo>
                    <a:pt x="33655" y="21018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036" name="Google Shape;1036;p16"/>
            <p:cNvSpPr/>
            <p:nvPr/>
          </p:nvSpPr>
          <p:spPr>
            <a:xfrm>
              <a:off x="911860" y="4288154"/>
              <a:ext cx="224154" cy="210185"/>
            </a:xfrm>
            <a:custGeom>
              <a:avLst/>
              <a:gdLst/>
              <a:ahLst/>
              <a:cxnLst/>
              <a:rect l="l" t="t" r="r" b="b"/>
              <a:pathLst>
                <a:path w="224154" h="210185" extrusionOk="0">
                  <a:moveTo>
                    <a:pt x="52705" y="193040"/>
                  </a:moveTo>
                  <a:lnTo>
                    <a:pt x="205105" y="54610"/>
                  </a:lnTo>
                  <a:lnTo>
                    <a:pt x="224155" y="37465"/>
                  </a:lnTo>
                  <a:lnTo>
                    <a:pt x="189865" y="0"/>
                  </a:lnTo>
                  <a:lnTo>
                    <a:pt x="170815" y="16510"/>
                  </a:lnTo>
                  <a:lnTo>
                    <a:pt x="18415" y="155575"/>
                  </a:lnTo>
                  <a:lnTo>
                    <a:pt x="0" y="172720"/>
                  </a:lnTo>
                  <a:lnTo>
                    <a:pt x="33655" y="21018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037" name="Google Shape;1037;p16"/>
            <p:cNvSpPr/>
            <p:nvPr/>
          </p:nvSpPr>
          <p:spPr>
            <a:xfrm>
              <a:off x="1546860" y="4650104"/>
              <a:ext cx="224154" cy="210185"/>
            </a:xfrm>
            <a:custGeom>
              <a:avLst/>
              <a:gdLst/>
              <a:ahLst/>
              <a:cxnLst/>
              <a:rect l="l" t="t" r="r" b="b"/>
              <a:pathLst>
                <a:path w="224154" h="210185" extrusionOk="0">
                  <a:moveTo>
                    <a:pt x="52705" y="193040"/>
                  </a:moveTo>
                  <a:lnTo>
                    <a:pt x="205105" y="54610"/>
                  </a:lnTo>
                  <a:lnTo>
                    <a:pt x="224155" y="37465"/>
                  </a:lnTo>
                  <a:lnTo>
                    <a:pt x="189865" y="0"/>
                  </a:lnTo>
                  <a:lnTo>
                    <a:pt x="170815" y="16510"/>
                  </a:lnTo>
                  <a:lnTo>
                    <a:pt x="18415" y="155575"/>
                  </a:lnTo>
                  <a:lnTo>
                    <a:pt x="0" y="172720"/>
                  </a:lnTo>
                  <a:lnTo>
                    <a:pt x="33655" y="21018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038" name="Google Shape;1038;p16"/>
            <p:cNvSpPr/>
            <p:nvPr/>
          </p:nvSpPr>
          <p:spPr>
            <a:xfrm>
              <a:off x="2181860" y="5012054"/>
              <a:ext cx="224154" cy="210185"/>
            </a:xfrm>
            <a:custGeom>
              <a:avLst/>
              <a:gdLst/>
              <a:ahLst/>
              <a:cxnLst/>
              <a:rect l="l" t="t" r="r" b="b"/>
              <a:pathLst>
                <a:path w="224154" h="210185" extrusionOk="0">
                  <a:moveTo>
                    <a:pt x="52705" y="193040"/>
                  </a:moveTo>
                  <a:lnTo>
                    <a:pt x="205105" y="54610"/>
                  </a:lnTo>
                  <a:lnTo>
                    <a:pt x="224155" y="37465"/>
                  </a:lnTo>
                  <a:lnTo>
                    <a:pt x="189865" y="0"/>
                  </a:lnTo>
                  <a:lnTo>
                    <a:pt x="170815" y="16510"/>
                  </a:lnTo>
                  <a:lnTo>
                    <a:pt x="18415" y="155575"/>
                  </a:lnTo>
                  <a:lnTo>
                    <a:pt x="0" y="172720"/>
                  </a:lnTo>
                  <a:lnTo>
                    <a:pt x="33655" y="21018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039" name="Google Shape;1039;p16"/>
            <p:cNvSpPr/>
            <p:nvPr/>
          </p:nvSpPr>
          <p:spPr>
            <a:xfrm>
              <a:off x="2816860" y="5374004"/>
              <a:ext cx="224154" cy="210185"/>
            </a:xfrm>
            <a:custGeom>
              <a:avLst/>
              <a:gdLst/>
              <a:ahLst/>
              <a:cxnLst/>
              <a:rect l="l" t="t" r="r" b="b"/>
              <a:pathLst>
                <a:path w="224154" h="210185" extrusionOk="0">
                  <a:moveTo>
                    <a:pt x="224155" y="37465"/>
                  </a:moveTo>
                  <a:lnTo>
                    <a:pt x="189865" y="0"/>
                  </a:lnTo>
                  <a:lnTo>
                    <a:pt x="170815" y="16510"/>
                  </a:lnTo>
                  <a:lnTo>
                    <a:pt x="18415" y="155575"/>
                  </a:lnTo>
                  <a:lnTo>
                    <a:pt x="0" y="172720"/>
                  </a:lnTo>
                  <a:lnTo>
                    <a:pt x="33655" y="210185"/>
                  </a:lnTo>
                  <a:lnTo>
                    <a:pt x="52705" y="193040"/>
                  </a:lnTo>
                  <a:lnTo>
                    <a:pt x="205105" y="5461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040" name="Google Shape;1040;p16"/>
            <p:cNvSpPr/>
            <p:nvPr/>
          </p:nvSpPr>
          <p:spPr>
            <a:xfrm>
              <a:off x="3451859" y="5735954"/>
              <a:ext cx="224155" cy="210185"/>
            </a:xfrm>
            <a:custGeom>
              <a:avLst/>
              <a:gdLst/>
              <a:ahLst/>
              <a:cxnLst/>
              <a:rect l="l" t="t" r="r" b="b"/>
              <a:pathLst>
                <a:path w="224155" h="210185" extrusionOk="0">
                  <a:moveTo>
                    <a:pt x="170815" y="16510"/>
                  </a:moveTo>
                  <a:lnTo>
                    <a:pt x="18415" y="155575"/>
                  </a:lnTo>
                  <a:lnTo>
                    <a:pt x="0" y="172720"/>
                  </a:lnTo>
                  <a:lnTo>
                    <a:pt x="33655" y="210185"/>
                  </a:lnTo>
                  <a:lnTo>
                    <a:pt x="52705" y="193040"/>
                  </a:lnTo>
                  <a:lnTo>
                    <a:pt x="205105" y="54610"/>
                  </a:lnTo>
                  <a:lnTo>
                    <a:pt x="224155" y="37465"/>
                  </a:lnTo>
                  <a:lnTo>
                    <a:pt x="18986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041" name="Google Shape;1041;p16"/>
            <p:cNvSpPr/>
            <p:nvPr/>
          </p:nvSpPr>
          <p:spPr>
            <a:xfrm>
              <a:off x="4086859" y="6097904"/>
              <a:ext cx="224155" cy="210185"/>
            </a:xfrm>
            <a:custGeom>
              <a:avLst/>
              <a:gdLst/>
              <a:ahLst/>
              <a:cxnLst/>
              <a:rect l="l" t="t" r="r" b="b"/>
              <a:pathLst>
                <a:path w="224155" h="210185" extrusionOk="0">
                  <a:moveTo>
                    <a:pt x="170815" y="16510"/>
                  </a:moveTo>
                  <a:lnTo>
                    <a:pt x="18415" y="155575"/>
                  </a:lnTo>
                  <a:lnTo>
                    <a:pt x="0" y="172720"/>
                  </a:lnTo>
                  <a:lnTo>
                    <a:pt x="33655" y="210185"/>
                  </a:lnTo>
                  <a:lnTo>
                    <a:pt x="52705" y="193040"/>
                  </a:lnTo>
                  <a:lnTo>
                    <a:pt x="205105" y="54610"/>
                  </a:lnTo>
                  <a:lnTo>
                    <a:pt x="224155" y="37465"/>
                  </a:lnTo>
                  <a:lnTo>
                    <a:pt x="18986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042" name="Google Shape;1042;p16"/>
            <p:cNvSpPr/>
            <p:nvPr/>
          </p:nvSpPr>
          <p:spPr>
            <a:xfrm>
              <a:off x="4721859" y="6459854"/>
              <a:ext cx="224155" cy="210185"/>
            </a:xfrm>
            <a:custGeom>
              <a:avLst/>
              <a:gdLst/>
              <a:ahLst/>
              <a:cxnLst/>
              <a:rect l="l" t="t" r="r" b="b"/>
              <a:pathLst>
                <a:path w="224155" h="210185" extrusionOk="0">
                  <a:moveTo>
                    <a:pt x="170815" y="16510"/>
                  </a:moveTo>
                  <a:lnTo>
                    <a:pt x="18415" y="155575"/>
                  </a:lnTo>
                  <a:lnTo>
                    <a:pt x="0" y="172720"/>
                  </a:lnTo>
                  <a:lnTo>
                    <a:pt x="33655" y="210185"/>
                  </a:lnTo>
                  <a:lnTo>
                    <a:pt x="52705" y="193040"/>
                  </a:lnTo>
                  <a:lnTo>
                    <a:pt x="205105" y="54610"/>
                  </a:lnTo>
                  <a:lnTo>
                    <a:pt x="224155" y="37465"/>
                  </a:lnTo>
                  <a:lnTo>
                    <a:pt x="18986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043" name="Google Shape;1043;p16"/>
            <p:cNvSpPr/>
            <p:nvPr/>
          </p:nvSpPr>
          <p:spPr>
            <a:xfrm>
              <a:off x="5506720" y="6821805"/>
              <a:ext cx="73025" cy="36194"/>
            </a:xfrm>
            <a:custGeom>
              <a:avLst/>
              <a:gdLst/>
              <a:ahLst/>
              <a:cxnLst/>
              <a:rect l="l" t="t" r="r" b="b"/>
              <a:pathLst>
                <a:path w="73025" h="36194" extrusionOk="0">
                  <a:moveTo>
                    <a:pt x="20955" y="16510"/>
                  </a:moveTo>
                  <a:lnTo>
                    <a:pt x="0" y="36195"/>
                  </a:lnTo>
                  <a:lnTo>
                    <a:pt x="73025" y="36195"/>
                  </a:lnTo>
                  <a:lnTo>
                    <a:pt x="4000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044" name="Google Shape;1044;p16"/>
            <p:cNvSpPr/>
            <p:nvPr/>
          </p:nvSpPr>
          <p:spPr>
            <a:xfrm>
              <a:off x="463550" y="3573145"/>
              <a:ext cx="224155" cy="191770"/>
            </a:xfrm>
            <a:custGeom>
              <a:avLst/>
              <a:gdLst/>
              <a:ahLst/>
              <a:cxnLst/>
              <a:rect l="l" t="t" r="r" b="b"/>
              <a:pathLst>
                <a:path w="224155" h="191770" extrusionOk="0">
                  <a:moveTo>
                    <a:pt x="0" y="151765"/>
                  </a:moveTo>
                  <a:lnTo>
                    <a:pt x="31750" y="191770"/>
                  </a:lnTo>
                  <a:lnTo>
                    <a:pt x="51435" y="175895"/>
                  </a:lnTo>
                  <a:lnTo>
                    <a:pt x="203835" y="55880"/>
                  </a:lnTo>
                  <a:lnTo>
                    <a:pt x="224155" y="40005"/>
                  </a:lnTo>
                  <a:lnTo>
                    <a:pt x="192405" y="0"/>
                  </a:lnTo>
                  <a:lnTo>
                    <a:pt x="172720" y="15875"/>
                  </a:lnTo>
                  <a:lnTo>
                    <a:pt x="20320" y="13652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045" name="Google Shape;1045;p16"/>
            <p:cNvSpPr/>
            <p:nvPr/>
          </p:nvSpPr>
          <p:spPr>
            <a:xfrm>
              <a:off x="1098550" y="3935095"/>
              <a:ext cx="224155" cy="191770"/>
            </a:xfrm>
            <a:custGeom>
              <a:avLst/>
              <a:gdLst/>
              <a:ahLst/>
              <a:cxnLst/>
              <a:rect l="l" t="t" r="r" b="b"/>
              <a:pathLst>
                <a:path w="224155" h="191770" extrusionOk="0">
                  <a:moveTo>
                    <a:pt x="203835" y="55880"/>
                  </a:moveTo>
                  <a:lnTo>
                    <a:pt x="224155" y="40005"/>
                  </a:lnTo>
                  <a:lnTo>
                    <a:pt x="192405" y="0"/>
                  </a:lnTo>
                  <a:lnTo>
                    <a:pt x="172720" y="15875"/>
                  </a:lnTo>
                  <a:lnTo>
                    <a:pt x="20320" y="136525"/>
                  </a:lnTo>
                  <a:lnTo>
                    <a:pt x="0" y="151765"/>
                  </a:lnTo>
                  <a:lnTo>
                    <a:pt x="31750" y="191770"/>
                  </a:lnTo>
                  <a:lnTo>
                    <a:pt x="51435" y="17589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046" name="Google Shape;1046;p16"/>
            <p:cNvSpPr/>
            <p:nvPr/>
          </p:nvSpPr>
          <p:spPr>
            <a:xfrm>
              <a:off x="1733550" y="4297045"/>
              <a:ext cx="224154" cy="191770"/>
            </a:xfrm>
            <a:custGeom>
              <a:avLst/>
              <a:gdLst/>
              <a:ahLst/>
              <a:cxnLst/>
              <a:rect l="l" t="t" r="r" b="b"/>
              <a:pathLst>
                <a:path w="224154" h="191770" extrusionOk="0">
                  <a:moveTo>
                    <a:pt x="203835" y="55880"/>
                  </a:moveTo>
                  <a:lnTo>
                    <a:pt x="224155" y="40005"/>
                  </a:lnTo>
                  <a:lnTo>
                    <a:pt x="192405" y="0"/>
                  </a:lnTo>
                  <a:lnTo>
                    <a:pt x="172720" y="15875"/>
                  </a:lnTo>
                  <a:lnTo>
                    <a:pt x="20320" y="136525"/>
                  </a:lnTo>
                  <a:lnTo>
                    <a:pt x="0" y="151765"/>
                  </a:lnTo>
                  <a:lnTo>
                    <a:pt x="31750" y="191770"/>
                  </a:lnTo>
                  <a:lnTo>
                    <a:pt x="51435" y="17589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047" name="Google Shape;1047;p16"/>
            <p:cNvSpPr/>
            <p:nvPr/>
          </p:nvSpPr>
          <p:spPr>
            <a:xfrm>
              <a:off x="2368550" y="4658995"/>
              <a:ext cx="224154" cy="191770"/>
            </a:xfrm>
            <a:custGeom>
              <a:avLst/>
              <a:gdLst/>
              <a:ahLst/>
              <a:cxnLst/>
              <a:rect l="l" t="t" r="r" b="b"/>
              <a:pathLst>
                <a:path w="224154" h="191770" extrusionOk="0">
                  <a:moveTo>
                    <a:pt x="203835" y="55880"/>
                  </a:moveTo>
                  <a:lnTo>
                    <a:pt x="224155" y="40005"/>
                  </a:lnTo>
                  <a:lnTo>
                    <a:pt x="192405" y="0"/>
                  </a:lnTo>
                  <a:lnTo>
                    <a:pt x="172720" y="15875"/>
                  </a:lnTo>
                  <a:lnTo>
                    <a:pt x="20320" y="136525"/>
                  </a:lnTo>
                  <a:lnTo>
                    <a:pt x="0" y="151765"/>
                  </a:lnTo>
                  <a:lnTo>
                    <a:pt x="31750" y="191770"/>
                  </a:lnTo>
                  <a:lnTo>
                    <a:pt x="51435" y="17589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048" name="Google Shape;1048;p16"/>
            <p:cNvSpPr/>
            <p:nvPr/>
          </p:nvSpPr>
          <p:spPr>
            <a:xfrm>
              <a:off x="3003550" y="5020945"/>
              <a:ext cx="224154" cy="191770"/>
            </a:xfrm>
            <a:custGeom>
              <a:avLst/>
              <a:gdLst/>
              <a:ahLst/>
              <a:cxnLst/>
              <a:rect l="l" t="t" r="r" b="b"/>
              <a:pathLst>
                <a:path w="224154" h="191770" extrusionOk="0">
                  <a:moveTo>
                    <a:pt x="51435" y="175895"/>
                  </a:moveTo>
                  <a:lnTo>
                    <a:pt x="203835" y="55880"/>
                  </a:lnTo>
                  <a:lnTo>
                    <a:pt x="224155" y="40005"/>
                  </a:lnTo>
                  <a:lnTo>
                    <a:pt x="192405" y="0"/>
                  </a:lnTo>
                  <a:lnTo>
                    <a:pt x="172720" y="15875"/>
                  </a:lnTo>
                  <a:lnTo>
                    <a:pt x="20320" y="136525"/>
                  </a:lnTo>
                  <a:lnTo>
                    <a:pt x="0" y="151765"/>
                  </a:lnTo>
                  <a:lnTo>
                    <a:pt x="31750" y="19177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049" name="Google Shape;1049;p16"/>
            <p:cNvSpPr/>
            <p:nvPr/>
          </p:nvSpPr>
          <p:spPr>
            <a:xfrm>
              <a:off x="3638550" y="5382895"/>
              <a:ext cx="224154" cy="191770"/>
            </a:xfrm>
            <a:custGeom>
              <a:avLst/>
              <a:gdLst/>
              <a:ahLst/>
              <a:cxnLst/>
              <a:rect l="l" t="t" r="r" b="b"/>
              <a:pathLst>
                <a:path w="224154" h="191770" extrusionOk="0">
                  <a:moveTo>
                    <a:pt x="224155" y="40005"/>
                  </a:moveTo>
                  <a:lnTo>
                    <a:pt x="192405" y="0"/>
                  </a:lnTo>
                  <a:lnTo>
                    <a:pt x="172720" y="15875"/>
                  </a:lnTo>
                  <a:lnTo>
                    <a:pt x="20320" y="136525"/>
                  </a:lnTo>
                  <a:lnTo>
                    <a:pt x="0" y="151765"/>
                  </a:lnTo>
                  <a:lnTo>
                    <a:pt x="31750" y="191770"/>
                  </a:lnTo>
                  <a:lnTo>
                    <a:pt x="51435" y="175895"/>
                  </a:lnTo>
                  <a:lnTo>
                    <a:pt x="203835" y="558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050" name="Google Shape;1050;p16"/>
            <p:cNvSpPr/>
            <p:nvPr/>
          </p:nvSpPr>
          <p:spPr>
            <a:xfrm>
              <a:off x="4273550" y="5744845"/>
              <a:ext cx="224154" cy="191770"/>
            </a:xfrm>
            <a:custGeom>
              <a:avLst/>
              <a:gdLst/>
              <a:ahLst/>
              <a:cxnLst/>
              <a:rect l="l" t="t" r="r" b="b"/>
              <a:pathLst>
                <a:path w="224154" h="191770" extrusionOk="0">
                  <a:moveTo>
                    <a:pt x="172720" y="15875"/>
                  </a:moveTo>
                  <a:lnTo>
                    <a:pt x="20320" y="136525"/>
                  </a:lnTo>
                  <a:lnTo>
                    <a:pt x="0" y="151765"/>
                  </a:lnTo>
                  <a:lnTo>
                    <a:pt x="31750" y="191770"/>
                  </a:lnTo>
                  <a:lnTo>
                    <a:pt x="51435" y="175895"/>
                  </a:lnTo>
                  <a:lnTo>
                    <a:pt x="203835" y="55880"/>
                  </a:lnTo>
                  <a:lnTo>
                    <a:pt x="224155" y="40005"/>
                  </a:lnTo>
                  <a:lnTo>
                    <a:pt x="19240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051" name="Google Shape;1051;p16"/>
            <p:cNvSpPr/>
            <p:nvPr/>
          </p:nvSpPr>
          <p:spPr>
            <a:xfrm>
              <a:off x="4908550" y="6106795"/>
              <a:ext cx="224154" cy="191770"/>
            </a:xfrm>
            <a:custGeom>
              <a:avLst/>
              <a:gdLst/>
              <a:ahLst/>
              <a:cxnLst/>
              <a:rect l="l" t="t" r="r" b="b"/>
              <a:pathLst>
                <a:path w="224154" h="191770" extrusionOk="0">
                  <a:moveTo>
                    <a:pt x="172720" y="15875"/>
                  </a:moveTo>
                  <a:lnTo>
                    <a:pt x="20320" y="136525"/>
                  </a:lnTo>
                  <a:lnTo>
                    <a:pt x="0" y="151765"/>
                  </a:lnTo>
                  <a:lnTo>
                    <a:pt x="31750" y="191770"/>
                  </a:lnTo>
                  <a:lnTo>
                    <a:pt x="51435" y="175895"/>
                  </a:lnTo>
                  <a:lnTo>
                    <a:pt x="203835" y="55880"/>
                  </a:lnTo>
                  <a:lnTo>
                    <a:pt x="224155" y="40005"/>
                  </a:lnTo>
                  <a:lnTo>
                    <a:pt x="19240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052" name="Google Shape;1052;p16"/>
            <p:cNvSpPr/>
            <p:nvPr/>
          </p:nvSpPr>
          <p:spPr>
            <a:xfrm>
              <a:off x="5543550" y="6468745"/>
              <a:ext cx="224154" cy="191770"/>
            </a:xfrm>
            <a:custGeom>
              <a:avLst/>
              <a:gdLst/>
              <a:ahLst/>
              <a:cxnLst/>
              <a:rect l="l" t="t" r="r" b="b"/>
              <a:pathLst>
                <a:path w="224154" h="191770" extrusionOk="0">
                  <a:moveTo>
                    <a:pt x="172720" y="15875"/>
                  </a:moveTo>
                  <a:lnTo>
                    <a:pt x="20320" y="136525"/>
                  </a:lnTo>
                  <a:lnTo>
                    <a:pt x="0" y="151765"/>
                  </a:lnTo>
                  <a:lnTo>
                    <a:pt x="31750" y="191770"/>
                  </a:lnTo>
                  <a:lnTo>
                    <a:pt x="51435" y="175895"/>
                  </a:lnTo>
                  <a:lnTo>
                    <a:pt x="203835" y="55880"/>
                  </a:lnTo>
                  <a:lnTo>
                    <a:pt x="224155" y="40005"/>
                  </a:lnTo>
                  <a:lnTo>
                    <a:pt x="19240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053" name="Google Shape;1053;p16"/>
            <p:cNvSpPr/>
            <p:nvPr/>
          </p:nvSpPr>
          <p:spPr>
            <a:xfrm>
              <a:off x="6336665" y="6830694"/>
              <a:ext cx="55879" cy="27305"/>
            </a:xfrm>
            <a:custGeom>
              <a:avLst/>
              <a:gdLst/>
              <a:ahLst/>
              <a:cxnLst/>
              <a:rect l="l" t="t" r="r" b="b"/>
              <a:pathLst>
                <a:path w="55879" h="27305" extrusionOk="0">
                  <a:moveTo>
                    <a:pt x="14605" y="15875"/>
                  </a:moveTo>
                  <a:lnTo>
                    <a:pt x="0" y="27305"/>
                  </a:lnTo>
                  <a:lnTo>
                    <a:pt x="55880" y="27305"/>
                  </a:lnTo>
                  <a:lnTo>
                    <a:pt x="3429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054" name="Google Shape;1054;p16"/>
            <p:cNvSpPr/>
            <p:nvPr/>
          </p:nvSpPr>
          <p:spPr>
            <a:xfrm>
              <a:off x="0" y="2861310"/>
              <a:ext cx="209550" cy="167639"/>
            </a:xfrm>
            <a:custGeom>
              <a:avLst/>
              <a:gdLst/>
              <a:ahLst/>
              <a:cxnLst/>
              <a:rect l="l" t="t" r="r" b="b"/>
              <a:pathLst>
                <a:path w="209550" h="167639" extrusionOk="0">
                  <a:moveTo>
                    <a:pt x="35560" y="154305"/>
                  </a:moveTo>
                  <a:lnTo>
                    <a:pt x="187960" y="56515"/>
                  </a:lnTo>
                  <a:lnTo>
                    <a:pt x="209550" y="43180"/>
                  </a:lnTo>
                  <a:lnTo>
                    <a:pt x="181610" y="0"/>
                  </a:lnTo>
                  <a:lnTo>
                    <a:pt x="160655" y="13970"/>
                  </a:lnTo>
                  <a:lnTo>
                    <a:pt x="8255" y="111125"/>
                  </a:lnTo>
                  <a:lnTo>
                    <a:pt x="0" y="116205"/>
                  </a:lnTo>
                  <a:lnTo>
                    <a:pt x="0" y="145415"/>
                  </a:lnTo>
                  <a:lnTo>
                    <a:pt x="13970" y="1676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055" name="Google Shape;1055;p16"/>
            <p:cNvSpPr/>
            <p:nvPr/>
          </p:nvSpPr>
          <p:spPr>
            <a:xfrm>
              <a:off x="621665" y="3223260"/>
              <a:ext cx="222884" cy="167639"/>
            </a:xfrm>
            <a:custGeom>
              <a:avLst/>
              <a:gdLst/>
              <a:ahLst/>
              <a:cxnLst/>
              <a:rect l="l" t="t" r="r" b="b"/>
              <a:pathLst>
                <a:path w="222884" h="167639" extrusionOk="0">
                  <a:moveTo>
                    <a:pt x="21590" y="111125"/>
                  </a:moveTo>
                  <a:lnTo>
                    <a:pt x="0" y="125095"/>
                  </a:lnTo>
                  <a:lnTo>
                    <a:pt x="27305" y="167640"/>
                  </a:lnTo>
                  <a:lnTo>
                    <a:pt x="48895" y="154305"/>
                  </a:lnTo>
                  <a:lnTo>
                    <a:pt x="201295" y="56515"/>
                  </a:lnTo>
                  <a:lnTo>
                    <a:pt x="222885" y="43180"/>
                  </a:lnTo>
                  <a:lnTo>
                    <a:pt x="194945" y="0"/>
                  </a:lnTo>
                  <a:lnTo>
                    <a:pt x="173990" y="1397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056" name="Google Shape;1056;p16"/>
            <p:cNvSpPr/>
            <p:nvPr/>
          </p:nvSpPr>
          <p:spPr>
            <a:xfrm>
              <a:off x="1256664" y="3585209"/>
              <a:ext cx="222885" cy="167640"/>
            </a:xfrm>
            <a:custGeom>
              <a:avLst/>
              <a:gdLst/>
              <a:ahLst/>
              <a:cxnLst/>
              <a:rect l="l" t="t" r="r" b="b"/>
              <a:pathLst>
                <a:path w="222885" h="167640" extrusionOk="0">
                  <a:moveTo>
                    <a:pt x="222885" y="43180"/>
                  </a:moveTo>
                  <a:lnTo>
                    <a:pt x="194945" y="0"/>
                  </a:lnTo>
                  <a:lnTo>
                    <a:pt x="173990" y="13970"/>
                  </a:lnTo>
                  <a:lnTo>
                    <a:pt x="21590" y="111125"/>
                  </a:lnTo>
                  <a:lnTo>
                    <a:pt x="0" y="125095"/>
                  </a:lnTo>
                  <a:lnTo>
                    <a:pt x="27305" y="167640"/>
                  </a:lnTo>
                  <a:lnTo>
                    <a:pt x="48895" y="154305"/>
                  </a:lnTo>
                  <a:lnTo>
                    <a:pt x="201295"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057" name="Google Shape;1057;p16"/>
            <p:cNvSpPr/>
            <p:nvPr/>
          </p:nvSpPr>
          <p:spPr>
            <a:xfrm>
              <a:off x="1891664" y="3947159"/>
              <a:ext cx="222885" cy="167640"/>
            </a:xfrm>
            <a:custGeom>
              <a:avLst/>
              <a:gdLst/>
              <a:ahLst/>
              <a:cxnLst/>
              <a:rect l="l" t="t" r="r" b="b"/>
              <a:pathLst>
                <a:path w="222885" h="167640" extrusionOk="0">
                  <a:moveTo>
                    <a:pt x="222885" y="43180"/>
                  </a:moveTo>
                  <a:lnTo>
                    <a:pt x="194945" y="0"/>
                  </a:lnTo>
                  <a:lnTo>
                    <a:pt x="173990" y="13970"/>
                  </a:lnTo>
                  <a:lnTo>
                    <a:pt x="21590" y="111125"/>
                  </a:lnTo>
                  <a:lnTo>
                    <a:pt x="0" y="125095"/>
                  </a:lnTo>
                  <a:lnTo>
                    <a:pt x="27305" y="167640"/>
                  </a:lnTo>
                  <a:lnTo>
                    <a:pt x="48895" y="154305"/>
                  </a:lnTo>
                  <a:lnTo>
                    <a:pt x="201295"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058" name="Google Shape;1058;p16"/>
            <p:cNvSpPr/>
            <p:nvPr/>
          </p:nvSpPr>
          <p:spPr>
            <a:xfrm>
              <a:off x="2526664" y="4309109"/>
              <a:ext cx="222885" cy="167640"/>
            </a:xfrm>
            <a:custGeom>
              <a:avLst/>
              <a:gdLst/>
              <a:ahLst/>
              <a:cxnLst/>
              <a:rect l="l" t="t" r="r" b="b"/>
              <a:pathLst>
                <a:path w="222885" h="167640" extrusionOk="0">
                  <a:moveTo>
                    <a:pt x="222885" y="43180"/>
                  </a:moveTo>
                  <a:lnTo>
                    <a:pt x="194945" y="0"/>
                  </a:lnTo>
                  <a:lnTo>
                    <a:pt x="173990" y="13970"/>
                  </a:lnTo>
                  <a:lnTo>
                    <a:pt x="21590" y="111125"/>
                  </a:lnTo>
                  <a:lnTo>
                    <a:pt x="0" y="125095"/>
                  </a:lnTo>
                  <a:lnTo>
                    <a:pt x="27305" y="167640"/>
                  </a:lnTo>
                  <a:lnTo>
                    <a:pt x="48895" y="154305"/>
                  </a:lnTo>
                  <a:lnTo>
                    <a:pt x="201295"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059" name="Google Shape;1059;p16"/>
            <p:cNvSpPr/>
            <p:nvPr/>
          </p:nvSpPr>
          <p:spPr>
            <a:xfrm>
              <a:off x="3161664" y="4671059"/>
              <a:ext cx="222885" cy="167640"/>
            </a:xfrm>
            <a:custGeom>
              <a:avLst/>
              <a:gdLst/>
              <a:ahLst/>
              <a:cxnLst/>
              <a:rect l="l" t="t" r="r" b="b"/>
              <a:pathLst>
                <a:path w="222885" h="167640" extrusionOk="0">
                  <a:moveTo>
                    <a:pt x="222885" y="43180"/>
                  </a:moveTo>
                  <a:lnTo>
                    <a:pt x="194945" y="0"/>
                  </a:lnTo>
                  <a:lnTo>
                    <a:pt x="173990" y="13970"/>
                  </a:lnTo>
                  <a:lnTo>
                    <a:pt x="21590" y="111125"/>
                  </a:lnTo>
                  <a:lnTo>
                    <a:pt x="0" y="125095"/>
                  </a:lnTo>
                  <a:lnTo>
                    <a:pt x="27305" y="167640"/>
                  </a:lnTo>
                  <a:lnTo>
                    <a:pt x="48895" y="154305"/>
                  </a:lnTo>
                  <a:lnTo>
                    <a:pt x="201295"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060" name="Google Shape;1060;p16"/>
            <p:cNvSpPr/>
            <p:nvPr/>
          </p:nvSpPr>
          <p:spPr>
            <a:xfrm>
              <a:off x="3796665" y="5033009"/>
              <a:ext cx="222884" cy="167640"/>
            </a:xfrm>
            <a:custGeom>
              <a:avLst/>
              <a:gdLst/>
              <a:ahLst/>
              <a:cxnLst/>
              <a:rect l="l" t="t" r="r" b="b"/>
              <a:pathLst>
                <a:path w="222884" h="167640" extrusionOk="0">
                  <a:moveTo>
                    <a:pt x="48895" y="154305"/>
                  </a:moveTo>
                  <a:lnTo>
                    <a:pt x="201295" y="56515"/>
                  </a:lnTo>
                  <a:lnTo>
                    <a:pt x="222885" y="43180"/>
                  </a:lnTo>
                  <a:lnTo>
                    <a:pt x="194945" y="0"/>
                  </a:lnTo>
                  <a:lnTo>
                    <a:pt x="173990" y="13970"/>
                  </a:lnTo>
                  <a:lnTo>
                    <a:pt x="21590" y="111125"/>
                  </a:lnTo>
                  <a:lnTo>
                    <a:pt x="0" y="125095"/>
                  </a:lnTo>
                  <a:lnTo>
                    <a:pt x="27305" y="1676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061" name="Google Shape;1061;p16"/>
            <p:cNvSpPr/>
            <p:nvPr/>
          </p:nvSpPr>
          <p:spPr>
            <a:xfrm>
              <a:off x="4431665" y="5394959"/>
              <a:ext cx="222884" cy="167640"/>
            </a:xfrm>
            <a:custGeom>
              <a:avLst/>
              <a:gdLst/>
              <a:ahLst/>
              <a:cxnLst/>
              <a:rect l="l" t="t" r="r" b="b"/>
              <a:pathLst>
                <a:path w="222884" h="167640" extrusionOk="0">
                  <a:moveTo>
                    <a:pt x="173990" y="13970"/>
                  </a:moveTo>
                  <a:lnTo>
                    <a:pt x="21590" y="111125"/>
                  </a:lnTo>
                  <a:lnTo>
                    <a:pt x="0" y="125095"/>
                  </a:lnTo>
                  <a:lnTo>
                    <a:pt x="27305" y="167640"/>
                  </a:lnTo>
                  <a:lnTo>
                    <a:pt x="48895" y="154305"/>
                  </a:lnTo>
                  <a:lnTo>
                    <a:pt x="201295" y="56515"/>
                  </a:lnTo>
                  <a:lnTo>
                    <a:pt x="222885" y="43180"/>
                  </a:lnTo>
                  <a:lnTo>
                    <a:pt x="19494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062" name="Google Shape;1062;p16"/>
            <p:cNvSpPr/>
            <p:nvPr/>
          </p:nvSpPr>
          <p:spPr>
            <a:xfrm>
              <a:off x="5066665" y="5756909"/>
              <a:ext cx="222884" cy="167640"/>
            </a:xfrm>
            <a:custGeom>
              <a:avLst/>
              <a:gdLst/>
              <a:ahLst/>
              <a:cxnLst/>
              <a:rect l="l" t="t" r="r" b="b"/>
              <a:pathLst>
                <a:path w="222884" h="167640" extrusionOk="0">
                  <a:moveTo>
                    <a:pt x="173990" y="13970"/>
                  </a:moveTo>
                  <a:lnTo>
                    <a:pt x="21590" y="111125"/>
                  </a:lnTo>
                  <a:lnTo>
                    <a:pt x="0" y="125095"/>
                  </a:lnTo>
                  <a:lnTo>
                    <a:pt x="27305" y="167640"/>
                  </a:lnTo>
                  <a:lnTo>
                    <a:pt x="48895" y="154305"/>
                  </a:lnTo>
                  <a:lnTo>
                    <a:pt x="201295" y="56515"/>
                  </a:lnTo>
                  <a:lnTo>
                    <a:pt x="222885" y="43180"/>
                  </a:lnTo>
                  <a:lnTo>
                    <a:pt x="19494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063" name="Google Shape;1063;p16"/>
            <p:cNvSpPr/>
            <p:nvPr/>
          </p:nvSpPr>
          <p:spPr>
            <a:xfrm>
              <a:off x="5701665" y="6118859"/>
              <a:ext cx="222884" cy="167640"/>
            </a:xfrm>
            <a:custGeom>
              <a:avLst/>
              <a:gdLst/>
              <a:ahLst/>
              <a:cxnLst/>
              <a:rect l="l" t="t" r="r" b="b"/>
              <a:pathLst>
                <a:path w="222884" h="167640" extrusionOk="0">
                  <a:moveTo>
                    <a:pt x="173990" y="13970"/>
                  </a:moveTo>
                  <a:lnTo>
                    <a:pt x="21590" y="111125"/>
                  </a:lnTo>
                  <a:lnTo>
                    <a:pt x="0" y="125095"/>
                  </a:lnTo>
                  <a:lnTo>
                    <a:pt x="27305" y="167640"/>
                  </a:lnTo>
                  <a:lnTo>
                    <a:pt x="48895" y="154305"/>
                  </a:lnTo>
                  <a:lnTo>
                    <a:pt x="201295" y="56515"/>
                  </a:lnTo>
                  <a:lnTo>
                    <a:pt x="222885" y="43180"/>
                  </a:lnTo>
                  <a:lnTo>
                    <a:pt x="19494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064" name="Google Shape;1064;p16"/>
            <p:cNvSpPr/>
            <p:nvPr/>
          </p:nvSpPr>
          <p:spPr>
            <a:xfrm>
              <a:off x="6336665" y="6480809"/>
              <a:ext cx="222884" cy="167640"/>
            </a:xfrm>
            <a:custGeom>
              <a:avLst/>
              <a:gdLst/>
              <a:ahLst/>
              <a:cxnLst/>
              <a:rect l="l" t="t" r="r" b="b"/>
              <a:pathLst>
                <a:path w="222884" h="167640" extrusionOk="0">
                  <a:moveTo>
                    <a:pt x="173990" y="13970"/>
                  </a:moveTo>
                  <a:lnTo>
                    <a:pt x="21590" y="111125"/>
                  </a:lnTo>
                  <a:lnTo>
                    <a:pt x="0" y="125095"/>
                  </a:lnTo>
                  <a:lnTo>
                    <a:pt x="27305" y="167640"/>
                  </a:lnTo>
                  <a:lnTo>
                    <a:pt x="48895" y="154305"/>
                  </a:lnTo>
                  <a:lnTo>
                    <a:pt x="201295" y="56515"/>
                  </a:lnTo>
                  <a:lnTo>
                    <a:pt x="222885" y="43180"/>
                  </a:lnTo>
                  <a:lnTo>
                    <a:pt x="19494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065" name="Google Shape;1065;p16"/>
            <p:cNvSpPr/>
            <p:nvPr/>
          </p:nvSpPr>
          <p:spPr>
            <a:xfrm>
              <a:off x="7143115" y="6842759"/>
              <a:ext cx="33654" cy="15240"/>
            </a:xfrm>
            <a:custGeom>
              <a:avLst/>
              <a:gdLst/>
              <a:ahLst/>
              <a:cxnLst/>
              <a:rect l="l" t="t" r="r" b="b"/>
              <a:pathLst>
                <a:path w="33654" h="15240" extrusionOk="0">
                  <a:moveTo>
                    <a:pt x="2540" y="13970"/>
                  </a:moveTo>
                  <a:lnTo>
                    <a:pt x="0" y="15240"/>
                  </a:lnTo>
                  <a:lnTo>
                    <a:pt x="33655" y="15240"/>
                  </a:lnTo>
                  <a:lnTo>
                    <a:pt x="2349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066" name="Google Shape;1066;p16"/>
            <p:cNvSpPr/>
            <p:nvPr/>
          </p:nvSpPr>
          <p:spPr>
            <a:xfrm>
              <a:off x="109220" y="2514600"/>
              <a:ext cx="219709" cy="137795"/>
            </a:xfrm>
            <a:custGeom>
              <a:avLst/>
              <a:gdLst/>
              <a:ahLst/>
              <a:cxnLst/>
              <a:rect l="l" t="t" r="r" b="b"/>
              <a:pathLst>
                <a:path w="219709" h="137795" extrusionOk="0">
                  <a:moveTo>
                    <a:pt x="44450" y="127000"/>
                  </a:moveTo>
                  <a:lnTo>
                    <a:pt x="196850" y="56515"/>
                  </a:lnTo>
                  <a:lnTo>
                    <a:pt x="219710" y="45720"/>
                  </a:lnTo>
                  <a:lnTo>
                    <a:pt x="198755" y="0"/>
                  </a:lnTo>
                  <a:lnTo>
                    <a:pt x="175895" y="10160"/>
                  </a:lnTo>
                  <a:lnTo>
                    <a:pt x="23495" y="80645"/>
                  </a:lnTo>
                  <a:lnTo>
                    <a:pt x="0" y="91440"/>
                  </a:lnTo>
                  <a:lnTo>
                    <a:pt x="21590" y="13779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067" name="Google Shape;1067;p16"/>
            <p:cNvSpPr/>
            <p:nvPr/>
          </p:nvSpPr>
          <p:spPr>
            <a:xfrm>
              <a:off x="744219" y="2876550"/>
              <a:ext cx="219710" cy="137795"/>
            </a:xfrm>
            <a:custGeom>
              <a:avLst/>
              <a:gdLst/>
              <a:ahLst/>
              <a:cxnLst/>
              <a:rect l="l" t="t" r="r" b="b"/>
              <a:pathLst>
                <a:path w="219710" h="137795" extrusionOk="0">
                  <a:moveTo>
                    <a:pt x="219710" y="45720"/>
                  </a:moveTo>
                  <a:lnTo>
                    <a:pt x="198755" y="0"/>
                  </a:lnTo>
                  <a:lnTo>
                    <a:pt x="175895" y="10160"/>
                  </a:lnTo>
                  <a:lnTo>
                    <a:pt x="23495" y="80645"/>
                  </a:lnTo>
                  <a:lnTo>
                    <a:pt x="0" y="91440"/>
                  </a:lnTo>
                  <a:lnTo>
                    <a:pt x="21590" y="137795"/>
                  </a:lnTo>
                  <a:lnTo>
                    <a:pt x="44450" y="127000"/>
                  </a:lnTo>
                  <a:lnTo>
                    <a:pt x="196850"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068" name="Google Shape;1068;p16"/>
            <p:cNvSpPr/>
            <p:nvPr/>
          </p:nvSpPr>
          <p:spPr>
            <a:xfrm>
              <a:off x="1379219" y="3238500"/>
              <a:ext cx="219710" cy="137795"/>
            </a:xfrm>
            <a:custGeom>
              <a:avLst/>
              <a:gdLst/>
              <a:ahLst/>
              <a:cxnLst/>
              <a:rect l="l" t="t" r="r" b="b"/>
              <a:pathLst>
                <a:path w="219710" h="137795" extrusionOk="0">
                  <a:moveTo>
                    <a:pt x="0" y="91440"/>
                  </a:moveTo>
                  <a:lnTo>
                    <a:pt x="21590" y="137795"/>
                  </a:lnTo>
                  <a:lnTo>
                    <a:pt x="44450" y="127000"/>
                  </a:lnTo>
                  <a:lnTo>
                    <a:pt x="196850" y="56515"/>
                  </a:lnTo>
                  <a:lnTo>
                    <a:pt x="219710" y="45720"/>
                  </a:lnTo>
                  <a:lnTo>
                    <a:pt x="198755" y="0"/>
                  </a:lnTo>
                  <a:lnTo>
                    <a:pt x="175895" y="10160"/>
                  </a:lnTo>
                  <a:lnTo>
                    <a:pt x="23495" y="8064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069" name="Google Shape;1069;p16"/>
            <p:cNvSpPr/>
            <p:nvPr/>
          </p:nvSpPr>
          <p:spPr>
            <a:xfrm>
              <a:off x="2014220" y="3600450"/>
              <a:ext cx="219709" cy="137795"/>
            </a:xfrm>
            <a:custGeom>
              <a:avLst/>
              <a:gdLst/>
              <a:ahLst/>
              <a:cxnLst/>
              <a:rect l="l" t="t" r="r" b="b"/>
              <a:pathLst>
                <a:path w="219709" h="137795" extrusionOk="0">
                  <a:moveTo>
                    <a:pt x="219710" y="45720"/>
                  </a:moveTo>
                  <a:lnTo>
                    <a:pt x="198755" y="0"/>
                  </a:lnTo>
                  <a:lnTo>
                    <a:pt x="175895" y="10160"/>
                  </a:lnTo>
                  <a:lnTo>
                    <a:pt x="23495" y="80645"/>
                  </a:lnTo>
                  <a:lnTo>
                    <a:pt x="0" y="91440"/>
                  </a:lnTo>
                  <a:lnTo>
                    <a:pt x="21590" y="137795"/>
                  </a:lnTo>
                  <a:lnTo>
                    <a:pt x="44450" y="127000"/>
                  </a:lnTo>
                  <a:lnTo>
                    <a:pt x="196850"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070" name="Google Shape;1070;p16"/>
            <p:cNvSpPr/>
            <p:nvPr/>
          </p:nvSpPr>
          <p:spPr>
            <a:xfrm>
              <a:off x="2649220" y="3962400"/>
              <a:ext cx="219709" cy="137795"/>
            </a:xfrm>
            <a:custGeom>
              <a:avLst/>
              <a:gdLst/>
              <a:ahLst/>
              <a:cxnLst/>
              <a:rect l="l" t="t" r="r" b="b"/>
              <a:pathLst>
                <a:path w="219709" h="137795" extrusionOk="0">
                  <a:moveTo>
                    <a:pt x="219710" y="45720"/>
                  </a:moveTo>
                  <a:lnTo>
                    <a:pt x="198755" y="0"/>
                  </a:lnTo>
                  <a:lnTo>
                    <a:pt x="175895" y="10160"/>
                  </a:lnTo>
                  <a:lnTo>
                    <a:pt x="23495" y="80645"/>
                  </a:lnTo>
                  <a:lnTo>
                    <a:pt x="0" y="91440"/>
                  </a:lnTo>
                  <a:lnTo>
                    <a:pt x="21590" y="137795"/>
                  </a:lnTo>
                  <a:lnTo>
                    <a:pt x="44450" y="127000"/>
                  </a:lnTo>
                  <a:lnTo>
                    <a:pt x="196850"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071" name="Google Shape;1071;p16"/>
            <p:cNvSpPr/>
            <p:nvPr/>
          </p:nvSpPr>
          <p:spPr>
            <a:xfrm>
              <a:off x="3284220" y="4324350"/>
              <a:ext cx="219709" cy="137795"/>
            </a:xfrm>
            <a:custGeom>
              <a:avLst/>
              <a:gdLst/>
              <a:ahLst/>
              <a:cxnLst/>
              <a:rect l="l" t="t" r="r" b="b"/>
              <a:pathLst>
                <a:path w="219709" h="137795" extrusionOk="0">
                  <a:moveTo>
                    <a:pt x="219710" y="45720"/>
                  </a:moveTo>
                  <a:lnTo>
                    <a:pt x="198755" y="0"/>
                  </a:lnTo>
                  <a:lnTo>
                    <a:pt x="175895" y="10160"/>
                  </a:lnTo>
                  <a:lnTo>
                    <a:pt x="23495" y="80645"/>
                  </a:lnTo>
                  <a:lnTo>
                    <a:pt x="0" y="91440"/>
                  </a:lnTo>
                  <a:lnTo>
                    <a:pt x="21590" y="137795"/>
                  </a:lnTo>
                  <a:lnTo>
                    <a:pt x="44450" y="127000"/>
                  </a:lnTo>
                  <a:lnTo>
                    <a:pt x="196850"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072" name="Google Shape;1072;p16"/>
            <p:cNvSpPr/>
            <p:nvPr/>
          </p:nvSpPr>
          <p:spPr>
            <a:xfrm>
              <a:off x="3919220" y="4686300"/>
              <a:ext cx="219709" cy="137795"/>
            </a:xfrm>
            <a:custGeom>
              <a:avLst/>
              <a:gdLst/>
              <a:ahLst/>
              <a:cxnLst/>
              <a:rect l="l" t="t" r="r" b="b"/>
              <a:pathLst>
                <a:path w="219709" h="137795" extrusionOk="0">
                  <a:moveTo>
                    <a:pt x="219710" y="45720"/>
                  </a:moveTo>
                  <a:lnTo>
                    <a:pt x="198755" y="0"/>
                  </a:lnTo>
                  <a:lnTo>
                    <a:pt x="175895" y="10160"/>
                  </a:lnTo>
                  <a:lnTo>
                    <a:pt x="23495" y="80645"/>
                  </a:lnTo>
                  <a:lnTo>
                    <a:pt x="0" y="91440"/>
                  </a:lnTo>
                  <a:lnTo>
                    <a:pt x="21590" y="137795"/>
                  </a:lnTo>
                  <a:lnTo>
                    <a:pt x="44450" y="127000"/>
                  </a:lnTo>
                  <a:lnTo>
                    <a:pt x="196850"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073" name="Google Shape;1073;p16"/>
            <p:cNvSpPr/>
            <p:nvPr/>
          </p:nvSpPr>
          <p:spPr>
            <a:xfrm>
              <a:off x="4554220" y="5048250"/>
              <a:ext cx="219709" cy="137795"/>
            </a:xfrm>
            <a:custGeom>
              <a:avLst/>
              <a:gdLst/>
              <a:ahLst/>
              <a:cxnLst/>
              <a:rect l="l" t="t" r="r" b="b"/>
              <a:pathLst>
                <a:path w="219709" h="137795" extrusionOk="0">
                  <a:moveTo>
                    <a:pt x="44450" y="127000"/>
                  </a:moveTo>
                  <a:lnTo>
                    <a:pt x="196850" y="56515"/>
                  </a:lnTo>
                  <a:lnTo>
                    <a:pt x="219710" y="45720"/>
                  </a:lnTo>
                  <a:lnTo>
                    <a:pt x="198755" y="0"/>
                  </a:lnTo>
                  <a:lnTo>
                    <a:pt x="175895" y="10160"/>
                  </a:lnTo>
                  <a:lnTo>
                    <a:pt x="23495" y="80645"/>
                  </a:lnTo>
                  <a:lnTo>
                    <a:pt x="0" y="91440"/>
                  </a:lnTo>
                  <a:lnTo>
                    <a:pt x="21590" y="13779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074" name="Google Shape;1074;p16"/>
            <p:cNvSpPr/>
            <p:nvPr/>
          </p:nvSpPr>
          <p:spPr>
            <a:xfrm>
              <a:off x="5189220" y="5410200"/>
              <a:ext cx="219709" cy="137795"/>
            </a:xfrm>
            <a:custGeom>
              <a:avLst/>
              <a:gdLst/>
              <a:ahLst/>
              <a:cxnLst/>
              <a:rect l="l" t="t" r="r" b="b"/>
              <a:pathLst>
                <a:path w="219709" h="137795" extrusionOk="0">
                  <a:moveTo>
                    <a:pt x="175895" y="10160"/>
                  </a:moveTo>
                  <a:lnTo>
                    <a:pt x="23495" y="80645"/>
                  </a:lnTo>
                  <a:lnTo>
                    <a:pt x="0" y="91440"/>
                  </a:lnTo>
                  <a:lnTo>
                    <a:pt x="21590" y="137795"/>
                  </a:lnTo>
                  <a:lnTo>
                    <a:pt x="44450" y="127000"/>
                  </a:lnTo>
                  <a:lnTo>
                    <a:pt x="196850" y="56515"/>
                  </a:lnTo>
                  <a:lnTo>
                    <a:pt x="219710" y="45720"/>
                  </a:lnTo>
                  <a:lnTo>
                    <a:pt x="19875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075" name="Google Shape;1075;p16"/>
            <p:cNvSpPr/>
            <p:nvPr/>
          </p:nvSpPr>
          <p:spPr>
            <a:xfrm>
              <a:off x="5824220" y="5772150"/>
              <a:ext cx="219709" cy="137795"/>
            </a:xfrm>
            <a:custGeom>
              <a:avLst/>
              <a:gdLst/>
              <a:ahLst/>
              <a:cxnLst/>
              <a:rect l="l" t="t" r="r" b="b"/>
              <a:pathLst>
                <a:path w="219709" h="137795" extrusionOk="0">
                  <a:moveTo>
                    <a:pt x="175895" y="10160"/>
                  </a:moveTo>
                  <a:lnTo>
                    <a:pt x="23495" y="80645"/>
                  </a:lnTo>
                  <a:lnTo>
                    <a:pt x="0" y="91440"/>
                  </a:lnTo>
                  <a:lnTo>
                    <a:pt x="21590" y="137795"/>
                  </a:lnTo>
                  <a:lnTo>
                    <a:pt x="44450" y="127000"/>
                  </a:lnTo>
                  <a:lnTo>
                    <a:pt x="196850" y="56515"/>
                  </a:lnTo>
                  <a:lnTo>
                    <a:pt x="219710" y="45720"/>
                  </a:lnTo>
                  <a:lnTo>
                    <a:pt x="19875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076" name="Google Shape;1076;p16"/>
            <p:cNvSpPr/>
            <p:nvPr/>
          </p:nvSpPr>
          <p:spPr>
            <a:xfrm>
              <a:off x="6459220" y="6134100"/>
              <a:ext cx="219710" cy="137795"/>
            </a:xfrm>
            <a:custGeom>
              <a:avLst/>
              <a:gdLst/>
              <a:ahLst/>
              <a:cxnLst/>
              <a:rect l="l" t="t" r="r" b="b"/>
              <a:pathLst>
                <a:path w="219710" h="137795" extrusionOk="0">
                  <a:moveTo>
                    <a:pt x="175895" y="10160"/>
                  </a:moveTo>
                  <a:lnTo>
                    <a:pt x="23495" y="80645"/>
                  </a:lnTo>
                  <a:lnTo>
                    <a:pt x="0" y="91440"/>
                  </a:lnTo>
                  <a:lnTo>
                    <a:pt x="21590" y="137795"/>
                  </a:lnTo>
                  <a:lnTo>
                    <a:pt x="44450" y="127000"/>
                  </a:lnTo>
                  <a:lnTo>
                    <a:pt x="196850" y="56515"/>
                  </a:lnTo>
                  <a:lnTo>
                    <a:pt x="219710" y="45720"/>
                  </a:lnTo>
                  <a:lnTo>
                    <a:pt x="19875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077" name="Google Shape;1077;p16"/>
            <p:cNvSpPr/>
            <p:nvPr/>
          </p:nvSpPr>
          <p:spPr>
            <a:xfrm>
              <a:off x="7094219" y="6496050"/>
              <a:ext cx="219710" cy="137794"/>
            </a:xfrm>
            <a:custGeom>
              <a:avLst/>
              <a:gdLst/>
              <a:ahLst/>
              <a:cxnLst/>
              <a:rect l="l" t="t" r="r" b="b"/>
              <a:pathLst>
                <a:path w="219710" h="137794" extrusionOk="0">
                  <a:moveTo>
                    <a:pt x="175895" y="10160"/>
                  </a:moveTo>
                  <a:lnTo>
                    <a:pt x="23495" y="80645"/>
                  </a:lnTo>
                  <a:lnTo>
                    <a:pt x="0" y="91440"/>
                  </a:lnTo>
                  <a:lnTo>
                    <a:pt x="21590" y="137795"/>
                  </a:lnTo>
                  <a:lnTo>
                    <a:pt x="44450" y="127000"/>
                  </a:lnTo>
                  <a:lnTo>
                    <a:pt x="196850" y="56515"/>
                  </a:lnTo>
                  <a:lnTo>
                    <a:pt x="219711" y="45720"/>
                  </a:lnTo>
                  <a:lnTo>
                    <a:pt x="19875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078" name="Google Shape;1078;p16"/>
            <p:cNvSpPr/>
            <p:nvPr/>
          </p:nvSpPr>
          <p:spPr>
            <a:xfrm>
              <a:off x="192404" y="2169795"/>
              <a:ext cx="214629" cy="102869"/>
            </a:xfrm>
            <a:custGeom>
              <a:avLst/>
              <a:gdLst/>
              <a:ahLst/>
              <a:cxnLst/>
              <a:rect l="l" t="t" r="r" b="b"/>
              <a:pathLst>
                <a:path w="214629" h="102869" extrusionOk="0">
                  <a:moveTo>
                    <a:pt x="24765" y="47625"/>
                  </a:moveTo>
                  <a:lnTo>
                    <a:pt x="0" y="53975"/>
                  </a:lnTo>
                  <a:lnTo>
                    <a:pt x="13335" y="102870"/>
                  </a:lnTo>
                  <a:lnTo>
                    <a:pt x="37465" y="96520"/>
                  </a:lnTo>
                  <a:lnTo>
                    <a:pt x="189865" y="55880"/>
                  </a:lnTo>
                  <a:lnTo>
                    <a:pt x="214630" y="48895"/>
                  </a:lnTo>
                  <a:lnTo>
                    <a:pt x="201295" y="0"/>
                  </a:lnTo>
                  <a:lnTo>
                    <a:pt x="177165" y="635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079" name="Google Shape;1079;p16"/>
            <p:cNvSpPr/>
            <p:nvPr/>
          </p:nvSpPr>
          <p:spPr>
            <a:xfrm>
              <a:off x="827405" y="2531745"/>
              <a:ext cx="214630" cy="102869"/>
            </a:xfrm>
            <a:custGeom>
              <a:avLst/>
              <a:gdLst/>
              <a:ahLst/>
              <a:cxnLst/>
              <a:rect l="l" t="t" r="r" b="b"/>
              <a:pathLst>
                <a:path w="214630" h="102869" extrusionOk="0">
                  <a:moveTo>
                    <a:pt x="214630" y="48895"/>
                  </a:moveTo>
                  <a:lnTo>
                    <a:pt x="201295" y="0"/>
                  </a:lnTo>
                  <a:lnTo>
                    <a:pt x="177165" y="6350"/>
                  </a:lnTo>
                  <a:lnTo>
                    <a:pt x="24765" y="47625"/>
                  </a:lnTo>
                  <a:lnTo>
                    <a:pt x="0" y="53975"/>
                  </a:lnTo>
                  <a:lnTo>
                    <a:pt x="13335" y="102870"/>
                  </a:lnTo>
                  <a:lnTo>
                    <a:pt x="37465" y="96520"/>
                  </a:lnTo>
                  <a:lnTo>
                    <a:pt x="189865" y="558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080" name="Google Shape;1080;p16"/>
            <p:cNvSpPr/>
            <p:nvPr/>
          </p:nvSpPr>
          <p:spPr>
            <a:xfrm>
              <a:off x="1462405" y="2893695"/>
              <a:ext cx="214630" cy="102869"/>
            </a:xfrm>
            <a:custGeom>
              <a:avLst/>
              <a:gdLst/>
              <a:ahLst/>
              <a:cxnLst/>
              <a:rect l="l" t="t" r="r" b="b"/>
              <a:pathLst>
                <a:path w="214630" h="102869" extrusionOk="0">
                  <a:moveTo>
                    <a:pt x="214630" y="48895"/>
                  </a:moveTo>
                  <a:lnTo>
                    <a:pt x="201295" y="0"/>
                  </a:lnTo>
                  <a:lnTo>
                    <a:pt x="177165" y="6350"/>
                  </a:lnTo>
                  <a:lnTo>
                    <a:pt x="24765" y="47625"/>
                  </a:lnTo>
                  <a:lnTo>
                    <a:pt x="0" y="53975"/>
                  </a:lnTo>
                  <a:lnTo>
                    <a:pt x="13335" y="102870"/>
                  </a:lnTo>
                  <a:lnTo>
                    <a:pt x="37465" y="96520"/>
                  </a:lnTo>
                  <a:lnTo>
                    <a:pt x="189865" y="558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081" name="Google Shape;1081;p16"/>
            <p:cNvSpPr/>
            <p:nvPr/>
          </p:nvSpPr>
          <p:spPr>
            <a:xfrm>
              <a:off x="2097404" y="3255645"/>
              <a:ext cx="214630" cy="102870"/>
            </a:xfrm>
            <a:custGeom>
              <a:avLst/>
              <a:gdLst/>
              <a:ahLst/>
              <a:cxnLst/>
              <a:rect l="l" t="t" r="r" b="b"/>
              <a:pathLst>
                <a:path w="214630" h="102870" extrusionOk="0">
                  <a:moveTo>
                    <a:pt x="37465" y="96520"/>
                  </a:moveTo>
                  <a:lnTo>
                    <a:pt x="189865" y="55880"/>
                  </a:lnTo>
                  <a:lnTo>
                    <a:pt x="214630" y="48895"/>
                  </a:lnTo>
                  <a:lnTo>
                    <a:pt x="201295" y="0"/>
                  </a:lnTo>
                  <a:lnTo>
                    <a:pt x="177165" y="6350"/>
                  </a:lnTo>
                  <a:lnTo>
                    <a:pt x="24765" y="47625"/>
                  </a:lnTo>
                  <a:lnTo>
                    <a:pt x="0" y="53975"/>
                  </a:lnTo>
                  <a:lnTo>
                    <a:pt x="13335" y="10287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082" name="Google Shape;1082;p16"/>
            <p:cNvSpPr/>
            <p:nvPr/>
          </p:nvSpPr>
          <p:spPr>
            <a:xfrm>
              <a:off x="2732404" y="3617595"/>
              <a:ext cx="214630" cy="102870"/>
            </a:xfrm>
            <a:custGeom>
              <a:avLst/>
              <a:gdLst/>
              <a:ahLst/>
              <a:cxnLst/>
              <a:rect l="l" t="t" r="r" b="b"/>
              <a:pathLst>
                <a:path w="214630" h="102870" extrusionOk="0">
                  <a:moveTo>
                    <a:pt x="214630" y="48895"/>
                  </a:moveTo>
                  <a:lnTo>
                    <a:pt x="201295" y="0"/>
                  </a:lnTo>
                  <a:lnTo>
                    <a:pt x="177165" y="6350"/>
                  </a:lnTo>
                  <a:lnTo>
                    <a:pt x="24765" y="47625"/>
                  </a:lnTo>
                  <a:lnTo>
                    <a:pt x="0" y="53975"/>
                  </a:lnTo>
                  <a:lnTo>
                    <a:pt x="13335" y="102870"/>
                  </a:lnTo>
                  <a:lnTo>
                    <a:pt x="37465" y="96520"/>
                  </a:lnTo>
                  <a:lnTo>
                    <a:pt x="189865" y="558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083" name="Google Shape;1083;p16"/>
            <p:cNvSpPr/>
            <p:nvPr/>
          </p:nvSpPr>
          <p:spPr>
            <a:xfrm>
              <a:off x="3367404" y="3979545"/>
              <a:ext cx="214629" cy="102870"/>
            </a:xfrm>
            <a:custGeom>
              <a:avLst/>
              <a:gdLst/>
              <a:ahLst/>
              <a:cxnLst/>
              <a:rect l="l" t="t" r="r" b="b"/>
              <a:pathLst>
                <a:path w="214629" h="102870" extrusionOk="0">
                  <a:moveTo>
                    <a:pt x="214630" y="48895"/>
                  </a:moveTo>
                  <a:lnTo>
                    <a:pt x="201295" y="0"/>
                  </a:lnTo>
                  <a:lnTo>
                    <a:pt x="177165" y="6350"/>
                  </a:lnTo>
                  <a:lnTo>
                    <a:pt x="24765" y="47625"/>
                  </a:lnTo>
                  <a:lnTo>
                    <a:pt x="0" y="53975"/>
                  </a:lnTo>
                  <a:lnTo>
                    <a:pt x="13335" y="102870"/>
                  </a:lnTo>
                  <a:lnTo>
                    <a:pt x="37465" y="96520"/>
                  </a:lnTo>
                  <a:lnTo>
                    <a:pt x="189865" y="558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084" name="Google Shape;1084;p16"/>
            <p:cNvSpPr/>
            <p:nvPr/>
          </p:nvSpPr>
          <p:spPr>
            <a:xfrm>
              <a:off x="4002404" y="4341495"/>
              <a:ext cx="214629" cy="102870"/>
            </a:xfrm>
            <a:custGeom>
              <a:avLst/>
              <a:gdLst/>
              <a:ahLst/>
              <a:cxnLst/>
              <a:rect l="l" t="t" r="r" b="b"/>
              <a:pathLst>
                <a:path w="214629" h="102870" extrusionOk="0">
                  <a:moveTo>
                    <a:pt x="214630" y="48895"/>
                  </a:moveTo>
                  <a:lnTo>
                    <a:pt x="201295" y="0"/>
                  </a:lnTo>
                  <a:lnTo>
                    <a:pt x="177165" y="6350"/>
                  </a:lnTo>
                  <a:lnTo>
                    <a:pt x="24765" y="47625"/>
                  </a:lnTo>
                  <a:lnTo>
                    <a:pt x="0" y="53975"/>
                  </a:lnTo>
                  <a:lnTo>
                    <a:pt x="13335" y="102870"/>
                  </a:lnTo>
                  <a:lnTo>
                    <a:pt x="37465" y="96520"/>
                  </a:lnTo>
                  <a:lnTo>
                    <a:pt x="189865" y="558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085" name="Google Shape;1085;p16"/>
            <p:cNvSpPr/>
            <p:nvPr/>
          </p:nvSpPr>
          <p:spPr>
            <a:xfrm>
              <a:off x="4637404" y="4703445"/>
              <a:ext cx="214629" cy="102870"/>
            </a:xfrm>
            <a:custGeom>
              <a:avLst/>
              <a:gdLst/>
              <a:ahLst/>
              <a:cxnLst/>
              <a:rect l="l" t="t" r="r" b="b"/>
              <a:pathLst>
                <a:path w="214629" h="102870" extrusionOk="0">
                  <a:moveTo>
                    <a:pt x="214630" y="48895"/>
                  </a:moveTo>
                  <a:lnTo>
                    <a:pt x="201295" y="0"/>
                  </a:lnTo>
                  <a:lnTo>
                    <a:pt x="177165" y="6350"/>
                  </a:lnTo>
                  <a:lnTo>
                    <a:pt x="24765" y="47625"/>
                  </a:lnTo>
                  <a:lnTo>
                    <a:pt x="0" y="53975"/>
                  </a:lnTo>
                  <a:lnTo>
                    <a:pt x="13335" y="102870"/>
                  </a:lnTo>
                  <a:lnTo>
                    <a:pt x="37465" y="96520"/>
                  </a:lnTo>
                  <a:lnTo>
                    <a:pt x="189865" y="558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086" name="Google Shape;1086;p16"/>
            <p:cNvSpPr/>
            <p:nvPr/>
          </p:nvSpPr>
          <p:spPr>
            <a:xfrm>
              <a:off x="5272404" y="5065395"/>
              <a:ext cx="214629" cy="102870"/>
            </a:xfrm>
            <a:custGeom>
              <a:avLst/>
              <a:gdLst/>
              <a:ahLst/>
              <a:cxnLst/>
              <a:rect l="l" t="t" r="r" b="b"/>
              <a:pathLst>
                <a:path w="214629" h="102870" extrusionOk="0">
                  <a:moveTo>
                    <a:pt x="177165" y="6350"/>
                  </a:moveTo>
                  <a:lnTo>
                    <a:pt x="24765" y="47625"/>
                  </a:lnTo>
                  <a:lnTo>
                    <a:pt x="0" y="53975"/>
                  </a:lnTo>
                  <a:lnTo>
                    <a:pt x="13335" y="102870"/>
                  </a:lnTo>
                  <a:lnTo>
                    <a:pt x="37465" y="96520"/>
                  </a:lnTo>
                  <a:lnTo>
                    <a:pt x="189865" y="55880"/>
                  </a:lnTo>
                  <a:lnTo>
                    <a:pt x="214630" y="48895"/>
                  </a:lnTo>
                  <a:lnTo>
                    <a:pt x="20129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087" name="Google Shape;1087;p16"/>
            <p:cNvSpPr/>
            <p:nvPr/>
          </p:nvSpPr>
          <p:spPr>
            <a:xfrm>
              <a:off x="5907404" y="5427345"/>
              <a:ext cx="214629" cy="102870"/>
            </a:xfrm>
            <a:custGeom>
              <a:avLst/>
              <a:gdLst/>
              <a:ahLst/>
              <a:cxnLst/>
              <a:rect l="l" t="t" r="r" b="b"/>
              <a:pathLst>
                <a:path w="214629" h="102870" extrusionOk="0">
                  <a:moveTo>
                    <a:pt x="177165" y="6350"/>
                  </a:moveTo>
                  <a:lnTo>
                    <a:pt x="24765" y="47625"/>
                  </a:lnTo>
                  <a:lnTo>
                    <a:pt x="0" y="53975"/>
                  </a:lnTo>
                  <a:lnTo>
                    <a:pt x="13335" y="102870"/>
                  </a:lnTo>
                  <a:lnTo>
                    <a:pt x="37465" y="96520"/>
                  </a:lnTo>
                  <a:lnTo>
                    <a:pt x="189865" y="55880"/>
                  </a:lnTo>
                  <a:lnTo>
                    <a:pt x="214630" y="48895"/>
                  </a:lnTo>
                  <a:lnTo>
                    <a:pt x="20129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088" name="Google Shape;1088;p16"/>
            <p:cNvSpPr/>
            <p:nvPr/>
          </p:nvSpPr>
          <p:spPr>
            <a:xfrm>
              <a:off x="6542405" y="5789295"/>
              <a:ext cx="214629" cy="102870"/>
            </a:xfrm>
            <a:custGeom>
              <a:avLst/>
              <a:gdLst/>
              <a:ahLst/>
              <a:cxnLst/>
              <a:rect l="l" t="t" r="r" b="b"/>
              <a:pathLst>
                <a:path w="214629" h="102870" extrusionOk="0">
                  <a:moveTo>
                    <a:pt x="177164" y="6350"/>
                  </a:moveTo>
                  <a:lnTo>
                    <a:pt x="24764" y="47625"/>
                  </a:lnTo>
                  <a:lnTo>
                    <a:pt x="0" y="53975"/>
                  </a:lnTo>
                  <a:lnTo>
                    <a:pt x="13335" y="102870"/>
                  </a:lnTo>
                  <a:lnTo>
                    <a:pt x="37464" y="96520"/>
                  </a:lnTo>
                  <a:lnTo>
                    <a:pt x="189864" y="55880"/>
                  </a:lnTo>
                  <a:lnTo>
                    <a:pt x="214630" y="48895"/>
                  </a:lnTo>
                  <a:lnTo>
                    <a:pt x="20129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089" name="Google Shape;1089;p16"/>
            <p:cNvSpPr/>
            <p:nvPr/>
          </p:nvSpPr>
          <p:spPr>
            <a:xfrm>
              <a:off x="7177405" y="6151245"/>
              <a:ext cx="214629" cy="102870"/>
            </a:xfrm>
            <a:custGeom>
              <a:avLst/>
              <a:gdLst/>
              <a:ahLst/>
              <a:cxnLst/>
              <a:rect l="l" t="t" r="r" b="b"/>
              <a:pathLst>
                <a:path w="214629" h="102870" extrusionOk="0">
                  <a:moveTo>
                    <a:pt x="177164" y="6350"/>
                  </a:moveTo>
                  <a:lnTo>
                    <a:pt x="24764" y="47625"/>
                  </a:lnTo>
                  <a:lnTo>
                    <a:pt x="0" y="53975"/>
                  </a:lnTo>
                  <a:lnTo>
                    <a:pt x="13335" y="102870"/>
                  </a:lnTo>
                  <a:lnTo>
                    <a:pt x="37464" y="96520"/>
                  </a:lnTo>
                  <a:lnTo>
                    <a:pt x="189864" y="55880"/>
                  </a:lnTo>
                  <a:lnTo>
                    <a:pt x="214630" y="48895"/>
                  </a:lnTo>
                  <a:lnTo>
                    <a:pt x="20129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090" name="Google Shape;1090;p16"/>
            <p:cNvSpPr/>
            <p:nvPr/>
          </p:nvSpPr>
          <p:spPr>
            <a:xfrm>
              <a:off x="7812405" y="6513194"/>
              <a:ext cx="214629" cy="102870"/>
            </a:xfrm>
            <a:custGeom>
              <a:avLst/>
              <a:gdLst/>
              <a:ahLst/>
              <a:cxnLst/>
              <a:rect l="l" t="t" r="r" b="b"/>
              <a:pathLst>
                <a:path w="214629" h="102870" extrusionOk="0">
                  <a:moveTo>
                    <a:pt x="177164" y="6350"/>
                  </a:moveTo>
                  <a:lnTo>
                    <a:pt x="24764" y="47625"/>
                  </a:lnTo>
                  <a:lnTo>
                    <a:pt x="0" y="53975"/>
                  </a:lnTo>
                  <a:lnTo>
                    <a:pt x="13335" y="102870"/>
                  </a:lnTo>
                  <a:lnTo>
                    <a:pt x="37464" y="96520"/>
                  </a:lnTo>
                  <a:lnTo>
                    <a:pt x="189864" y="55880"/>
                  </a:lnTo>
                  <a:lnTo>
                    <a:pt x="214630" y="48895"/>
                  </a:lnTo>
                  <a:lnTo>
                    <a:pt x="20129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091" name="Google Shape;1091;p16"/>
            <p:cNvSpPr/>
            <p:nvPr/>
          </p:nvSpPr>
          <p:spPr>
            <a:xfrm>
              <a:off x="233045" y="1827529"/>
              <a:ext cx="206374" cy="63500"/>
            </a:xfrm>
            <a:custGeom>
              <a:avLst/>
              <a:gdLst/>
              <a:ahLst/>
              <a:cxnLst/>
              <a:rect l="l" t="t" r="r" b="b"/>
              <a:pathLst>
                <a:path w="206374" h="63500" extrusionOk="0">
                  <a:moveTo>
                    <a:pt x="206375" y="50800"/>
                  </a:moveTo>
                  <a:lnTo>
                    <a:pt x="203200" y="0"/>
                  </a:lnTo>
                  <a:lnTo>
                    <a:pt x="177800" y="1905"/>
                  </a:lnTo>
                  <a:lnTo>
                    <a:pt x="25400" y="11430"/>
                  </a:lnTo>
                  <a:lnTo>
                    <a:pt x="0" y="12700"/>
                  </a:lnTo>
                  <a:lnTo>
                    <a:pt x="3175" y="63500"/>
                  </a:lnTo>
                  <a:lnTo>
                    <a:pt x="28575" y="62230"/>
                  </a:lnTo>
                  <a:lnTo>
                    <a:pt x="180975" y="5270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092" name="Google Shape;1092;p16"/>
            <p:cNvSpPr/>
            <p:nvPr/>
          </p:nvSpPr>
          <p:spPr>
            <a:xfrm>
              <a:off x="868044" y="2189479"/>
              <a:ext cx="206375" cy="63500"/>
            </a:xfrm>
            <a:custGeom>
              <a:avLst/>
              <a:gdLst/>
              <a:ahLst/>
              <a:cxnLst/>
              <a:rect l="l" t="t" r="r" b="b"/>
              <a:pathLst>
                <a:path w="206375" h="63500" extrusionOk="0">
                  <a:moveTo>
                    <a:pt x="206375" y="50800"/>
                  </a:moveTo>
                  <a:lnTo>
                    <a:pt x="203200" y="0"/>
                  </a:lnTo>
                  <a:lnTo>
                    <a:pt x="177800" y="1905"/>
                  </a:lnTo>
                  <a:lnTo>
                    <a:pt x="25400" y="11430"/>
                  </a:lnTo>
                  <a:lnTo>
                    <a:pt x="0" y="12700"/>
                  </a:lnTo>
                  <a:lnTo>
                    <a:pt x="3175" y="63500"/>
                  </a:lnTo>
                  <a:lnTo>
                    <a:pt x="28575" y="62230"/>
                  </a:lnTo>
                  <a:lnTo>
                    <a:pt x="180975" y="5270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093" name="Google Shape;1093;p16"/>
            <p:cNvSpPr/>
            <p:nvPr/>
          </p:nvSpPr>
          <p:spPr>
            <a:xfrm>
              <a:off x="1503044" y="2551429"/>
              <a:ext cx="206375" cy="63500"/>
            </a:xfrm>
            <a:custGeom>
              <a:avLst/>
              <a:gdLst/>
              <a:ahLst/>
              <a:cxnLst/>
              <a:rect l="l" t="t" r="r" b="b"/>
              <a:pathLst>
                <a:path w="206375" h="63500" extrusionOk="0">
                  <a:moveTo>
                    <a:pt x="206375" y="50800"/>
                  </a:moveTo>
                  <a:lnTo>
                    <a:pt x="203200" y="0"/>
                  </a:lnTo>
                  <a:lnTo>
                    <a:pt x="177800" y="1905"/>
                  </a:lnTo>
                  <a:lnTo>
                    <a:pt x="25400" y="11430"/>
                  </a:lnTo>
                  <a:lnTo>
                    <a:pt x="0" y="12700"/>
                  </a:lnTo>
                  <a:lnTo>
                    <a:pt x="3175" y="63500"/>
                  </a:lnTo>
                  <a:lnTo>
                    <a:pt x="28575" y="62230"/>
                  </a:lnTo>
                  <a:lnTo>
                    <a:pt x="180975" y="5270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094" name="Google Shape;1094;p16"/>
            <p:cNvSpPr/>
            <p:nvPr/>
          </p:nvSpPr>
          <p:spPr>
            <a:xfrm>
              <a:off x="2138045" y="2913379"/>
              <a:ext cx="206375" cy="63500"/>
            </a:xfrm>
            <a:custGeom>
              <a:avLst/>
              <a:gdLst/>
              <a:ahLst/>
              <a:cxnLst/>
              <a:rect l="l" t="t" r="r" b="b"/>
              <a:pathLst>
                <a:path w="206375" h="63500" extrusionOk="0">
                  <a:moveTo>
                    <a:pt x="206375" y="50800"/>
                  </a:moveTo>
                  <a:lnTo>
                    <a:pt x="203200" y="0"/>
                  </a:lnTo>
                  <a:lnTo>
                    <a:pt x="177800" y="1905"/>
                  </a:lnTo>
                  <a:lnTo>
                    <a:pt x="25400" y="11430"/>
                  </a:lnTo>
                  <a:lnTo>
                    <a:pt x="0" y="12700"/>
                  </a:lnTo>
                  <a:lnTo>
                    <a:pt x="3175" y="63500"/>
                  </a:lnTo>
                  <a:lnTo>
                    <a:pt x="28575" y="62230"/>
                  </a:lnTo>
                  <a:lnTo>
                    <a:pt x="180975" y="5270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095" name="Google Shape;1095;p16"/>
            <p:cNvSpPr/>
            <p:nvPr/>
          </p:nvSpPr>
          <p:spPr>
            <a:xfrm>
              <a:off x="2773045" y="3275329"/>
              <a:ext cx="206375" cy="63500"/>
            </a:xfrm>
            <a:custGeom>
              <a:avLst/>
              <a:gdLst/>
              <a:ahLst/>
              <a:cxnLst/>
              <a:rect l="l" t="t" r="r" b="b"/>
              <a:pathLst>
                <a:path w="206375" h="63500" extrusionOk="0">
                  <a:moveTo>
                    <a:pt x="206375" y="50800"/>
                  </a:moveTo>
                  <a:lnTo>
                    <a:pt x="203200" y="0"/>
                  </a:lnTo>
                  <a:lnTo>
                    <a:pt x="177800" y="1905"/>
                  </a:lnTo>
                  <a:lnTo>
                    <a:pt x="25400" y="11430"/>
                  </a:lnTo>
                  <a:lnTo>
                    <a:pt x="0" y="12700"/>
                  </a:lnTo>
                  <a:lnTo>
                    <a:pt x="3175" y="63500"/>
                  </a:lnTo>
                  <a:lnTo>
                    <a:pt x="28575" y="62230"/>
                  </a:lnTo>
                  <a:lnTo>
                    <a:pt x="180975" y="5270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096" name="Google Shape;1096;p16"/>
            <p:cNvSpPr/>
            <p:nvPr/>
          </p:nvSpPr>
          <p:spPr>
            <a:xfrm>
              <a:off x="3408045" y="3637279"/>
              <a:ext cx="206375" cy="63500"/>
            </a:xfrm>
            <a:custGeom>
              <a:avLst/>
              <a:gdLst/>
              <a:ahLst/>
              <a:cxnLst/>
              <a:rect l="l" t="t" r="r" b="b"/>
              <a:pathLst>
                <a:path w="206375" h="63500" extrusionOk="0">
                  <a:moveTo>
                    <a:pt x="206375" y="50800"/>
                  </a:moveTo>
                  <a:lnTo>
                    <a:pt x="203200" y="0"/>
                  </a:lnTo>
                  <a:lnTo>
                    <a:pt x="177800" y="1905"/>
                  </a:lnTo>
                  <a:lnTo>
                    <a:pt x="25400" y="11430"/>
                  </a:lnTo>
                  <a:lnTo>
                    <a:pt x="0" y="12700"/>
                  </a:lnTo>
                  <a:lnTo>
                    <a:pt x="3175" y="63500"/>
                  </a:lnTo>
                  <a:lnTo>
                    <a:pt x="28575" y="62230"/>
                  </a:lnTo>
                  <a:lnTo>
                    <a:pt x="180975" y="5270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097" name="Google Shape;1097;p16"/>
            <p:cNvSpPr/>
            <p:nvPr/>
          </p:nvSpPr>
          <p:spPr>
            <a:xfrm>
              <a:off x="4043045" y="3999229"/>
              <a:ext cx="206375" cy="63500"/>
            </a:xfrm>
            <a:custGeom>
              <a:avLst/>
              <a:gdLst/>
              <a:ahLst/>
              <a:cxnLst/>
              <a:rect l="l" t="t" r="r" b="b"/>
              <a:pathLst>
                <a:path w="206375" h="63500" extrusionOk="0">
                  <a:moveTo>
                    <a:pt x="206375" y="50800"/>
                  </a:moveTo>
                  <a:lnTo>
                    <a:pt x="203200" y="0"/>
                  </a:lnTo>
                  <a:lnTo>
                    <a:pt x="177800" y="1905"/>
                  </a:lnTo>
                  <a:lnTo>
                    <a:pt x="25400" y="11430"/>
                  </a:lnTo>
                  <a:lnTo>
                    <a:pt x="0" y="12700"/>
                  </a:lnTo>
                  <a:lnTo>
                    <a:pt x="3175" y="63500"/>
                  </a:lnTo>
                  <a:lnTo>
                    <a:pt x="28575" y="62230"/>
                  </a:lnTo>
                  <a:lnTo>
                    <a:pt x="180975" y="5270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098" name="Google Shape;1098;p16"/>
            <p:cNvSpPr/>
            <p:nvPr/>
          </p:nvSpPr>
          <p:spPr>
            <a:xfrm>
              <a:off x="4678045" y="4361179"/>
              <a:ext cx="206375" cy="63500"/>
            </a:xfrm>
            <a:custGeom>
              <a:avLst/>
              <a:gdLst/>
              <a:ahLst/>
              <a:cxnLst/>
              <a:rect l="l" t="t" r="r" b="b"/>
              <a:pathLst>
                <a:path w="206375" h="63500" extrusionOk="0">
                  <a:moveTo>
                    <a:pt x="206375" y="50800"/>
                  </a:moveTo>
                  <a:lnTo>
                    <a:pt x="203200" y="0"/>
                  </a:lnTo>
                  <a:lnTo>
                    <a:pt x="177800" y="1905"/>
                  </a:lnTo>
                  <a:lnTo>
                    <a:pt x="25400" y="11430"/>
                  </a:lnTo>
                  <a:lnTo>
                    <a:pt x="0" y="12700"/>
                  </a:lnTo>
                  <a:lnTo>
                    <a:pt x="3175" y="63500"/>
                  </a:lnTo>
                  <a:lnTo>
                    <a:pt x="28575" y="62230"/>
                  </a:lnTo>
                  <a:lnTo>
                    <a:pt x="180975" y="5270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099" name="Google Shape;1099;p16"/>
            <p:cNvSpPr/>
            <p:nvPr/>
          </p:nvSpPr>
          <p:spPr>
            <a:xfrm>
              <a:off x="5313045" y="4723129"/>
              <a:ext cx="206375" cy="63500"/>
            </a:xfrm>
            <a:custGeom>
              <a:avLst/>
              <a:gdLst/>
              <a:ahLst/>
              <a:cxnLst/>
              <a:rect l="l" t="t" r="r" b="b"/>
              <a:pathLst>
                <a:path w="206375" h="63500" extrusionOk="0">
                  <a:moveTo>
                    <a:pt x="203200" y="0"/>
                  </a:moveTo>
                  <a:lnTo>
                    <a:pt x="177800" y="1905"/>
                  </a:lnTo>
                  <a:lnTo>
                    <a:pt x="25400" y="11430"/>
                  </a:lnTo>
                  <a:lnTo>
                    <a:pt x="0" y="12700"/>
                  </a:lnTo>
                  <a:lnTo>
                    <a:pt x="3175" y="63500"/>
                  </a:lnTo>
                  <a:lnTo>
                    <a:pt x="28575" y="62230"/>
                  </a:lnTo>
                  <a:lnTo>
                    <a:pt x="180975" y="52705"/>
                  </a:lnTo>
                  <a:lnTo>
                    <a:pt x="206375" y="5080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100" name="Google Shape;1100;p16"/>
            <p:cNvSpPr/>
            <p:nvPr/>
          </p:nvSpPr>
          <p:spPr>
            <a:xfrm>
              <a:off x="5948045" y="5085079"/>
              <a:ext cx="206375" cy="63500"/>
            </a:xfrm>
            <a:custGeom>
              <a:avLst/>
              <a:gdLst/>
              <a:ahLst/>
              <a:cxnLst/>
              <a:rect l="l" t="t" r="r" b="b"/>
              <a:pathLst>
                <a:path w="206375" h="63500" extrusionOk="0">
                  <a:moveTo>
                    <a:pt x="177800" y="1905"/>
                  </a:moveTo>
                  <a:lnTo>
                    <a:pt x="25400" y="11430"/>
                  </a:lnTo>
                  <a:lnTo>
                    <a:pt x="0" y="12700"/>
                  </a:lnTo>
                  <a:lnTo>
                    <a:pt x="3175" y="63500"/>
                  </a:lnTo>
                  <a:lnTo>
                    <a:pt x="28575" y="62230"/>
                  </a:lnTo>
                  <a:lnTo>
                    <a:pt x="180975" y="52705"/>
                  </a:lnTo>
                  <a:lnTo>
                    <a:pt x="206375" y="50800"/>
                  </a:lnTo>
                  <a:lnTo>
                    <a:pt x="20320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101" name="Google Shape;1101;p16"/>
            <p:cNvSpPr/>
            <p:nvPr/>
          </p:nvSpPr>
          <p:spPr>
            <a:xfrm>
              <a:off x="6583044" y="5447029"/>
              <a:ext cx="206375" cy="63500"/>
            </a:xfrm>
            <a:custGeom>
              <a:avLst/>
              <a:gdLst/>
              <a:ahLst/>
              <a:cxnLst/>
              <a:rect l="l" t="t" r="r" b="b"/>
              <a:pathLst>
                <a:path w="206375" h="63500" extrusionOk="0">
                  <a:moveTo>
                    <a:pt x="177800" y="1905"/>
                  </a:moveTo>
                  <a:lnTo>
                    <a:pt x="25400" y="11430"/>
                  </a:lnTo>
                  <a:lnTo>
                    <a:pt x="0" y="12700"/>
                  </a:lnTo>
                  <a:lnTo>
                    <a:pt x="3175" y="63500"/>
                  </a:lnTo>
                  <a:lnTo>
                    <a:pt x="28575" y="62230"/>
                  </a:lnTo>
                  <a:lnTo>
                    <a:pt x="180975" y="52705"/>
                  </a:lnTo>
                  <a:lnTo>
                    <a:pt x="206375" y="50800"/>
                  </a:lnTo>
                  <a:lnTo>
                    <a:pt x="20320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102" name="Google Shape;1102;p16"/>
            <p:cNvSpPr/>
            <p:nvPr/>
          </p:nvSpPr>
          <p:spPr>
            <a:xfrm>
              <a:off x="7218044" y="5808979"/>
              <a:ext cx="206375" cy="63500"/>
            </a:xfrm>
            <a:custGeom>
              <a:avLst/>
              <a:gdLst/>
              <a:ahLst/>
              <a:cxnLst/>
              <a:rect l="l" t="t" r="r" b="b"/>
              <a:pathLst>
                <a:path w="206375" h="63500" extrusionOk="0">
                  <a:moveTo>
                    <a:pt x="177800" y="1905"/>
                  </a:moveTo>
                  <a:lnTo>
                    <a:pt x="25400" y="11430"/>
                  </a:lnTo>
                  <a:lnTo>
                    <a:pt x="0" y="12700"/>
                  </a:lnTo>
                  <a:lnTo>
                    <a:pt x="3175" y="63500"/>
                  </a:lnTo>
                  <a:lnTo>
                    <a:pt x="28575" y="62230"/>
                  </a:lnTo>
                  <a:lnTo>
                    <a:pt x="180975" y="52705"/>
                  </a:lnTo>
                  <a:lnTo>
                    <a:pt x="206375" y="50800"/>
                  </a:lnTo>
                  <a:lnTo>
                    <a:pt x="20320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103" name="Google Shape;1103;p16"/>
            <p:cNvSpPr/>
            <p:nvPr/>
          </p:nvSpPr>
          <p:spPr>
            <a:xfrm>
              <a:off x="7853044" y="6170929"/>
              <a:ext cx="206375" cy="63500"/>
            </a:xfrm>
            <a:custGeom>
              <a:avLst/>
              <a:gdLst/>
              <a:ahLst/>
              <a:cxnLst/>
              <a:rect l="l" t="t" r="r" b="b"/>
              <a:pathLst>
                <a:path w="206375" h="63500" extrusionOk="0">
                  <a:moveTo>
                    <a:pt x="177800" y="1905"/>
                  </a:moveTo>
                  <a:lnTo>
                    <a:pt x="25400" y="11430"/>
                  </a:lnTo>
                  <a:lnTo>
                    <a:pt x="0" y="12700"/>
                  </a:lnTo>
                  <a:lnTo>
                    <a:pt x="3175" y="63500"/>
                  </a:lnTo>
                  <a:lnTo>
                    <a:pt x="28575" y="62230"/>
                  </a:lnTo>
                  <a:lnTo>
                    <a:pt x="180975" y="52705"/>
                  </a:lnTo>
                  <a:lnTo>
                    <a:pt x="206375" y="50800"/>
                  </a:lnTo>
                  <a:lnTo>
                    <a:pt x="20320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104" name="Google Shape;1104;p16"/>
            <p:cNvSpPr/>
            <p:nvPr/>
          </p:nvSpPr>
          <p:spPr>
            <a:xfrm>
              <a:off x="8488044" y="6532880"/>
              <a:ext cx="206375" cy="63500"/>
            </a:xfrm>
            <a:custGeom>
              <a:avLst/>
              <a:gdLst/>
              <a:ahLst/>
              <a:cxnLst/>
              <a:rect l="l" t="t" r="r" b="b"/>
              <a:pathLst>
                <a:path w="206375" h="63500" extrusionOk="0">
                  <a:moveTo>
                    <a:pt x="177800" y="1905"/>
                  </a:moveTo>
                  <a:lnTo>
                    <a:pt x="25400" y="11430"/>
                  </a:lnTo>
                  <a:lnTo>
                    <a:pt x="0" y="12700"/>
                  </a:lnTo>
                  <a:lnTo>
                    <a:pt x="3175" y="63500"/>
                  </a:lnTo>
                  <a:lnTo>
                    <a:pt x="28575" y="62230"/>
                  </a:lnTo>
                  <a:lnTo>
                    <a:pt x="180975" y="52705"/>
                  </a:lnTo>
                  <a:lnTo>
                    <a:pt x="206375" y="50800"/>
                  </a:lnTo>
                  <a:lnTo>
                    <a:pt x="20320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105" name="Google Shape;1105;p16"/>
            <p:cNvSpPr/>
            <p:nvPr/>
          </p:nvSpPr>
          <p:spPr>
            <a:xfrm>
              <a:off x="222250" y="1457325"/>
              <a:ext cx="209550" cy="80010"/>
            </a:xfrm>
            <a:custGeom>
              <a:avLst/>
              <a:gdLst/>
              <a:ahLst/>
              <a:cxnLst/>
              <a:rect l="l" t="t" r="r" b="b"/>
              <a:pathLst>
                <a:path w="209550" h="80010" extrusionOk="0">
                  <a:moveTo>
                    <a:pt x="32385" y="3810"/>
                  </a:moveTo>
                  <a:lnTo>
                    <a:pt x="6985" y="0"/>
                  </a:lnTo>
                  <a:lnTo>
                    <a:pt x="0" y="50800"/>
                  </a:lnTo>
                  <a:lnTo>
                    <a:pt x="24765" y="53975"/>
                  </a:lnTo>
                  <a:lnTo>
                    <a:pt x="177165" y="76200"/>
                  </a:lnTo>
                  <a:lnTo>
                    <a:pt x="202565" y="80010"/>
                  </a:lnTo>
                  <a:lnTo>
                    <a:pt x="209550" y="29845"/>
                  </a:lnTo>
                  <a:lnTo>
                    <a:pt x="184785" y="2603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106" name="Google Shape;1106;p16"/>
            <p:cNvSpPr/>
            <p:nvPr/>
          </p:nvSpPr>
          <p:spPr>
            <a:xfrm>
              <a:off x="857250" y="1819275"/>
              <a:ext cx="209550" cy="80010"/>
            </a:xfrm>
            <a:custGeom>
              <a:avLst/>
              <a:gdLst/>
              <a:ahLst/>
              <a:cxnLst/>
              <a:rect l="l" t="t" r="r" b="b"/>
              <a:pathLst>
                <a:path w="209550" h="80010" extrusionOk="0">
                  <a:moveTo>
                    <a:pt x="6985" y="0"/>
                  </a:moveTo>
                  <a:lnTo>
                    <a:pt x="0" y="50800"/>
                  </a:lnTo>
                  <a:lnTo>
                    <a:pt x="24765" y="53975"/>
                  </a:lnTo>
                  <a:lnTo>
                    <a:pt x="177165" y="76200"/>
                  </a:lnTo>
                  <a:lnTo>
                    <a:pt x="202565" y="80010"/>
                  </a:lnTo>
                  <a:lnTo>
                    <a:pt x="209550" y="29845"/>
                  </a:lnTo>
                  <a:lnTo>
                    <a:pt x="184785" y="26035"/>
                  </a:lnTo>
                  <a:lnTo>
                    <a:pt x="32385" y="381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107" name="Google Shape;1107;p16"/>
            <p:cNvSpPr/>
            <p:nvPr/>
          </p:nvSpPr>
          <p:spPr>
            <a:xfrm>
              <a:off x="1492250" y="2181225"/>
              <a:ext cx="209550" cy="80010"/>
            </a:xfrm>
            <a:custGeom>
              <a:avLst/>
              <a:gdLst/>
              <a:ahLst/>
              <a:cxnLst/>
              <a:rect l="l" t="t" r="r" b="b"/>
              <a:pathLst>
                <a:path w="209550" h="80010" extrusionOk="0">
                  <a:moveTo>
                    <a:pt x="6985" y="0"/>
                  </a:moveTo>
                  <a:lnTo>
                    <a:pt x="0" y="50800"/>
                  </a:lnTo>
                  <a:lnTo>
                    <a:pt x="24765" y="53975"/>
                  </a:lnTo>
                  <a:lnTo>
                    <a:pt x="177165" y="76200"/>
                  </a:lnTo>
                  <a:lnTo>
                    <a:pt x="202565" y="80010"/>
                  </a:lnTo>
                  <a:lnTo>
                    <a:pt x="209550" y="29845"/>
                  </a:lnTo>
                  <a:lnTo>
                    <a:pt x="184785" y="26035"/>
                  </a:lnTo>
                  <a:lnTo>
                    <a:pt x="32385" y="381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108" name="Google Shape;1108;p16"/>
            <p:cNvSpPr/>
            <p:nvPr/>
          </p:nvSpPr>
          <p:spPr>
            <a:xfrm>
              <a:off x="2127250" y="2543175"/>
              <a:ext cx="209550" cy="80010"/>
            </a:xfrm>
            <a:custGeom>
              <a:avLst/>
              <a:gdLst/>
              <a:ahLst/>
              <a:cxnLst/>
              <a:rect l="l" t="t" r="r" b="b"/>
              <a:pathLst>
                <a:path w="209550" h="80010" extrusionOk="0">
                  <a:moveTo>
                    <a:pt x="6985" y="0"/>
                  </a:moveTo>
                  <a:lnTo>
                    <a:pt x="0" y="50800"/>
                  </a:lnTo>
                  <a:lnTo>
                    <a:pt x="24765" y="53975"/>
                  </a:lnTo>
                  <a:lnTo>
                    <a:pt x="177165" y="76200"/>
                  </a:lnTo>
                  <a:lnTo>
                    <a:pt x="202565" y="80010"/>
                  </a:lnTo>
                  <a:lnTo>
                    <a:pt x="209550" y="29845"/>
                  </a:lnTo>
                  <a:lnTo>
                    <a:pt x="184785" y="26035"/>
                  </a:lnTo>
                  <a:lnTo>
                    <a:pt x="32385" y="381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109" name="Google Shape;1109;p16"/>
            <p:cNvSpPr/>
            <p:nvPr/>
          </p:nvSpPr>
          <p:spPr>
            <a:xfrm>
              <a:off x="2762250" y="2905125"/>
              <a:ext cx="209550" cy="80010"/>
            </a:xfrm>
            <a:custGeom>
              <a:avLst/>
              <a:gdLst/>
              <a:ahLst/>
              <a:cxnLst/>
              <a:rect l="l" t="t" r="r" b="b"/>
              <a:pathLst>
                <a:path w="209550" h="80010" extrusionOk="0">
                  <a:moveTo>
                    <a:pt x="177165" y="76200"/>
                  </a:moveTo>
                  <a:lnTo>
                    <a:pt x="202565" y="80010"/>
                  </a:lnTo>
                  <a:lnTo>
                    <a:pt x="209550" y="29845"/>
                  </a:lnTo>
                  <a:lnTo>
                    <a:pt x="184785" y="26035"/>
                  </a:lnTo>
                  <a:lnTo>
                    <a:pt x="32385" y="3810"/>
                  </a:lnTo>
                  <a:lnTo>
                    <a:pt x="6985" y="0"/>
                  </a:lnTo>
                  <a:lnTo>
                    <a:pt x="0" y="50800"/>
                  </a:lnTo>
                  <a:lnTo>
                    <a:pt x="24765" y="5397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110" name="Google Shape;1110;p16"/>
            <p:cNvSpPr/>
            <p:nvPr/>
          </p:nvSpPr>
          <p:spPr>
            <a:xfrm>
              <a:off x="3397250" y="3267075"/>
              <a:ext cx="209550" cy="80009"/>
            </a:xfrm>
            <a:custGeom>
              <a:avLst/>
              <a:gdLst/>
              <a:ahLst/>
              <a:cxnLst/>
              <a:rect l="l" t="t" r="r" b="b"/>
              <a:pathLst>
                <a:path w="209550" h="80009" extrusionOk="0">
                  <a:moveTo>
                    <a:pt x="177165" y="76200"/>
                  </a:moveTo>
                  <a:lnTo>
                    <a:pt x="202565" y="80010"/>
                  </a:lnTo>
                  <a:lnTo>
                    <a:pt x="209550" y="29845"/>
                  </a:lnTo>
                  <a:lnTo>
                    <a:pt x="184785" y="26035"/>
                  </a:lnTo>
                  <a:lnTo>
                    <a:pt x="32385" y="3810"/>
                  </a:lnTo>
                  <a:lnTo>
                    <a:pt x="6985" y="0"/>
                  </a:lnTo>
                  <a:lnTo>
                    <a:pt x="0" y="50800"/>
                  </a:lnTo>
                  <a:lnTo>
                    <a:pt x="24765" y="5397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111" name="Google Shape;1111;p16"/>
            <p:cNvSpPr/>
            <p:nvPr/>
          </p:nvSpPr>
          <p:spPr>
            <a:xfrm>
              <a:off x="4032250" y="3629025"/>
              <a:ext cx="209550" cy="80009"/>
            </a:xfrm>
            <a:custGeom>
              <a:avLst/>
              <a:gdLst/>
              <a:ahLst/>
              <a:cxnLst/>
              <a:rect l="l" t="t" r="r" b="b"/>
              <a:pathLst>
                <a:path w="209550" h="80009" extrusionOk="0">
                  <a:moveTo>
                    <a:pt x="177165" y="76200"/>
                  </a:moveTo>
                  <a:lnTo>
                    <a:pt x="202565" y="80010"/>
                  </a:lnTo>
                  <a:lnTo>
                    <a:pt x="209550" y="29845"/>
                  </a:lnTo>
                  <a:lnTo>
                    <a:pt x="184785" y="26035"/>
                  </a:lnTo>
                  <a:lnTo>
                    <a:pt x="32385" y="3810"/>
                  </a:lnTo>
                  <a:lnTo>
                    <a:pt x="6985" y="0"/>
                  </a:lnTo>
                  <a:lnTo>
                    <a:pt x="0" y="50800"/>
                  </a:lnTo>
                  <a:lnTo>
                    <a:pt x="24765" y="5397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112" name="Google Shape;1112;p16"/>
            <p:cNvSpPr/>
            <p:nvPr/>
          </p:nvSpPr>
          <p:spPr>
            <a:xfrm>
              <a:off x="4667250" y="3990975"/>
              <a:ext cx="209550" cy="80009"/>
            </a:xfrm>
            <a:custGeom>
              <a:avLst/>
              <a:gdLst/>
              <a:ahLst/>
              <a:cxnLst/>
              <a:rect l="l" t="t" r="r" b="b"/>
              <a:pathLst>
                <a:path w="209550" h="80009" extrusionOk="0">
                  <a:moveTo>
                    <a:pt x="177165" y="76200"/>
                  </a:moveTo>
                  <a:lnTo>
                    <a:pt x="202565" y="80010"/>
                  </a:lnTo>
                  <a:lnTo>
                    <a:pt x="209550" y="29845"/>
                  </a:lnTo>
                  <a:lnTo>
                    <a:pt x="184785" y="26035"/>
                  </a:lnTo>
                  <a:lnTo>
                    <a:pt x="32385" y="3810"/>
                  </a:lnTo>
                  <a:lnTo>
                    <a:pt x="6985" y="0"/>
                  </a:lnTo>
                  <a:lnTo>
                    <a:pt x="0" y="50800"/>
                  </a:lnTo>
                  <a:lnTo>
                    <a:pt x="24765" y="5397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113" name="Google Shape;1113;p16"/>
            <p:cNvSpPr/>
            <p:nvPr/>
          </p:nvSpPr>
          <p:spPr>
            <a:xfrm>
              <a:off x="5302250" y="4352925"/>
              <a:ext cx="209550" cy="80009"/>
            </a:xfrm>
            <a:custGeom>
              <a:avLst/>
              <a:gdLst/>
              <a:ahLst/>
              <a:cxnLst/>
              <a:rect l="l" t="t" r="r" b="b"/>
              <a:pathLst>
                <a:path w="209550" h="80009" extrusionOk="0">
                  <a:moveTo>
                    <a:pt x="177165" y="76200"/>
                  </a:moveTo>
                  <a:lnTo>
                    <a:pt x="202565" y="80010"/>
                  </a:lnTo>
                  <a:lnTo>
                    <a:pt x="209550" y="29845"/>
                  </a:lnTo>
                  <a:lnTo>
                    <a:pt x="184785" y="26035"/>
                  </a:lnTo>
                  <a:lnTo>
                    <a:pt x="32385" y="3810"/>
                  </a:lnTo>
                  <a:lnTo>
                    <a:pt x="6985" y="0"/>
                  </a:lnTo>
                  <a:lnTo>
                    <a:pt x="0" y="50800"/>
                  </a:lnTo>
                  <a:lnTo>
                    <a:pt x="24765" y="5397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114" name="Google Shape;1114;p16"/>
            <p:cNvSpPr/>
            <p:nvPr/>
          </p:nvSpPr>
          <p:spPr>
            <a:xfrm>
              <a:off x="5937250" y="4714875"/>
              <a:ext cx="209550" cy="80009"/>
            </a:xfrm>
            <a:custGeom>
              <a:avLst/>
              <a:gdLst/>
              <a:ahLst/>
              <a:cxnLst/>
              <a:rect l="l" t="t" r="r" b="b"/>
              <a:pathLst>
                <a:path w="209550" h="80009" extrusionOk="0">
                  <a:moveTo>
                    <a:pt x="177165" y="76200"/>
                  </a:moveTo>
                  <a:lnTo>
                    <a:pt x="202565" y="80010"/>
                  </a:lnTo>
                  <a:lnTo>
                    <a:pt x="209550" y="29845"/>
                  </a:lnTo>
                  <a:lnTo>
                    <a:pt x="184785" y="26035"/>
                  </a:lnTo>
                  <a:lnTo>
                    <a:pt x="32385" y="3810"/>
                  </a:lnTo>
                  <a:lnTo>
                    <a:pt x="6985" y="0"/>
                  </a:lnTo>
                  <a:lnTo>
                    <a:pt x="0" y="50800"/>
                  </a:lnTo>
                  <a:lnTo>
                    <a:pt x="24765" y="5397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115" name="Google Shape;1115;p16"/>
            <p:cNvSpPr/>
            <p:nvPr/>
          </p:nvSpPr>
          <p:spPr>
            <a:xfrm>
              <a:off x="6572250" y="5076825"/>
              <a:ext cx="209550" cy="80009"/>
            </a:xfrm>
            <a:custGeom>
              <a:avLst/>
              <a:gdLst/>
              <a:ahLst/>
              <a:cxnLst/>
              <a:rect l="l" t="t" r="r" b="b"/>
              <a:pathLst>
                <a:path w="209550" h="80009" extrusionOk="0">
                  <a:moveTo>
                    <a:pt x="177165" y="76200"/>
                  </a:moveTo>
                  <a:lnTo>
                    <a:pt x="202565" y="80010"/>
                  </a:lnTo>
                  <a:lnTo>
                    <a:pt x="209550" y="29845"/>
                  </a:lnTo>
                  <a:lnTo>
                    <a:pt x="184785" y="26035"/>
                  </a:lnTo>
                  <a:lnTo>
                    <a:pt x="32385" y="3810"/>
                  </a:lnTo>
                  <a:lnTo>
                    <a:pt x="6985" y="0"/>
                  </a:lnTo>
                  <a:lnTo>
                    <a:pt x="0" y="50800"/>
                  </a:lnTo>
                  <a:lnTo>
                    <a:pt x="24765" y="5397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116" name="Google Shape;1116;p16"/>
            <p:cNvSpPr/>
            <p:nvPr/>
          </p:nvSpPr>
          <p:spPr>
            <a:xfrm>
              <a:off x="7207250" y="5438775"/>
              <a:ext cx="209550" cy="80009"/>
            </a:xfrm>
            <a:custGeom>
              <a:avLst/>
              <a:gdLst/>
              <a:ahLst/>
              <a:cxnLst/>
              <a:rect l="l" t="t" r="r" b="b"/>
              <a:pathLst>
                <a:path w="209550" h="80009" extrusionOk="0">
                  <a:moveTo>
                    <a:pt x="177165" y="76200"/>
                  </a:moveTo>
                  <a:lnTo>
                    <a:pt x="202565" y="80010"/>
                  </a:lnTo>
                  <a:lnTo>
                    <a:pt x="209550" y="29845"/>
                  </a:lnTo>
                  <a:lnTo>
                    <a:pt x="184785" y="26035"/>
                  </a:lnTo>
                  <a:lnTo>
                    <a:pt x="32385" y="3810"/>
                  </a:lnTo>
                  <a:lnTo>
                    <a:pt x="6985" y="0"/>
                  </a:lnTo>
                  <a:lnTo>
                    <a:pt x="0" y="50800"/>
                  </a:lnTo>
                  <a:lnTo>
                    <a:pt x="24765" y="5397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117" name="Google Shape;1117;p16"/>
            <p:cNvSpPr/>
            <p:nvPr/>
          </p:nvSpPr>
          <p:spPr>
            <a:xfrm>
              <a:off x="7842250" y="5800725"/>
              <a:ext cx="209550" cy="80009"/>
            </a:xfrm>
            <a:custGeom>
              <a:avLst/>
              <a:gdLst/>
              <a:ahLst/>
              <a:cxnLst/>
              <a:rect l="l" t="t" r="r" b="b"/>
              <a:pathLst>
                <a:path w="209550" h="80009" extrusionOk="0">
                  <a:moveTo>
                    <a:pt x="32385" y="3810"/>
                  </a:moveTo>
                  <a:lnTo>
                    <a:pt x="6985" y="0"/>
                  </a:lnTo>
                  <a:lnTo>
                    <a:pt x="0" y="50800"/>
                  </a:lnTo>
                  <a:lnTo>
                    <a:pt x="24765" y="53975"/>
                  </a:lnTo>
                  <a:lnTo>
                    <a:pt x="177165" y="76200"/>
                  </a:lnTo>
                  <a:lnTo>
                    <a:pt x="202565" y="80010"/>
                  </a:lnTo>
                  <a:lnTo>
                    <a:pt x="209550" y="29845"/>
                  </a:lnTo>
                  <a:lnTo>
                    <a:pt x="184785" y="2603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118" name="Google Shape;1118;p16"/>
            <p:cNvSpPr/>
            <p:nvPr/>
          </p:nvSpPr>
          <p:spPr>
            <a:xfrm>
              <a:off x="8477250" y="6162675"/>
              <a:ext cx="209550" cy="80009"/>
            </a:xfrm>
            <a:custGeom>
              <a:avLst/>
              <a:gdLst/>
              <a:ahLst/>
              <a:cxnLst/>
              <a:rect l="l" t="t" r="r" b="b"/>
              <a:pathLst>
                <a:path w="209550" h="80009" extrusionOk="0">
                  <a:moveTo>
                    <a:pt x="177165" y="76200"/>
                  </a:moveTo>
                  <a:lnTo>
                    <a:pt x="202565" y="80010"/>
                  </a:lnTo>
                  <a:lnTo>
                    <a:pt x="209550" y="29845"/>
                  </a:lnTo>
                  <a:lnTo>
                    <a:pt x="184785" y="26035"/>
                  </a:lnTo>
                  <a:lnTo>
                    <a:pt x="32385" y="3810"/>
                  </a:lnTo>
                  <a:lnTo>
                    <a:pt x="6985" y="0"/>
                  </a:lnTo>
                  <a:lnTo>
                    <a:pt x="0" y="50800"/>
                  </a:lnTo>
                  <a:lnTo>
                    <a:pt x="24765" y="5397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119" name="Google Shape;1119;p16"/>
            <p:cNvSpPr/>
            <p:nvPr/>
          </p:nvSpPr>
          <p:spPr>
            <a:xfrm>
              <a:off x="9112250" y="6524625"/>
              <a:ext cx="209550" cy="80009"/>
            </a:xfrm>
            <a:custGeom>
              <a:avLst/>
              <a:gdLst/>
              <a:ahLst/>
              <a:cxnLst/>
              <a:rect l="l" t="t" r="r" b="b"/>
              <a:pathLst>
                <a:path w="209550" h="80009" extrusionOk="0">
                  <a:moveTo>
                    <a:pt x="32385" y="3810"/>
                  </a:moveTo>
                  <a:lnTo>
                    <a:pt x="6985" y="0"/>
                  </a:lnTo>
                  <a:lnTo>
                    <a:pt x="0" y="50800"/>
                  </a:lnTo>
                  <a:lnTo>
                    <a:pt x="24765" y="53975"/>
                  </a:lnTo>
                  <a:lnTo>
                    <a:pt x="177165" y="76200"/>
                  </a:lnTo>
                  <a:lnTo>
                    <a:pt x="202565" y="80010"/>
                  </a:lnTo>
                  <a:lnTo>
                    <a:pt x="209550" y="29845"/>
                  </a:lnTo>
                  <a:lnTo>
                    <a:pt x="184785" y="2603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120" name="Google Shape;1120;p16"/>
            <p:cNvSpPr/>
            <p:nvPr/>
          </p:nvSpPr>
          <p:spPr>
            <a:xfrm>
              <a:off x="164464" y="1076960"/>
              <a:ext cx="217169" cy="117475"/>
            </a:xfrm>
            <a:custGeom>
              <a:avLst/>
              <a:gdLst/>
              <a:ahLst/>
              <a:cxnLst/>
              <a:rect l="l" t="t" r="r" b="b"/>
              <a:pathLst>
                <a:path w="217169" h="117475" extrusionOk="0">
                  <a:moveTo>
                    <a:pt x="40640" y="8255"/>
                  </a:moveTo>
                  <a:lnTo>
                    <a:pt x="16510" y="0"/>
                  </a:lnTo>
                  <a:lnTo>
                    <a:pt x="0" y="47625"/>
                  </a:lnTo>
                  <a:lnTo>
                    <a:pt x="24130" y="55880"/>
                  </a:lnTo>
                  <a:lnTo>
                    <a:pt x="176530" y="109220"/>
                  </a:lnTo>
                  <a:lnTo>
                    <a:pt x="200025" y="117475"/>
                  </a:lnTo>
                  <a:lnTo>
                    <a:pt x="217170" y="69215"/>
                  </a:lnTo>
                  <a:lnTo>
                    <a:pt x="193040" y="6096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121" name="Google Shape;1121;p16"/>
            <p:cNvSpPr/>
            <p:nvPr/>
          </p:nvSpPr>
          <p:spPr>
            <a:xfrm>
              <a:off x="799465" y="1438910"/>
              <a:ext cx="217170" cy="117475"/>
            </a:xfrm>
            <a:custGeom>
              <a:avLst/>
              <a:gdLst/>
              <a:ahLst/>
              <a:cxnLst/>
              <a:rect l="l" t="t" r="r" b="b"/>
              <a:pathLst>
                <a:path w="217170" h="117475" extrusionOk="0">
                  <a:moveTo>
                    <a:pt x="40640" y="8255"/>
                  </a:moveTo>
                  <a:lnTo>
                    <a:pt x="16510" y="0"/>
                  </a:lnTo>
                  <a:lnTo>
                    <a:pt x="0" y="47625"/>
                  </a:lnTo>
                  <a:lnTo>
                    <a:pt x="24130" y="55880"/>
                  </a:lnTo>
                  <a:lnTo>
                    <a:pt x="176530" y="109220"/>
                  </a:lnTo>
                  <a:lnTo>
                    <a:pt x="200025" y="117475"/>
                  </a:lnTo>
                  <a:lnTo>
                    <a:pt x="217170" y="69215"/>
                  </a:lnTo>
                  <a:lnTo>
                    <a:pt x="193040" y="6096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122" name="Google Shape;1122;p16"/>
            <p:cNvSpPr/>
            <p:nvPr/>
          </p:nvSpPr>
          <p:spPr>
            <a:xfrm>
              <a:off x="1434464" y="1800860"/>
              <a:ext cx="217170" cy="117475"/>
            </a:xfrm>
            <a:custGeom>
              <a:avLst/>
              <a:gdLst/>
              <a:ahLst/>
              <a:cxnLst/>
              <a:rect l="l" t="t" r="r" b="b"/>
              <a:pathLst>
                <a:path w="217170" h="117475" extrusionOk="0">
                  <a:moveTo>
                    <a:pt x="40640" y="8255"/>
                  </a:moveTo>
                  <a:lnTo>
                    <a:pt x="16510" y="0"/>
                  </a:lnTo>
                  <a:lnTo>
                    <a:pt x="0" y="47625"/>
                  </a:lnTo>
                  <a:lnTo>
                    <a:pt x="24130" y="55880"/>
                  </a:lnTo>
                  <a:lnTo>
                    <a:pt x="176530" y="109220"/>
                  </a:lnTo>
                  <a:lnTo>
                    <a:pt x="200025" y="117475"/>
                  </a:lnTo>
                  <a:lnTo>
                    <a:pt x="217170" y="69215"/>
                  </a:lnTo>
                  <a:lnTo>
                    <a:pt x="193040" y="6096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123" name="Google Shape;1123;p16"/>
            <p:cNvSpPr/>
            <p:nvPr/>
          </p:nvSpPr>
          <p:spPr>
            <a:xfrm>
              <a:off x="2069464" y="2162810"/>
              <a:ext cx="217170" cy="117475"/>
            </a:xfrm>
            <a:custGeom>
              <a:avLst/>
              <a:gdLst/>
              <a:ahLst/>
              <a:cxnLst/>
              <a:rect l="l" t="t" r="r" b="b"/>
              <a:pathLst>
                <a:path w="217170" h="117475" extrusionOk="0">
                  <a:moveTo>
                    <a:pt x="176530" y="109220"/>
                  </a:moveTo>
                  <a:lnTo>
                    <a:pt x="200025" y="117475"/>
                  </a:lnTo>
                  <a:lnTo>
                    <a:pt x="217170" y="69215"/>
                  </a:lnTo>
                  <a:lnTo>
                    <a:pt x="193040" y="60960"/>
                  </a:lnTo>
                  <a:lnTo>
                    <a:pt x="40640" y="8255"/>
                  </a:lnTo>
                  <a:lnTo>
                    <a:pt x="16510" y="0"/>
                  </a:lnTo>
                  <a:lnTo>
                    <a:pt x="0" y="47625"/>
                  </a:lnTo>
                  <a:lnTo>
                    <a:pt x="24130" y="558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124" name="Google Shape;1124;p16"/>
            <p:cNvSpPr/>
            <p:nvPr/>
          </p:nvSpPr>
          <p:spPr>
            <a:xfrm>
              <a:off x="2704464" y="2524760"/>
              <a:ext cx="217170" cy="117475"/>
            </a:xfrm>
            <a:custGeom>
              <a:avLst/>
              <a:gdLst/>
              <a:ahLst/>
              <a:cxnLst/>
              <a:rect l="l" t="t" r="r" b="b"/>
              <a:pathLst>
                <a:path w="217170" h="117475" extrusionOk="0">
                  <a:moveTo>
                    <a:pt x="176530" y="109220"/>
                  </a:moveTo>
                  <a:lnTo>
                    <a:pt x="200025" y="117475"/>
                  </a:lnTo>
                  <a:lnTo>
                    <a:pt x="217170" y="69215"/>
                  </a:lnTo>
                  <a:lnTo>
                    <a:pt x="193040" y="60960"/>
                  </a:lnTo>
                  <a:lnTo>
                    <a:pt x="40640" y="8255"/>
                  </a:lnTo>
                  <a:lnTo>
                    <a:pt x="16510" y="0"/>
                  </a:lnTo>
                  <a:lnTo>
                    <a:pt x="0" y="47625"/>
                  </a:lnTo>
                  <a:lnTo>
                    <a:pt x="24130" y="558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125" name="Google Shape;1125;p16"/>
            <p:cNvSpPr/>
            <p:nvPr/>
          </p:nvSpPr>
          <p:spPr>
            <a:xfrm>
              <a:off x="3339465" y="2886710"/>
              <a:ext cx="217169" cy="117475"/>
            </a:xfrm>
            <a:custGeom>
              <a:avLst/>
              <a:gdLst/>
              <a:ahLst/>
              <a:cxnLst/>
              <a:rect l="l" t="t" r="r" b="b"/>
              <a:pathLst>
                <a:path w="217169" h="117475" extrusionOk="0">
                  <a:moveTo>
                    <a:pt x="176530" y="109220"/>
                  </a:moveTo>
                  <a:lnTo>
                    <a:pt x="200025" y="117475"/>
                  </a:lnTo>
                  <a:lnTo>
                    <a:pt x="217170" y="69215"/>
                  </a:lnTo>
                  <a:lnTo>
                    <a:pt x="193040" y="60960"/>
                  </a:lnTo>
                  <a:lnTo>
                    <a:pt x="40640" y="8255"/>
                  </a:lnTo>
                  <a:lnTo>
                    <a:pt x="16510" y="0"/>
                  </a:lnTo>
                  <a:lnTo>
                    <a:pt x="0" y="47625"/>
                  </a:lnTo>
                  <a:lnTo>
                    <a:pt x="24130" y="558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126" name="Google Shape;1126;p16"/>
            <p:cNvSpPr/>
            <p:nvPr/>
          </p:nvSpPr>
          <p:spPr>
            <a:xfrm>
              <a:off x="3974465" y="3248660"/>
              <a:ext cx="217169" cy="117474"/>
            </a:xfrm>
            <a:custGeom>
              <a:avLst/>
              <a:gdLst/>
              <a:ahLst/>
              <a:cxnLst/>
              <a:rect l="l" t="t" r="r" b="b"/>
              <a:pathLst>
                <a:path w="217169" h="117474" extrusionOk="0">
                  <a:moveTo>
                    <a:pt x="176530" y="109220"/>
                  </a:moveTo>
                  <a:lnTo>
                    <a:pt x="200025" y="117475"/>
                  </a:lnTo>
                  <a:lnTo>
                    <a:pt x="217170" y="69215"/>
                  </a:lnTo>
                  <a:lnTo>
                    <a:pt x="193040" y="60960"/>
                  </a:lnTo>
                  <a:lnTo>
                    <a:pt x="40640" y="8255"/>
                  </a:lnTo>
                  <a:lnTo>
                    <a:pt x="16510" y="0"/>
                  </a:lnTo>
                  <a:lnTo>
                    <a:pt x="0" y="47625"/>
                  </a:lnTo>
                  <a:lnTo>
                    <a:pt x="24130" y="558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127" name="Google Shape;1127;p16"/>
            <p:cNvSpPr/>
            <p:nvPr/>
          </p:nvSpPr>
          <p:spPr>
            <a:xfrm>
              <a:off x="4609465" y="3610609"/>
              <a:ext cx="217169" cy="117475"/>
            </a:xfrm>
            <a:custGeom>
              <a:avLst/>
              <a:gdLst/>
              <a:ahLst/>
              <a:cxnLst/>
              <a:rect l="l" t="t" r="r" b="b"/>
              <a:pathLst>
                <a:path w="217169" h="117475" extrusionOk="0">
                  <a:moveTo>
                    <a:pt x="200025" y="117475"/>
                  </a:moveTo>
                  <a:lnTo>
                    <a:pt x="217170" y="69215"/>
                  </a:lnTo>
                  <a:lnTo>
                    <a:pt x="193040" y="60960"/>
                  </a:lnTo>
                  <a:lnTo>
                    <a:pt x="40640" y="8255"/>
                  </a:lnTo>
                  <a:lnTo>
                    <a:pt x="16510" y="0"/>
                  </a:lnTo>
                  <a:lnTo>
                    <a:pt x="0" y="47625"/>
                  </a:lnTo>
                  <a:lnTo>
                    <a:pt x="24130" y="55880"/>
                  </a:lnTo>
                  <a:lnTo>
                    <a:pt x="176530" y="10922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128" name="Google Shape;1128;p16"/>
            <p:cNvSpPr/>
            <p:nvPr/>
          </p:nvSpPr>
          <p:spPr>
            <a:xfrm>
              <a:off x="5244465" y="3972559"/>
              <a:ext cx="217169" cy="117475"/>
            </a:xfrm>
            <a:custGeom>
              <a:avLst/>
              <a:gdLst/>
              <a:ahLst/>
              <a:cxnLst/>
              <a:rect l="l" t="t" r="r" b="b"/>
              <a:pathLst>
                <a:path w="217169" h="117475" extrusionOk="0">
                  <a:moveTo>
                    <a:pt x="176530" y="109220"/>
                  </a:moveTo>
                  <a:lnTo>
                    <a:pt x="200025" y="117475"/>
                  </a:lnTo>
                  <a:lnTo>
                    <a:pt x="217170" y="69215"/>
                  </a:lnTo>
                  <a:lnTo>
                    <a:pt x="193040" y="60960"/>
                  </a:lnTo>
                  <a:lnTo>
                    <a:pt x="40640" y="8255"/>
                  </a:lnTo>
                  <a:lnTo>
                    <a:pt x="16510" y="0"/>
                  </a:lnTo>
                  <a:lnTo>
                    <a:pt x="0" y="47625"/>
                  </a:lnTo>
                  <a:lnTo>
                    <a:pt x="24130" y="558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129" name="Google Shape;1129;p16"/>
            <p:cNvSpPr/>
            <p:nvPr/>
          </p:nvSpPr>
          <p:spPr>
            <a:xfrm>
              <a:off x="5879465" y="4334509"/>
              <a:ext cx="217169" cy="117475"/>
            </a:xfrm>
            <a:custGeom>
              <a:avLst/>
              <a:gdLst/>
              <a:ahLst/>
              <a:cxnLst/>
              <a:rect l="l" t="t" r="r" b="b"/>
              <a:pathLst>
                <a:path w="217169" h="117475" extrusionOk="0">
                  <a:moveTo>
                    <a:pt x="176530" y="109220"/>
                  </a:moveTo>
                  <a:lnTo>
                    <a:pt x="200025" y="117475"/>
                  </a:lnTo>
                  <a:lnTo>
                    <a:pt x="217170" y="69215"/>
                  </a:lnTo>
                  <a:lnTo>
                    <a:pt x="193040" y="60960"/>
                  </a:lnTo>
                  <a:lnTo>
                    <a:pt x="40640" y="8255"/>
                  </a:lnTo>
                  <a:lnTo>
                    <a:pt x="16510" y="0"/>
                  </a:lnTo>
                  <a:lnTo>
                    <a:pt x="0" y="47625"/>
                  </a:lnTo>
                  <a:lnTo>
                    <a:pt x="24130" y="558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130" name="Google Shape;1130;p16"/>
            <p:cNvSpPr/>
            <p:nvPr/>
          </p:nvSpPr>
          <p:spPr>
            <a:xfrm>
              <a:off x="6514465" y="4696459"/>
              <a:ext cx="217169" cy="117475"/>
            </a:xfrm>
            <a:custGeom>
              <a:avLst/>
              <a:gdLst/>
              <a:ahLst/>
              <a:cxnLst/>
              <a:rect l="l" t="t" r="r" b="b"/>
              <a:pathLst>
                <a:path w="217169" h="117475" extrusionOk="0">
                  <a:moveTo>
                    <a:pt x="176530" y="109220"/>
                  </a:moveTo>
                  <a:lnTo>
                    <a:pt x="200025" y="117475"/>
                  </a:lnTo>
                  <a:lnTo>
                    <a:pt x="217170" y="69215"/>
                  </a:lnTo>
                  <a:lnTo>
                    <a:pt x="193040" y="60960"/>
                  </a:lnTo>
                  <a:lnTo>
                    <a:pt x="40640" y="8255"/>
                  </a:lnTo>
                  <a:lnTo>
                    <a:pt x="16510" y="0"/>
                  </a:lnTo>
                  <a:lnTo>
                    <a:pt x="0" y="47625"/>
                  </a:lnTo>
                  <a:lnTo>
                    <a:pt x="24130" y="558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131" name="Google Shape;1131;p16"/>
            <p:cNvSpPr/>
            <p:nvPr/>
          </p:nvSpPr>
          <p:spPr>
            <a:xfrm>
              <a:off x="7149465" y="5058409"/>
              <a:ext cx="217169" cy="117475"/>
            </a:xfrm>
            <a:custGeom>
              <a:avLst/>
              <a:gdLst/>
              <a:ahLst/>
              <a:cxnLst/>
              <a:rect l="l" t="t" r="r" b="b"/>
              <a:pathLst>
                <a:path w="217169" h="117475" extrusionOk="0">
                  <a:moveTo>
                    <a:pt x="16510" y="0"/>
                  </a:moveTo>
                  <a:lnTo>
                    <a:pt x="0" y="47625"/>
                  </a:lnTo>
                  <a:lnTo>
                    <a:pt x="24130" y="55880"/>
                  </a:lnTo>
                  <a:lnTo>
                    <a:pt x="176530" y="109220"/>
                  </a:lnTo>
                  <a:lnTo>
                    <a:pt x="200025" y="117475"/>
                  </a:lnTo>
                  <a:lnTo>
                    <a:pt x="217170" y="69215"/>
                  </a:lnTo>
                  <a:lnTo>
                    <a:pt x="193040" y="60960"/>
                  </a:lnTo>
                  <a:lnTo>
                    <a:pt x="40640" y="825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132" name="Google Shape;1132;p16"/>
            <p:cNvSpPr/>
            <p:nvPr/>
          </p:nvSpPr>
          <p:spPr>
            <a:xfrm>
              <a:off x="7784465" y="5420359"/>
              <a:ext cx="217169" cy="117475"/>
            </a:xfrm>
            <a:custGeom>
              <a:avLst/>
              <a:gdLst/>
              <a:ahLst/>
              <a:cxnLst/>
              <a:rect l="l" t="t" r="r" b="b"/>
              <a:pathLst>
                <a:path w="217169" h="117475" extrusionOk="0">
                  <a:moveTo>
                    <a:pt x="200025" y="117475"/>
                  </a:moveTo>
                  <a:lnTo>
                    <a:pt x="217170" y="69215"/>
                  </a:lnTo>
                  <a:lnTo>
                    <a:pt x="193040" y="60960"/>
                  </a:lnTo>
                  <a:lnTo>
                    <a:pt x="40640" y="8255"/>
                  </a:lnTo>
                  <a:lnTo>
                    <a:pt x="16510" y="0"/>
                  </a:lnTo>
                  <a:lnTo>
                    <a:pt x="0" y="47625"/>
                  </a:lnTo>
                  <a:lnTo>
                    <a:pt x="24130" y="55880"/>
                  </a:lnTo>
                  <a:lnTo>
                    <a:pt x="176530" y="10922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133" name="Google Shape;1133;p16"/>
            <p:cNvSpPr/>
            <p:nvPr/>
          </p:nvSpPr>
          <p:spPr>
            <a:xfrm>
              <a:off x="8419465" y="5782309"/>
              <a:ext cx="217169" cy="117475"/>
            </a:xfrm>
            <a:custGeom>
              <a:avLst/>
              <a:gdLst/>
              <a:ahLst/>
              <a:cxnLst/>
              <a:rect l="l" t="t" r="r" b="b"/>
              <a:pathLst>
                <a:path w="217169" h="117475" extrusionOk="0">
                  <a:moveTo>
                    <a:pt x="200025" y="117475"/>
                  </a:moveTo>
                  <a:lnTo>
                    <a:pt x="217170" y="69215"/>
                  </a:lnTo>
                  <a:lnTo>
                    <a:pt x="193040" y="60960"/>
                  </a:lnTo>
                  <a:lnTo>
                    <a:pt x="40640" y="8255"/>
                  </a:lnTo>
                  <a:lnTo>
                    <a:pt x="16510" y="0"/>
                  </a:lnTo>
                  <a:lnTo>
                    <a:pt x="0" y="47625"/>
                  </a:lnTo>
                  <a:lnTo>
                    <a:pt x="24130" y="55880"/>
                  </a:lnTo>
                  <a:lnTo>
                    <a:pt x="176530" y="10922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134" name="Google Shape;1134;p16"/>
            <p:cNvSpPr/>
            <p:nvPr/>
          </p:nvSpPr>
          <p:spPr>
            <a:xfrm>
              <a:off x="9054465" y="6144259"/>
              <a:ext cx="217169" cy="117475"/>
            </a:xfrm>
            <a:custGeom>
              <a:avLst/>
              <a:gdLst/>
              <a:ahLst/>
              <a:cxnLst/>
              <a:rect l="l" t="t" r="r" b="b"/>
              <a:pathLst>
                <a:path w="217169" h="117475" extrusionOk="0">
                  <a:moveTo>
                    <a:pt x="200025" y="117475"/>
                  </a:moveTo>
                  <a:lnTo>
                    <a:pt x="217170" y="69215"/>
                  </a:lnTo>
                  <a:lnTo>
                    <a:pt x="193040" y="60960"/>
                  </a:lnTo>
                  <a:lnTo>
                    <a:pt x="40640" y="8255"/>
                  </a:lnTo>
                  <a:lnTo>
                    <a:pt x="16510" y="0"/>
                  </a:lnTo>
                  <a:lnTo>
                    <a:pt x="0" y="47625"/>
                  </a:lnTo>
                  <a:lnTo>
                    <a:pt x="24130" y="55880"/>
                  </a:lnTo>
                  <a:lnTo>
                    <a:pt x="176530" y="10922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135" name="Google Shape;1135;p16"/>
            <p:cNvSpPr/>
            <p:nvPr/>
          </p:nvSpPr>
          <p:spPr>
            <a:xfrm>
              <a:off x="9689465" y="6506209"/>
              <a:ext cx="217169" cy="117475"/>
            </a:xfrm>
            <a:custGeom>
              <a:avLst/>
              <a:gdLst/>
              <a:ahLst/>
              <a:cxnLst/>
              <a:rect l="l" t="t" r="r" b="b"/>
              <a:pathLst>
                <a:path w="217169" h="117475" extrusionOk="0">
                  <a:moveTo>
                    <a:pt x="40640" y="8255"/>
                  </a:moveTo>
                  <a:lnTo>
                    <a:pt x="16510" y="0"/>
                  </a:lnTo>
                  <a:lnTo>
                    <a:pt x="0" y="47625"/>
                  </a:lnTo>
                  <a:lnTo>
                    <a:pt x="24130" y="55880"/>
                  </a:lnTo>
                  <a:lnTo>
                    <a:pt x="176530" y="109220"/>
                  </a:lnTo>
                  <a:lnTo>
                    <a:pt x="200025" y="117475"/>
                  </a:lnTo>
                  <a:lnTo>
                    <a:pt x="217170" y="69215"/>
                  </a:lnTo>
                  <a:lnTo>
                    <a:pt x="193040" y="6096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136" name="Google Shape;1136;p16"/>
            <p:cNvSpPr/>
            <p:nvPr/>
          </p:nvSpPr>
          <p:spPr>
            <a:xfrm>
              <a:off x="65405" y="698500"/>
              <a:ext cx="220979" cy="149860"/>
            </a:xfrm>
            <a:custGeom>
              <a:avLst/>
              <a:gdLst/>
              <a:ahLst/>
              <a:cxnLst/>
              <a:rect l="l" t="t" r="r" b="b"/>
              <a:pathLst>
                <a:path w="220979" h="149860" extrusionOk="0">
                  <a:moveTo>
                    <a:pt x="46355" y="12065"/>
                  </a:moveTo>
                  <a:lnTo>
                    <a:pt x="23495" y="0"/>
                  </a:lnTo>
                  <a:lnTo>
                    <a:pt x="0" y="44450"/>
                  </a:lnTo>
                  <a:lnTo>
                    <a:pt x="22225" y="56515"/>
                  </a:lnTo>
                  <a:lnTo>
                    <a:pt x="174625" y="138430"/>
                  </a:lnTo>
                  <a:lnTo>
                    <a:pt x="196850" y="149860"/>
                  </a:lnTo>
                  <a:lnTo>
                    <a:pt x="220980" y="105410"/>
                  </a:lnTo>
                  <a:lnTo>
                    <a:pt x="198755" y="9334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137" name="Google Shape;1137;p16"/>
            <p:cNvSpPr/>
            <p:nvPr/>
          </p:nvSpPr>
          <p:spPr>
            <a:xfrm>
              <a:off x="700405" y="1060450"/>
              <a:ext cx="220980" cy="149860"/>
            </a:xfrm>
            <a:custGeom>
              <a:avLst/>
              <a:gdLst/>
              <a:ahLst/>
              <a:cxnLst/>
              <a:rect l="l" t="t" r="r" b="b"/>
              <a:pathLst>
                <a:path w="220980" h="149860" extrusionOk="0">
                  <a:moveTo>
                    <a:pt x="46355" y="12065"/>
                  </a:moveTo>
                  <a:lnTo>
                    <a:pt x="23495" y="0"/>
                  </a:lnTo>
                  <a:lnTo>
                    <a:pt x="0" y="44450"/>
                  </a:lnTo>
                  <a:lnTo>
                    <a:pt x="22225" y="56515"/>
                  </a:lnTo>
                  <a:lnTo>
                    <a:pt x="174625" y="138430"/>
                  </a:lnTo>
                  <a:lnTo>
                    <a:pt x="196850" y="149860"/>
                  </a:lnTo>
                  <a:lnTo>
                    <a:pt x="220980" y="105410"/>
                  </a:lnTo>
                  <a:lnTo>
                    <a:pt x="198755" y="9334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138" name="Google Shape;1138;p16"/>
            <p:cNvSpPr/>
            <p:nvPr/>
          </p:nvSpPr>
          <p:spPr>
            <a:xfrm>
              <a:off x="1335405" y="1422400"/>
              <a:ext cx="220980" cy="149860"/>
            </a:xfrm>
            <a:custGeom>
              <a:avLst/>
              <a:gdLst/>
              <a:ahLst/>
              <a:cxnLst/>
              <a:rect l="l" t="t" r="r" b="b"/>
              <a:pathLst>
                <a:path w="220980" h="149860" extrusionOk="0">
                  <a:moveTo>
                    <a:pt x="23495" y="0"/>
                  </a:moveTo>
                  <a:lnTo>
                    <a:pt x="0" y="44450"/>
                  </a:lnTo>
                  <a:lnTo>
                    <a:pt x="22225" y="56515"/>
                  </a:lnTo>
                  <a:lnTo>
                    <a:pt x="174625" y="138430"/>
                  </a:lnTo>
                  <a:lnTo>
                    <a:pt x="196850" y="149860"/>
                  </a:lnTo>
                  <a:lnTo>
                    <a:pt x="220980" y="105410"/>
                  </a:lnTo>
                  <a:lnTo>
                    <a:pt x="198755" y="93345"/>
                  </a:lnTo>
                  <a:lnTo>
                    <a:pt x="46355" y="1206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139" name="Google Shape;1139;p16"/>
            <p:cNvSpPr/>
            <p:nvPr/>
          </p:nvSpPr>
          <p:spPr>
            <a:xfrm>
              <a:off x="1970404" y="1784350"/>
              <a:ext cx="220980" cy="149860"/>
            </a:xfrm>
            <a:custGeom>
              <a:avLst/>
              <a:gdLst/>
              <a:ahLst/>
              <a:cxnLst/>
              <a:rect l="l" t="t" r="r" b="b"/>
              <a:pathLst>
                <a:path w="220980" h="149860" extrusionOk="0">
                  <a:moveTo>
                    <a:pt x="174625" y="138430"/>
                  </a:moveTo>
                  <a:lnTo>
                    <a:pt x="196850" y="149860"/>
                  </a:lnTo>
                  <a:lnTo>
                    <a:pt x="220980" y="105410"/>
                  </a:lnTo>
                  <a:lnTo>
                    <a:pt x="198755" y="93345"/>
                  </a:lnTo>
                  <a:lnTo>
                    <a:pt x="46355" y="12065"/>
                  </a:lnTo>
                  <a:lnTo>
                    <a:pt x="23495" y="0"/>
                  </a:lnTo>
                  <a:lnTo>
                    <a:pt x="0" y="44450"/>
                  </a:lnTo>
                  <a:lnTo>
                    <a:pt x="22225"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140" name="Google Shape;1140;p16"/>
            <p:cNvSpPr/>
            <p:nvPr/>
          </p:nvSpPr>
          <p:spPr>
            <a:xfrm>
              <a:off x="2605404" y="2146300"/>
              <a:ext cx="220980" cy="149860"/>
            </a:xfrm>
            <a:custGeom>
              <a:avLst/>
              <a:gdLst/>
              <a:ahLst/>
              <a:cxnLst/>
              <a:rect l="l" t="t" r="r" b="b"/>
              <a:pathLst>
                <a:path w="220980" h="149860" extrusionOk="0">
                  <a:moveTo>
                    <a:pt x="174625" y="138430"/>
                  </a:moveTo>
                  <a:lnTo>
                    <a:pt x="196850" y="149860"/>
                  </a:lnTo>
                  <a:lnTo>
                    <a:pt x="220980" y="105410"/>
                  </a:lnTo>
                  <a:lnTo>
                    <a:pt x="198755" y="93345"/>
                  </a:lnTo>
                  <a:lnTo>
                    <a:pt x="46355" y="12065"/>
                  </a:lnTo>
                  <a:lnTo>
                    <a:pt x="23495" y="0"/>
                  </a:lnTo>
                  <a:lnTo>
                    <a:pt x="0" y="44450"/>
                  </a:lnTo>
                  <a:lnTo>
                    <a:pt x="22225"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141" name="Google Shape;1141;p16"/>
            <p:cNvSpPr/>
            <p:nvPr/>
          </p:nvSpPr>
          <p:spPr>
            <a:xfrm>
              <a:off x="3240404" y="2508250"/>
              <a:ext cx="220979" cy="149860"/>
            </a:xfrm>
            <a:custGeom>
              <a:avLst/>
              <a:gdLst/>
              <a:ahLst/>
              <a:cxnLst/>
              <a:rect l="l" t="t" r="r" b="b"/>
              <a:pathLst>
                <a:path w="220979" h="149860" extrusionOk="0">
                  <a:moveTo>
                    <a:pt x="174625" y="138430"/>
                  </a:moveTo>
                  <a:lnTo>
                    <a:pt x="196850" y="149860"/>
                  </a:lnTo>
                  <a:lnTo>
                    <a:pt x="220980" y="105410"/>
                  </a:lnTo>
                  <a:lnTo>
                    <a:pt x="198755" y="93345"/>
                  </a:lnTo>
                  <a:lnTo>
                    <a:pt x="46355" y="12065"/>
                  </a:lnTo>
                  <a:lnTo>
                    <a:pt x="23495" y="0"/>
                  </a:lnTo>
                  <a:lnTo>
                    <a:pt x="0" y="44450"/>
                  </a:lnTo>
                  <a:lnTo>
                    <a:pt x="22225"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142" name="Google Shape;1142;p16"/>
            <p:cNvSpPr/>
            <p:nvPr/>
          </p:nvSpPr>
          <p:spPr>
            <a:xfrm>
              <a:off x="3875404" y="2870200"/>
              <a:ext cx="220979" cy="149860"/>
            </a:xfrm>
            <a:custGeom>
              <a:avLst/>
              <a:gdLst/>
              <a:ahLst/>
              <a:cxnLst/>
              <a:rect l="l" t="t" r="r" b="b"/>
              <a:pathLst>
                <a:path w="220979" h="149860" extrusionOk="0">
                  <a:moveTo>
                    <a:pt x="196850" y="149860"/>
                  </a:moveTo>
                  <a:lnTo>
                    <a:pt x="220980" y="105410"/>
                  </a:lnTo>
                  <a:lnTo>
                    <a:pt x="198755" y="93345"/>
                  </a:lnTo>
                  <a:lnTo>
                    <a:pt x="46355" y="12065"/>
                  </a:lnTo>
                  <a:lnTo>
                    <a:pt x="23495" y="0"/>
                  </a:lnTo>
                  <a:lnTo>
                    <a:pt x="0" y="44450"/>
                  </a:lnTo>
                  <a:lnTo>
                    <a:pt x="22225" y="56515"/>
                  </a:lnTo>
                  <a:lnTo>
                    <a:pt x="174625" y="13843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143" name="Google Shape;1143;p16"/>
            <p:cNvSpPr/>
            <p:nvPr/>
          </p:nvSpPr>
          <p:spPr>
            <a:xfrm>
              <a:off x="4510404" y="3232150"/>
              <a:ext cx="220979" cy="149859"/>
            </a:xfrm>
            <a:custGeom>
              <a:avLst/>
              <a:gdLst/>
              <a:ahLst/>
              <a:cxnLst/>
              <a:rect l="l" t="t" r="r" b="b"/>
              <a:pathLst>
                <a:path w="220979" h="149859" extrusionOk="0">
                  <a:moveTo>
                    <a:pt x="174625" y="138430"/>
                  </a:moveTo>
                  <a:lnTo>
                    <a:pt x="196850" y="149860"/>
                  </a:lnTo>
                  <a:lnTo>
                    <a:pt x="220980" y="105410"/>
                  </a:lnTo>
                  <a:lnTo>
                    <a:pt x="198755" y="93345"/>
                  </a:lnTo>
                  <a:lnTo>
                    <a:pt x="46355" y="12065"/>
                  </a:lnTo>
                  <a:lnTo>
                    <a:pt x="23495" y="0"/>
                  </a:lnTo>
                  <a:lnTo>
                    <a:pt x="0" y="44450"/>
                  </a:lnTo>
                  <a:lnTo>
                    <a:pt x="22225"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144" name="Google Shape;1144;p16"/>
            <p:cNvSpPr/>
            <p:nvPr/>
          </p:nvSpPr>
          <p:spPr>
            <a:xfrm>
              <a:off x="5145404" y="3594100"/>
              <a:ext cx="220979" cy="149859"/>
            </a:xfrm>
            <a:custGeom>
              <a:avLst/>
              <a:gdLst/>
              <a:ahLst/>
              <a:cxnLst/>
              <a:rect l="l" t="t" r="r" b="b"/>
              <a:pathLst>
                <a:path w="220979" h="149859" extrusionOk="0">
                  <a:moveTo>
                    <a:pt x="174625" y="138430"/>
                  </a:moveTo>
                  <a:lnTo>
                    <a:pt x="196850" y="149860"/>
                  </a:lnTo>
                  <a:lnTo>
                    <a:pt x="220980" y="105410"/>
                  </a:lnTo>
                  <a:lnTo>
                    <a:pt x="198755" y="93345"/>
                  </a:lnTo>
                  <a:lnTo>
                    <a:pt x="46355" y="12065"/>
                  </a:lnTo>
                  <a:lnTo>
                    <a:pt x="23495" y="0"/>
                  </a:lnTo>
                  <a:lnTo>
                    <a:pt x="0" y="44450"/>
                  </a:lnTo>
                  <a:lnTo>
                    <a:pt x="22225"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145" name="Google Shape;1145;p16"/>
            <p:cNvSpPr/>
            <p:nvPr/>
          </p:nvSpPr>
          <p:spPr>
            <a:xfrm>
              <a:off x="5780404" y="3956050"/>
              <a:ext cx="220979" cy="149859"/>
            </a:xfrm>
            <a:custGeom>
              <a:avLst/>
              <a:gdLst/>
              <a:ahLst/>
              <a:cxnLst/>
              <a:rect l="l" t="t" r="r" b="b"/>
              <a:pathLst>
                <a:path w="220979" h="149859" extrusionOk="0">
                  <a:moveTo>
                    <a:pt x="174625" y="138430"/>
                  </a:moveTo>
                  <a:lnTo>
                    <a:pt x="196850" y="149860"/>
                  </a:lnTo>
                  <a:lnTo>
                    <a:pt x="220980" y="105410"/>
                  </a:lnTo>
                  <a:lnTo>
                    <a:pt x="198755" y="93345"/>
                  </a:lnTo>
                  <a:lnTo>
                    <a:pt x="46355" y="12065"/>
                  </a:lnTo>
                  <a:lnTo>
                    <a:pt x="23495" y="0"/>
                  </a:lnTo>
                  <a:lnTo>
                    <a:pt x="0" y="44450"/>
                  </a:lnTo>
                  <a:lnTo>
                    <a:pt x="22225"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146" name="Google Shape;1146;p16"/>
            <p:cNvSpPr/>
            <p:nvPr/>
          </p:nvSpPr>
          <p:spPr>
            <a:xfrm>
              <a:off x="6415404" y="4318000"/>
              <a:ext cx="220979" cy="149859"/>
            </a:xfrm>
            <a:custGeom>
              <a:avLst/>
              <a:gdLst/>
              <a:ahLst/>
              <a:cxnLst/>
              <a:rect l="l" t="t" r="r" b="b"/>
              <a:pathLst>
                <a:path w="220979" h="149859" extrusionOk="0">
                  <a:moveTo>
                    <a:pt x="23495" y="0"/>
                  </a:moveTo>
                  <a:lnTo>
                    <a:pt x="0" y="44450"/>
                  </a:lnTo>
                  <a:lnTo>
                    <a:pt x="22225" y="56515"/>
                  </a:lnTo>
                  <a:lnTo>
                    <a:pt x="174625" y="138430"/>
                  </a:lnTo>
                  <a:lnTo>
                    <a:pt x="196850" y="149860"/>
                  </a:lnTo>
                  <a:lnTo>
                    <a:pt x="220980" y="105410"/>
                  </a:lnTo>
                  <a:lnTo>
                    <a:pt x="198755" y="93345"/>
                  </a:lnTo>
                  <a:lnTo>
                    <a:pt x="46355" y="1206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147" name="Google Shape;1147;p16"/>
            <p:cNvSpPr/>
            <p:nvPr/>
          </p:nvSpPr>
          <p:spPr>
            <a:xfrm>
              <a:off x="7050405" y="4679950"/>
              <a:ext cx="220979" cy="149859"/>
            </a:xfrm>
            <a:custGeom>
              <a:avLst/>
              <a:gdLst/>
              <a:ahLst/>
              <a:cxnLst/>
              <a:rect l="l" t="t" r="r" b="b"/>
              <a:pathLst>
                <a:path w="220979" h="149859" extrusionOk="0">
                  <a:moveTo>
                    <a:pt x="196850" y="149860"/>
                  </a:moveTo>
                  <a:lnTo>
                    <a:pt x="220980" y="105410"/>
                  </a:lnTo>
                  <a:lnTo>
                    <a:pt x="198755" y="93345"/>
                  </a:lnTo>
                  <a:lnTo>
                    <a:pt x="46355" y="12065"/>
                  </a:lnTo>
                  <a:lnTo>
                    <a:pt x="23495" y="0"/>
                  </a:lnTo>
                  <a:lnTo>
                    <a:pt x="0" y="44450"/>
                  </a:lnTo>
                  <a:lnTo>
                    <a:pt x="22225" y="56515"/>
                  </a:lnTo>
                  <a:lnTo>
                    <a:pt x="174625" y="13843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148" name="Google Shape;1148;p16"/>
            <p:cNvSpPr/>
            <p:nvPr/>
          </p:nvSpPr>
          <p:spPr>
            <a:xfrm>
              <a:off x="7685405" y="5041900"/>
              <a:ext cx="220979" cy="149859"/>
            </a:xfrm>
            <a:custGeom>
              <a:avLst/>
              <a:gdLst/>
              <a:ahLst/>
              <a:cxnLst/>
              <a:rect l="l" t="t" r="r" b="b"/>
              <a:pathLst>
                <a:path w="220979" h="149859" extrusionOk="0">
                  <a:moveTo>
                    <a:pt x="196850" y="149860"/>
                  </a:moveTo>
                  <a:lnTo>
                    <a:pt x="220980" y="105410"/>
                  </a:lnTo>
                  <a:lnTo>
                    <a:pt x="198755" y="93345"/>
                  </a:lnTo>
                  <a:lnTo>
                    <a:pt x="46355" y="12065"/>
                  </a:lnTo>
                  <a:lnTo>
                    <a:pt x="23495" y="0"/>
                  </a:lnTo>
                  <a:lnTo>
                    <a:pt x="0" y="44450"/>
                  </a:lnTo>
                  <a:lnTo>
                    <a:pt x="22225" y="56515"/>
                  </a:lnTo>
                  <a:lnTo>
                    <a:pt x="174625" y="13843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149" name="Google Shape;1149;p16"/>
            <p:cNvSpPr/>
            <p:nvPr/>
          </p:nvSpPr>
          <p:spPr>
            <a:xfrm>
              <a:off x="8320405" y="5403850"/>
              <a:ext cx="220979" cy="149859"/>
            </a:xfrm>
            <a:custGeom>
              <a:avLst/>
              <a:gdLst/>
              <a:ahLst/>
              <a:cxnLst/>
              <a:rect l="l" t="t" r="r" b="b"/>
              <a:pathLst>
                <a:path w="220979" h="149859" extrusionOk="0">
                  <a:moveTo>
                    <a:pt x="196850" y="149860"/>
                  </a:moveTo>
                  <a:lnTo>
                    <a:pt x="220980" y="105410"/>
                  </a:lnTo>
                  <a:lnTo>
                    <a:pt x="198755" y="93345"/>
                  </a:lnTo>
                  <a:lnTo>
                    <a:pt x="46355" y="12065"/>
                  </a:lnTo>
                  <a:lnTo>
                    <a:pt x="23495" y="0"/>
                  </a:lnTo>
                  <a:lnTo>
                    <a:pt x="0" y="44450"/>
                  </a:lnTo>
                  <a:lnTo>
                    <a:pt x="22225" y="56515"/>
                  </a:lnTo>
                  <a:lnTo>
                    <a:pt x="174625" y="13843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150" name="Google Shape;1150;p16"/>
            <p:cNvSpPr/>
            <p:nvPr/>
          </p:nvSpPr>
          <p:spPr>
            <a:xfrm>
              <a:off x="8955405" y="5765800"/>
              <a:ext cx="220979" cy="149859"/>
            </a:xfrm>
            <a:custGeom>
              <a:avLst/>
              <a:gdLst/>
              <a:ahLst/>
              <a:cxnLst/>
              <a:rect l="l" t="t" r="r" b="b"/>
              <a:pathLst>
                <a:path w="220979" h="149859" extrusionOk="0">
                  <a:moveTo>
                    <a:pt x="196850" y="149860"/>
                  </a:moveTo>
                  <a:lnTo>
                    <a:pt x="220980" y="105410"/>
                  </a:lnTo>
                  <a:lnTo>
                    <a:pt x="198755" y="93345"/>
                  </a:lnTo>
                  <a:lnTo>
                    <a:pt x="46355" y="12065"/>
                  </a:lnTo>
                  <a:lnTo>
                    <a:pt x="23495" y="0"/>
                  </a:lnTo>
                  <a:lnTo>
                    <a:pt x="0" y="44450"/>
                  </a:lnTo>
                  <a:lnTo>
                    <a:pt x="22225" y="56515"/>
                  </a:lnTo>
                  <a:lnTo>
                    <a:pt x="174625" y="13843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151" name="Google Shape;1151;p16"/>
            <p:cNvSpPr/>
            <p:nvPr/>
          </p:nvSpPr>
          <p:spPr>
            <a:xfrm>
              <a:off x="9590405" y="6127750"/>
              <a:ext cx="220979" cy="149859"/>
            </a:xfrm>
            <a:custGeom>
              <a:avLst/>
              <a:gdLst/>
              <a:ahLst/>
              <a:cxnLst/>
              <a:rect l="l" t="t" r="r" b="b"/>
              <a:pathLst>
                <a:path w="220979" h="149859" extrusionOk="0">
                  <a:moveTo>
                    <a:pt x="196850" y="149860"/>
                  </a:moveTo>
                  <a:lnTo>
                    <a:pt x="220980" y="105410"/>
                  </a:lnTo>
                  <a:lnTo>
                    <a:pt x="198755" y="93345"/>
                  </a:lnTo>
                  <a:lnTo>
                    <a:pt x="46355" y="12065"/>
                  </a:lnTo>
                  <a:lnTo>
                    <a:pt x="23495" y="0"/>
                  </a:lnTo>
                  <a:lnTo>
                    <a:pt x="0" y="44450"/>
                  </a:lnTo>
                  <a:lnTo>
                    <a:pt x="22225" y="56515"/>
                  </a:lnTo>
                  <a:lnTo>
                    <a:pt x="174625" y="13843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152" name="Google Shape;1152;p16"/>
            <p:cNvSpPr/>
            <p:nvPr/>
          </p:nvSpPr>
          <p:spPr>
            <a:xfrm>
              <a:off x="10225405" y="6489700"/>
              <a:ext cx="220979" cy="149859"/>
            </a:xfrm>
            <a:custGeom>
              <a:avLst/>
              <a:gdLst/>
              <a:ahLst/>
              <a:cxnLst/>
              <a:rect l="l" t="t" r="r" b="b"/>
              <a:pathLst>
                <a:path w="220979" h="149859" extrusionOk="0">
                  <a:moveTo>
                    <a:pt x="46355" y="12065"/>
                  </a:moveTo>
                  <a:lnTo>
                    <a:pt x="23495" y="0"/>
                  </a:lnTo>
                  <a:lnTo>
                    <a:pt x="0" y="44450"/>
                  </a:lnTo>
                  <a:lnTo>
                    <a:pt x="22225" y="56515"/>
                  </a:lnTo>
                  <a:lnTo>
                    <a:pt x="174625" y="138430"/>
                  </a:lnTo>
                  <a:lnTo>
                    <a:pt x="196850" y="149860"/>
                  </a:lnTo>
                  <a:lnTo>
                    <a:pt x="220980" y="105410"/>
                  </a:lnTo>
                  <a:lnTo>
                    <a:pt x="198755" y="9334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153" name="Google Shape;1153;p16"/>
            <p:cNvSpPr/>
            <p:nvPr/>
          </p:nvSpPr>
          <p:spPr>
            <a:xfrm>
              <a:off x="10880725" y="6851650"/>
              <a:ext cx="15875" cy="6350"/>
            </a:xfrm>
            <a:custGeom>
              <a:avLst/>
              <a:gdLst/>
              <a:ahLst/>
              <a:cxnLst/>
              <a:rect l="l" t="t" r="r" b="b"/>
              <a:pathLst>
                <a:path w="15875" h="6350" extrusionOk="0">
                  <a:moveTo>
                    <a:pt x="0" y="6350"/>
                  </a:moveTo>
                  <a:lnTo>
                    <a:pt x="15875" y="6350"/>
                  </a:lnTo>
                  <a:lnTo>
                    <a:pt x="317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154" name="Google Shape;1154;p16"/>
            <p:cNvSpPr/>
            <p:nvPr/>
          </p:nvSpPr>
          <p:spPr>
            <a:xfrm>
              <a:off x="0" y="352425"/>
              <a:ext cx="151129" cy="147955"/>
            </a:xfrm>
            <a:custGeom>
              <a:avLst/>
              <a:gdLst/>
              <a:ahLst/>
              <a:cxnLst/>
              <a:rect l="l" t="t" r="r" b="b"/>
              <a:pathLst>
                <a:path w="151129" h="147955" extrusionOk="0">
                  <a:moveTo>
                    <a:pt x="100965" y="133350"/>
                  </a:moveTo>
                  <a:lnTo>
                    <a:pt x="121920" y="147955"/>
                  </a:lnTo>
                  <a:lnTo>
                    <a:pt x="151130" y="106680"/>
                  </a:lnTo>
                  <a:lnTo>
                    <a:pt x="130175" y="92075"/>
                  </a:lnTo>
                  <a:lnTo>
                    <a:pt x="0" y="0"/>
                  </a:lnTo>
                  <a:lnTo>
                    <a:pt x="0" y="6223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155" name="Google Shape;1155;p16"/>
            <p:cNvSpPr/>
            <p:nvPr/>
          </p:nvSpPr>
          <p:spPr>
            <a:xfrm>
              <a:off x="563244" y="684530"/>
              <a:ext cx="222885" cy="177800"/>
            </a:xfrm>
            <a:custGeom>
              <a:avLst/>
              <a:gdLst/>
              <a:ahLst/>
              <a:cxnLst/>
              <a:rect l="l" t="t" r="r" b="b"/>
              <a:pathLst>
                <a:path w="222885" h="177800" extrusionOk="0">
                  <a:moveTo>
                    <a:pt x="49530" y="14605"/>
                  </a:moveTo>
                  <a:lnTo>
                    <a:pt x="29210" y="0"/>
                  </a:lnTo>
                  <a:lnTo>
                    <a:pt x="0" y="41910"/>
                  </a:lnTo>
                  <a:lnTo>
                    <a:pt x="20320" y="56515"/>
                  </a:lnTo>
                  <a:lnTo>
                    <a:pt x="172720" y="163195"/>
                  </a:lnTo>
                  <a:lnTo>
                    <a:pt x="193675" y="177800"/>
                  </a:lnTo>
                  <a:lnTo>
                    <a:pt x="222885" y="136525"/>
                  </a:lnTo>
                  <a:lnTo>
                    <a:pt x="201930" y="12192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156" name="Google Shape;1156;p16"/>
            <p:cNvSpPr/>
            <p:nvPr/>
          </p:nvSpPr>
          <p:spPr>
            <a:xfrm>
              <a:off x="1198244" y="1046480"/>
              <a:ext cx="222885" cy="177800"/>
            </a:xfrm>
            <a:custGeom>
              <a:avLst/>
              <a:gdLst/>
              <a:ahLst/>
              <a:cxnLst/>
              <a:rect l="l" t="t" r="r" b="b"/>
              <a:pathLst>
                <a:path w="222885" h="177800" extrusionOk="0">
                  <a:moveTo>
                    <a:pt x="49530" y="14605"/>
                  </a:moveTo>
                  <a:lnTo>
                    <a:pt x="29210" y="0"/>
                  </a:lnTo>
                  <a:lnTo>
                    <a:pt x="0" y="41910"/>
                  </a:lnTo>
                  <a:lnTo>
                    <a:pt x="20320" y="56515"/>
                  </a:lnTo>
                  <a:lnTo>
                    <a:pt x="172720" y="163195"/>
                  </a:lnTo>
                  <a:lnTo>
                    <a:pt x="193675" y="177800"/>
                  </a:lnTo>
                  <a:lnTo>
                    <a:pt x="222885" y="136525"/>
                  </a:lnTo>
                  <a:lnTo>
                    <a:pt x="201930" y="12192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157" name="Google Shape;1157;p16"/>
            <p:cNvSpPr/>
            <p:nvPr/>
          </p:nvSpPr>
          <p:spPr>
            <a:xfrm>
              <a:off x="1833245" y="1408430"/>
              <a:ext cx="222884" cy="177800"/>
            </a:xfrm>
            <a:custGeom>
              <a:avLst/>
              <a:gdLst/>
              <a:ahLst/>
              <a:cxnLst/>
              <a:rect l="l" t="t" r="r" b="b"/>
              <a:pathLst>
                <a:path w="222884" h="177800" extrusionOk="0">
                  <a:moveTo>
                    <a:pt x="193675" y="177800"/>
                  </a:moveTo>
                  <a:lnTo>
                    <a:pt x="222885" y="136525"/>
                  </a:lnTo>
                  <a:lnTo>
                    <a:pt x="201930" y="121920"/>
                  </a:lnTo>
                  <a:lnTo>
                    <a:pt x="49530" y="14605"/>
                  </a:lnTo>
                  <a:lnTo>
                    <a:pt x="29210" y="0"/>
                  </a:lnTo>
                  <a:lnTo>
                    <a:pt x="0" y="41910"/>
                  </a:lnTo>
                  <a:lnTo>
                    <a:pt x="20320" y="56515"/>
                  </a:lnTo>
                  <a:lnTo>
                    <a:pt x="172720" y="16319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158" name="Google Shape;1158;p16"/>
            <p:cNvSpPr/>
            <p:nvPr/>
          </p:nvSpPr>
          <p:spPr>
            <a:xfrm>
              <a:off x="2468245" y="1770379"/>
              <a:ext cx="222884" cy="177800"/>
            </a:xfrm>
            <a:custGeom>
              <a:avLst/>
              <a:gdLst/>
              <a:ahLst/>
              <a:cxnLst/>
              <a:rect l="l" t="t" r="r" b="b"/>
              <a:pathLst>
                <a:path w="222884" h="177800" extrusionOk="0">
                  <a:moveTo>
                    <a:pt x="193675" y="177800"/>
                  </a:moveTo>
                  <a:lnTo>
                    <a:pt x="222885" y="136525"/>
                  </a:lnTo>
                  <a:lnTo>
                    <a:pt x="201930" y="121920"/>
                  </a:lnTo>
                  <a:lnTo>
                    <a:pt x="49530" y="14605"/>
                  </a:lnTo>
                  <a:lnTo>
                    <a:pt x="29210" y="0"/>
                  </a:lnTo>
                  <a:lnTo>
                    <a:pt x="0" y="41910"/>
                  </a:lnTo>
                  <a:lnTo>
                    <a:pt x="20320" y="56515"/>
                  </a:lnTo>
                  <a:lnTo>
                    <a:pt x="172720" y="16319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159" name="Google Shape;1159;p16"/>
            <p:cNvSpPr/>
            <p:nvPr/>
          </p:nvSpPr>
          <p:spPr>
            <a:xfrm>
              <a:off x="3103245" y="2132329"/>
              <a:ext cx="222884" cy="177800"/>
            </a:xfrm>
            <a:custGeom>
              <a:avLst/>
              <a:gdLst/>
              <a:ahLst/>
              <a:cxnLst/>
              <a:rect l="l" t="t" r="r" b="b"/>
              <a:pathLst>
                <a:path w="222884" h="177800" extrusionOk="0">
                  <a:moveTo>
                    <a:pt x="193675" y="177800"/>
                  </a:moveTo>
                  <a:lnTo>
                    <a:pt x="222885" y="136525"/>
                  </a:lnTo>
                  <a:lnTo>
                    <a:pt x="201930" y="121920"/>
                  </a:lnTo>
                  <a:lnTo>
                    <a:pt x="49530" y="14605"/>
                  </a:lnTo>
                  <a:lnTo>
                    <a:pt x="29210" y="0"/>
                  </a:lnTo>
                  <a:lnTo>
                    <a:pt x="0" y="41910"/>
                  </a:lnTo>
                  <a:lnTo>
                    <a:pt x="20320" y="56515"/>
                  </a:lnTo>
                  <a:lnTo>
                    <a:pt x="172720" y="16319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160" name="Google Shape;1160;p16"/>
            <p:cNvSpPr/>
            <p:nvPr/>
          </p:nvSpPr>
          <p:spPr>
            <a:xfrm>
              <a:off x="3738245" y="2494279"/>
              <a:ext cx="222884" cy="177800"/>
            </a:xfrm>
            <a:custGeom>
              <a:avLst/>
              <a:gdLst/>
              <a:ahLst/>
              <a:cxnLst/>
              <a:rect l="l" t="t" r="r" b="b"/>
              <a:pathLst>
                <a:path w="222884" h="177800" extrusionOk="0">
                  <a:moveTo>
                    <a:pt x="172720" y="163195"/>
                  </a:moveTo>
                  <a:lnTo>
                    <a:pt x="193675" y="177800"/>
                  </a:lnTo>
                  <a:lnTo>
                    <a:pt x="222885" y="136525"/>
                  </a:lnTo>
                  <a:lnTo>
                    <a:pt x="201930" y="121920"/>
                  </a:lnTo>
                  <a:lnTo>
                    <a:pt x="49530" y="14605"/>
                  </a:lnTo>
                  <a:lnTo>
                    <a:pt x="29210" y="0"/>
                  </a:lnTo>
                  <a:lnTo>
                    <a:pt x="0" y="41910"/>
                  </a:lnTo>
                  <a:lnTo>
                    <a:pt x="20320"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161" name="Google Shape;1161;p16"/>
            <p:cNvSpPr/>
            <p:nvPr/>
          </p:nvSpPr>
          <p:spPr>
            <a:xfrm>
              <a:off x="4373245" y="2856229"/>
              <a:ext cx="222884" cy="177800"/>
            </a:xfrm>
            <a:custGeom>
              <a:avLst/>
              <a:gdLst/>
              <a:ahLst/>
              <a:cxnLst/>
              <a:rect l="l" t="t" r="r" b="b"/>
              <a:pathLst>
                <a:path w="222884" h="177800" extrusionOk="0">
                  <a:moveTo>
                    <a:pt x="172720" y="163195"/>
                  </a:moveTo>
                  <a:lnTo>
                    <a:pt x="193675" y="177800"/>
                  </a:lnTo>
                  <a:lnTo>
                    <a:pt x="222885" y="136525"/>
                  </a:lnTo>
                  <a:lnTo>
                    <a:pt x="201930" y="121920"/>
                  </a:lnTo>
                  <a:lnTo>
                    <a:pt x="49530" y="14605"/>
                  </a:lnTo>
                  <a:lnTo>
                    <a:pt x="29210" y="0"/>
                  </a:lnTo>
                  <a:lnTo>
                    <a:pt x="0" y="41910"/>
                  </a:lnTo>
                  <a:lnTo>
                    <a:pt x="20320"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162" name="Google Shape;1162;p16"/>
            <p:cNvSpPr/>
            <p:nvPr/>
          </p:nvSpPr>
          <p:spPr>
            <a:xfrm>
              <a:off x="5008245" y="3218179"/>
              <a:ext cx="222884" cy="177800"/>
            </a:xfrm>
            <a:custGeom>
              <a:avLst/>
              <a:gdLst/>
              <a:ahLst/>
              <a:cxnLst/>
              <a:rect l="l" t="t" r="r" b="b"/>
              <a:pathLst>
                <a:path w="222884" h="177800" extrusionOk="0">
                  <a:moveTo>
                    <a:pt x="172720" y="163195"/>
                  </a:moveTo>
                  <a:lnTo>
                    <a:pt x="193675" y="177800"/>
                  </a:lnTo>
                  <a:lnTo>
                    <a:pt x="222885" y="136525"/>
                  </a:lnTo>
                  <a:lnTo>
                    <a:pt x="201930" y="121920"/>
                  </a:lnTo>
                  <a:lnTo>
                    <a:pt x="49530" y="14605"/>
                  </a:lnTo>
                  <a:lnTo>
                    <a:pt x="29210" y="0"/>
                  </a:lnTo>
                  <a:lnTo>
                    <a:pt x="0" y="41910"/>
                  </a:lnTo>
                  <a:lnTo>
                    <a:pt x="20320"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163" name="Google Shape;1163;p16"/>
            <p:cNvSpPr/>
            <p:nvPr/>
          </p:nvSpPr>
          <p:spPr>
            <a:xfrm>
              <a:off x="5643245" y="3580129"/>
              <a:ext cx="222884" cy="177800"/>
            </a:xfrm>
            <a:custGeom>
              <a:avLst/>
              <a:gdLst/>
              <a:ahLst/>
              <a:cxnLst/>
              <a:rect l="l" t="t" r="r" b="b"/>
              <a:pathLst>
                <a:path w="222884" h="177800" extrusionOk="0">
                  <a:moveTo>
                    <a:pt x="172720" y="163195"/>
                  </a:moveTo>
                  <a:lnTo>
                    <a:pt x="193675" y="177800"/>
                  </a:lnTo>
                  <a:lnTo>
                    <a:pt x="222885" y="136525"/>
                  </a:lnTo>
                  <a:lnTo>
                    <a:pt x="201930" y="121920"/>
                  </a:lnTo>
                  <a:lnTo>
                    <a:pt x="49530" y="14605"/>
                  </a:lnTo>
                  <a:lnTo>
                    <a:pt x="29210" y="0"/>
                  </a:lnTo>
                  <a:lnTo>
                    <a:pt x="0" y="41910"/>
                  </a:lnTo>
                  <a:lnTo>
                    <a:pt x="20320"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164" name="Google Shape;1164;p16"/>
            <p:cNvSpPr/>
            <p:nvPr/>
          </p:nvSpPr>
          <p:spPr>
            <a:xfrm>
              <a:off x="6278245" y="3942079"/>
              <a:ext cx="222884" cy="177800"/>
            </a:xfrm>
            <a:custGeom>
              <a:avLst/>
              <a:gdLst/>
              <a:ahLst/>
              <a:cxnLst/>
              <a:rect l="l" t="t" r="r" b="b"/>
              <a:pathLst>
                <a:path w="222884" h="177800" extrusionOk="0">
                  <a:moveTo>
                    <a:pt x="193675" y="177800"/>
                  </a:moveTo>
                  <a:lnTo>
                    <a:pt x="222885" y="136525"/>
                  </a:lnTo>
                  <a:lnTo>
                    <a:pt x="201930" y="121920"/>
                  </a:lnTo>
                  <a:lnTo>
                    <a:pt x="49530" y="14605"/>
                  </a:lnTo>
                  <a:lnTo>
                    <a:pt x="29210" y="0"/>
                  </a:lnTo>
                  <a:lnTo>
                    <a:pt x="0" y="41910"/>
                  </a:lnTo>
                  <a:lnTo>
                    <a:pt x="20320" y="56515"/>
                  </a:lnTo>
                  <a:lnTo>
                    <a:pt x="172720" y="16319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165" name="Google Shape;1165;p16"/>
            <p:cNvSpPr/>
            <p:nvPr/>
          </p:nvSpPr>
          <p:spPr>
            <a:xfrm>
              <a:off x="6913244" y="4304029"/>
              <a:ext cx="222885" cy="177800"/>
            </a:xfrm>
            <a:custGeom>
              <a:avLst/>
              <a:gdLst/>
              <a:ahLst/>
              <a:cxnLst/>
              <a:rect l="l" t="t" r="r" b="b"/>
              <a:pathLst>
                <a:path w="222885" h="177800" extrusionOk="0">
                  <a:moveTo>
                    <a:pt x="193675" y="177800"/>
                  </a:moveTo>
                  <a:lnTo>
                    <a:pt x="222886" y="136525"/>
                  </a:lnTo>
                  <a:lnTo>
                    <a:pt x="201930" y="121920"/>
                  </a:lnTo>
                  <a:lnTo>
                    <a:pt x="49530" y="14605"/>
                  </a:lnTo>
                  <a:lnTo>
                    <a:pt x="29211" y="0"/>
                  </a:lnTo>
                  <a:lnTo>
                    <a:pt x="0" y="41910"/>
                  </a:lnTo>
                  <a:lnTo>
                    <a:pt x="20320" y="56515"/>
                  </a:lnTo>
                  <a:lnTo>
                    <a:pt x="172720" y="16319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166" name="Google Shape;1166;p16"/>
            <p:cNvSpPr/>
            <p:nvPr/>
          </p:nvSpPr>
          <p:spPr>
            <a:xfrm>
              <a:off x="7548244" y="4665979"/>
              <a:ext cx="222885" cy="177800"/>
            </a:xfrm>
            <a:custGeom>
              <a:avLst/>
              <a:gdLst/>
              <a:ahLst/>
              <a:cxnLst/>
              <a:rect l="l" t="t" r="r" b="b"/>
              <a:pathLst>
                <a:path w="222885" h="177800" extrusionOk="0">
                  <a:moveTo>
                    <a:pt x="193675" y="177800"/>
                  </a:moveTo>
                  <a:lnTo>
                    <a:pt x="222886" y="136525"/>
                  </a:lnTo>
                  <a:lnTo>
                    <a:pt x="201930" y="121920"/>
                  </a:lnTo>
                  <a:lnTo>
                    <a:pt x="49530" y="14605"/>
                  </a:lnTo>
                  <a:lnTo>
                    <a:pt x="29211" y="0"/>
                  </a:lnTo>
                  <a:lnTo>
                    <a:pt x="0" y="41910"/>
                  </a:lnTo>
                  <a:lnTo>
                    <a:pt x="20320" y="56515"/>
                  </a:lnTo>
                  <a:lnTo>
                    <a:pt x="172720" y="16319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167" name="Google Shape;1167;p16"/>
            <p:cNvSpPr/>
            <p:nvPr/>
          </p:nvSpPr>
          <p:spPr>
            <a:xfrm>
              <a:off x="8183244" y="5027929"/>
              <a:ext cx="222885" cy="177800"/>
            </a:xfrm>
            <a:custGeom>
              <a:avLst/>
              <a:gdLst/>
              <a:ahLst/>
              <a:cxnLst/>
              <a:rect l="l" t="t" r="r" b="b"/>
              <a:pathLst>
                <a:path w="222885" h="177800" extrusionOk="0">
                  <a:moveTo>
                    <a:pt x="193675" y="177800"/>
                  </a:moveTo>
                  <a:lnTo>
                    <a:pt x="222886" y="136525"/>
                  </a:lnTo>
                  <a:lnTo>
                    <a:pt x="201930" y="121920"/>
                  </a:lnTo>
                  <a:lnTo>
                    <a:pt x="49530" y="14605"/>
                  </a:lnTo>
                  <a:lnTo>
                    <a:pt x="29211" y="0"/>
                  </a:lnTo>
                  <a:lnTo>
                    <a:pt x="0" y="41910"/>
                  </a:lnTo>
                  <a:lnTo>
                    <a:pt x="20320" y="56515"/>
                  </a:lnTo>
                  <a:lnTo>
                    <a:pt x="172720" y="16319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168" name="Google Shape;1168;p16"/>
            <p:cNvSpPr/>
            <p:nvPr/>
          </p:nvSpPr>
          <p:spPr>
            <a:xfrm>
              <a:off x="8818244" y="5389879"/>
              <a:ext cx="222885" cy="177800"/>
            </a:xfrm>
            <a:custGeom>
              <a:avLst/>
              <a:gdLst/>
              <a:ahLst/>
              <a:cxnLst/>
              <a:rect l="l" t="t" r="r" b="b"/>
              <a:pathLst>
                <a:path w="222885" h="177800" extrusionOk="0">
                  <a:moveTo>
                    <a:pt x="193675" y="177800"/>
                  </a:moveTo>
                  <a:lnTo>
                    <a:pt x="222886" y="136525"/>
                  </a:lnTo>
                  <a:lnTo>
                    <a:pt x="201930" y="121920"/>
                  </a:lnTo>
                  <a:lnTo>
                    <a:pt x="49530" y="14605"/>
                  </a:lnTo>
                  <a:lnTo>
                    <a:pt x="29211" y="0"/>
                  </a:lnTo>
                  <a:lnTo>
                    <a:pt x="0" y="41910"/>
                  </a:lnTo>
                  <a:lnTo>
                    <a:pt x="20320" y="56515"/>
                  </a:lnTo>
                  <a:lnTo>
                    <a:pt x="172720" y="16319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169" name="Google Shape;1169;p16"/>
            <p:cNvSpPr/>
            <p:nvPr/>
          </p:nvSpPr>
          <p:spPr>
            <a:xfrm>
              <a:off x="9453244" y="5751829"/>
              <a:ext cx="222885" cy="177800"/>
            </a:xfrm>
            <a:custGeom>
              <a:avLst/>
              <a:gdLst/>
              <a:ahLst/>
              <a:cxnLst/>
              <a:rect l="l" t="t" r="r" b="b"/>
              <a:pathLst>
                <a:path w="222885" h="177800" extrusionOk="0">
                  <a:moveTo>
                    <a:pt x="193675" y="177800"/>
                  </a:moveTo>
                  <a:lnTo>
                    <a:pt x="222886" y="136525"/>
                  </a:lnTo>
                  <a:lnTo>
                    <a:pt x="201930" y="121920"/>
                  </a:lnTo>
                  <a:lnTo>
                    <a:pt x="49530" y="14605"/>
                  </a:lnTo>
                  <a:lnTo>
                    <a:pt x="29211" y="0"/>
                  </a:lnTo>
                  <a:lnTo>
                    <a:pt x="0" y="41910"/>
                  </a:lnTo>
                  <a:lnTo>
                    <a:pt x="20320" y="56515"/>
                  </a:lnTo>
                  <a:lnTo>
                    <a:pt x="172720" y="16319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170" name="Google Shape;1170;p16"/>
            <p:cNvSpPr/>
            <p:nvPr/>
          </p:nvSpPr>
          <p:spPr>
            <a:xfrm>
              <a:off x="10088244" y="6113779"/>
              <a:ext cx="222885" cy="177800"/>
            </a:xfrm>
            <a:custGeom>
              <a:avLst/>
              <a:gdLst/>
              <a:ahLst/>
              <a:cxnLst/>
              <a:rect l="l" t="t" r="r" b="b"/>
              <a:pathLst>
                <a:path w="222885" h="177800" extrusionOk="0">
                  <a:moveTo>
                    <a:pt x="193675" y="177800"/>
                  </a:moveTo>
                  <a:lnTo>
                    <a:pt x="222886" y="136525"/>
                  </a:lnTo>
                  <a:lnTo>
                    <a:pt x="201930" y="121920"/>
                  </a:lnTo>
                  <a:lnTo>
                    <a:pt x="49530" y="14605"/>
                  </a:lnTo>
                  <a:lnTo>
                    <a:pt x="29211" y="0"/>
                  </a:lnTo>
                  <a:lnTo>
                    <a:pt x="0" y="41910"/>
                  </a:lnTo>
                  <a:lnTo>
                    <a:pt x="20320" y="56515"/>
                  </a:lnTo>
                  <a:lnTo>
                    <a:pt x="172720" y="16319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171" name="Google Shape;1171;p16"/>
            <p:cNvSpPr/>
            <p:nvPr/>
          </p:nvSpPr>
          <p:spPr>
            <a:xfrm>
              <a:off x="10723244" y="6475729"/>
              <a:ext cx="222885" cy="177800"/>
            </a:xfrm>
            <a:custGeom>
              <a:avLst/>
              <a:gdLst/>
              <a:ahLst/>
              <a:cxnLst/>
              <a:rect l="l" t="t" r="r" b="b"/>
              <a:pathLst>
                <a:path w="222885" h="177800" extrusionOk="0">
                  <a:moveTo>
                    <a:pt x="49530" y="14605"/>
                  </a:moveTo>
                  <a:lnTo>
                    <a:pt x="29211" y="0"/>
                  </a:lnTo>
                  <a:lnTo>
                    <a:pt x="0" y="41910"/>
                  </a:lnTo>
                  <a:lnTo>
                    <a:pt x="20320" y="56515"/>
                  </a:lnTo>
                  <a:lnTo>
                    <a:pt x="172720" y="163195"/>
                  </a:lnTo>
                  <a:lnTo>
                    <a:pt x="193675" y="177800"/>
                  </a:lnTo>
                  <a:lnTo>
                    <a:pt x="222886" y="136525"/>
                  </a:lnTo>
                  <a:lnTo>
                    <a:pt x="201930" y="12192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172" name="Google Shape;1172;p16"/>
            <p:cNvSpPr/>
            <p:nvPr/>
          </p:nvSpPr>
          <p:spPr>
            <a:xfrm>
              <a:off x="11372850" y="6837680"/>
              <a:ext cx="43180" cy="20319"/>
            </a:xfrm>
            <a:custGeom>
              <a:avLst/>
              <a:gdLst/>
              <a:ahLst/>
              <a:cxnLst/>
              <a:rect l="l" t="t" r="r" b="b"/>
              <a:pathLst>
                <a:path w="43180" h="20319" extrusionOk="0">
                  <a:moveTo>
                    <a:pt x="14605" y="0"/>
                  </a:moveTo>
                  <a:lnTo>
                    <a:pt x="0" y="20320"/>
                  </a:lnTo>
                  <a:lnTo>
                    <a:pt x="43180" y="20320"/>
                  </a:lnTo>
                  <a:lnTo>
                    <a:pt x="34925" y="1460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173" name="Google Shape;1173;p16"/>
            <p:cNvSpPr/>
            <p:nvPr/>
          </p:nvSpPr>
          <p:spPr>
            <a:xfrm>
              <a:off x="392429" y="311784"/>
              <a:ext cx="224154" cy="199390"/>
            </a:xfrm>
            <a:custGeom>
              <a:avLst/>
              <a:gdLst/>
              <a:ahLst/>
              <a:cxnLst/>
              <a:rect l="l" t="t" r="r" b="b"/>
              <a:pathLst>
                <a:path w="224154" h="199390" extrusionOk="0">
                  <a:moveTo>
                    <a:pt x="19685" y="55245"/>
                  </a:moveTo>
                  <a:lnTo>
                    <a:pt x="172085" y="183515"/>
                  </a:lnTo>
                  <a:lnTo>
                    <a:pt x="191770" y="199390"/>
                  </a:lnTo>
                  <a:lnTo>
                    <a:pt x="224155" y="160655"/>
                  </a:lnTo>
                  <a:lnTo>
                    <a:pt x="205105" y="144145"/>
                  </a:lnTo>
                  <a:lnTo>
                    <a:pt x="52705" y="16510"/>
                  </a:lnTo>
                  <a:lnTo>
                    <a:pt x="33020" y="0"/>
                  </a:lnTo>
                  <a:lnTo>
                    <a:pt x="0" y="3873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174" name="Google Shape;1174;p16"/>
            <p:cNvSpPr/>
            <p:nvPr/>
          </p:nvSpPr>
          <p:spPr>
            <a:xfrm>
              <a:off x="1027430" y="673734"/>
              <a:ext cx="224155" cy="199390"/>
            </a:xfrm>
            <a:custGeom>
              <a:avLst/>
              <a:gdLst/>
              <a:ahLst/>
              <a:cxnLst/>
              <a:rect l="l" t="t" r="r" b="b"/>
              <a:pathLst>
                <a:path w="224155" h="199390" extrusionOk="0">
                  <a:moveTo>
                    <a:pt x="52705" y="16510"/>
                  </a:moveTo>
                  <a:lnTo>
                    <a:pt x="33020" y="0"/>
                  </a:lnTo>
                  <a:lnTo>
                    <a:pt x="0" y="38735"/>
                  </a:lnTo>
                  <a:lnTo>
                    <a:pt x="19685" y="55245"/>
                  </a:lnTo>
                  <a:lnTo>
                    <a:pt x="172085" y="183515"/>
                  </a:lnTo>
                  <a:lnTo>
                    <a:pt x="191770" y="199390"/>
                  </a:lnTo>
                  <a:lnTo>
                    <a:pt x="224155" y="160655"/>
                  </a:lnTo>
                  <a:lnTo>
                    <a:pt x="205105" y="14414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175" name="Google Shape;1175;p16"/>
            <p:cNvSpPr/>
            <p:nvPr/>
          </p:nvSpPr>
          <p:spPr>
            <a:xfrm>
              <a:off x="1662429" y="1035685"/>
              <a:ext cx="224155" cy="199389"/>
            </a:xfrm>
            <a:custGeom>
              <a:avLst/>
              <a:gdLst/>
              <a:ahLst/>
              <a:cxnLst/>
              <a:rect l="l" t="t" r="r" b="b"/>
              <a:pathLst>
                <a:path w="224155" h="199389" extrusionOk="0">
                  <a:moveTo>
                    <a:pt x="52705" y="16510"/>
                  </a:moveTo>
                  <a:lnTo>
                    <a:pt x="33020" y="0"/>
                  </a:lnTo>
                  <a:lnTo>
                    <a:pt x="0" y="38735"/>
                  </a:lnTo>
                  <a:lnTo>
                    <a:pt x="19685" y="55245"/>
                  </a:lnTo>
                  <a:lnTo>
                    <a:pt x="172085" y="183515"/>
                  </a:lnTo>
                  <a:lnTo>
                    <a:pt x="191770" y="199390"/>
                  </a:lnTo>
                  <a:lnTo>
                    <a:pt x="224155" y="160655"/>
                  </a:lnTo>
                  <a:lnTo>
                    <a:pt x="205105" y="14414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176" name="Google Shape;1176;p16"/>
            <p:cNvSpPr/>
            <p:nvPr/>
          </p:nvSpPr>
          <p:spPr>
            <a:xfrm>
              <a:off x="2297429" y="1397635"/>
              <a:ext cx="224155" cy="199389"/>
            </a:xfrm>
            <a:custGeom>
              <a:avLst/>
              <a:gdLst/>
              <a:ahLst/>
              <a:cxnLst/>
              <a:rect l="l" t="t" r="r" b="b"/>
              <a:pathLst>
                <a:path w="224155" h="199389" extrusionOk="0">
                  <a:moveTo>
                    <a:pt x="52705" y="16510"/>
                  </a:moveTo>
                  <a:lnTo>
                    <a:pt x="33020" y="0"/>
                  </a:lnTo>
                  <a:lnTo>
                    <a:pt x="0" y="38735"/>
                  </a:lnTo>
                  <a:lnTo>
                    <a:pt x="19685" y="55245"/>
                  </a:lnTo>
                  <a:lnTo>
                    <a:pt x="172085" y="183515"/>
                  </a:lnTo>
                  <a:lnTo>
                    <a:pt x="191770" y="199390"/>
                  </a:lnTo>
                  <a:lnTo>
                    <a:pt x="224155" y="160655"/>
                  </a:lnTo>
                  <a:lnTo>
                    <a:pt x="205105" y="14414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177" name="Google Shape;1177;p16"/>
            <p:cNvSpPr/>
            <p:nvPr/>
          </p:nvSpPr>
          <p:spPr>
            <a:xfrm>
              <a:off x="2932429" y="1759585"/>
              <a:ext cx="224155" cy="199389"/>
            </a:xfrm>
            <a:custGeom>
              <a:avLst/>
              <a:gdLst/>
              <a:ahLst/>
              <a:cxnLst/>
              <a:rect l="l" t="t" r="r" b="b"/>
              <a:pathLst>
                <a:path w="224155" h="199389" extrusionOk="0">
                  <a:moveTo>
                    <a:pt x="191770" y="199390"/>
                  </a:moveTo>
                  <a:lnTo>
                    <a:pt x="224155" y="160655"/>
                  </a:lnTo>
                  <a:lnTo>
                    <a:pt x="205105" y="144145"/>
                  </a:lnTo>
                  <a:lnTo>
                    <a:pt x="52705" y="16510"/>
                  </a:lnTo>
                  <a:lnTo>
                    <a:pt x="33020" y="0"/>
                  </a:lnTo>
                  <a:lnTo>
                    <a:pt x="0" y="38735"/>
                  </a:lnTo>
                  <a:lnTo>
                    <a:pt x="19685" y="55245"/>
                  </a:lnTo>
                  <a:lnTo>
                    <a:pt x="172085" y="183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178" name="Google Shape;1178;p16"/>
            <p:cNvSpPr/>
            <p:nvPr/>
          </p:nvSpPr>
          <p:spPr>
            <a:xfrm>
              <a:off x="3567429" y="2121535"/>
              <a:ext cx="224154" cy="199389"/>
            </a:xfrm>
            <a:custGeom>
              <a:avLst/>
              <a:gdLst/>
              <a:ahLst/>
              <a:cxnLst/>
              <a:rect l="l" t="t" r="r" b="b"/>
              <a:pathLst>
                <a:path w="224154" h="199389" extrusionOk="0">
                  <a:moveTo>
                    <a:pt x="191770" y="199390"/>
                  </a:moveTo>
                  <a:lnTo>
                    <a:pt x="224155" y="160655"/>
                  </a:lnTo>
                  <a:lnTo>
                    <a:pt x="205105" y="144145"/>
                  </a:lnTo>
                  <a:lnTo>
                    <a:pt x="52705" y="16510"/>
                  </a:lnTo>
                  <a:lnTo>
                    <a:pt x="33020" y="0"/>
                  </a:lnTo>
                  <a:lnTo>
                    <a:pt x="0" y="38735"/>
                  </a:lnTo>
                  <a:lnTo>
                    <a:pt x="19685" y="55245"/>
                  </a:lnTo>
                  <a:lnTo>
                    <a:pt x="172085" y="183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179" name="Google Shape;1179;p16"/>
            <p:cNvSpPr/>
            <p:nvPr/>
          </p:nvSpPr>
          <p:spPr>
            <a:xfrm>
              <a:off x="4202429" y="2483485"/>
              <a:ext cx="224154" cy="199389"/>
            </a:xfrm>
            <a:custGeom>
              <a:avLst/>
              <a:gdLst/>
              <a:ahLst/>
              <a:cxnLst/>
              <a:rect l="l" t="t" r="r" b="b"/>
              <a:pathLst>
                <a:path w="224154" h="199389" extrusionOk="0">
                  <a:moveTo>
                    <a:pt x="191770" y="199390"/>
                  </a:moveTo>
                  <a:lnTo>
                    <a:pt x="224155" y="160655"/>
                  </a:lnTo>
                  <a:lnTo>
                    <a:pt x="205105" y="144145"/>
                  </a:lnTo>
                  <a:lnTo>
                    <a:pt x="52705" y="16510"/>
                  </a:lnTo>
                  <a:lnTo>
                    <a:pt x="33020" y="0"/>
                  </a:lnTo>
                  <a:lnTo>
                    <a:pt x="0" y="38735"/>
                  </a:lnTo>
                  <a:lnTo>
                    <a:pt x="19685" y="55245"/>
                  </a:lnTo>
                  <a:lnTo>
                    <a:pt x="172085" y="183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180" name="Google Shape;1180;p16"/>
            <p:cNvSpPr/>
            <p:nvPr/>
          </p:nvSpPr>
          <p:spPr>
            <a:xfrm>
              <a:off x="4837429" y="2845435"/>
              <a:ext cx="224154" cy="199389"/>
            </a:xfrm>
            <a:custGeom>
              <a:avLst/>
              <a:gdLst/>
              <a:ahLst/>
              <a:cxnLst/>
              <a:rect l="l" t="t" r="r" b="b"/>
              <a:pathLst>
                <a:path w="224154" h="199389" extrusionOk="0">
                  <a:moveTo>
                    <a:pt x="191770" y="199390"/>
                  </a:moveTo>
                  <a:lnTo>
                    <a:pt x="224155" y="160655"/>
                  </a:lnTo>
                  <a:lnTo>
                    <a:pt x="205105" y="144145"/>
                  </a:lnTo>
                  <a:lnTo>
                    <a:pt x="52705" y="16510"/>
                  </a:lnTo>
                  <a:lnTo>
                    <a:pt x="33020" y="0"/>
                  </a:lnTo>
                  <a:lnTo>
                    <a:pt x="0" y="38735"/>
                  </a:lnTo>
                  <a:lnTo>
                    <a:pt x="19685" y="55245"/>
                  </a:lnTo>
                  <a:lnTo>
                    <a:pt x="172085" y="183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181" name="Google Shape;1181;p16"/>
            <p:cNvSpPr/>
            <p:nvPr/>
          </p:nvSpPr>
          <p:spPr>
            <a:xfrm>
              <a:off x="5472429" y="3207385"/>
              <a:ext cx="224154" cy="199389"/>
            </a:xfrm>
            <a:custGeom>
              <a:avLst/>
              <a:gdLst/>
              <a:ahLst/>
              <a:cxnLst/>
              <a:rect l="l" t="t" r="r" b="b"/>
              <a:pathLst>
                <a:path w="224154" h="199389" extrusionOk="0">
                  <a:moveTo>
                    <a:pt x="191770" y="199390"/>
                  </a:moveTo>
                  <a:lnTo>
                    <a:pt x="224155" y="160655"/>
                  </a:lnTo>
                  <a:lnTo>
                    <a:pt x="205105" y="144145"/>
                  </a:lnTo>
                  <a:lnTo>
                    <a:pt x="52705" y="16510"/>
                  </a:lnTo>
                  <a:lnTo>
                    <a:pt x="33020" y="0"/>
                  </a:lnTo>
                  <a:lnTo>
                    <a:pt x="0" y="38735"/>
                  </a:lnTo>
                  <a:lnTo>
                    <a:pt x="19685" y="55245"/>
                  </a:lnTo>
                  <a:lnTo>
                    <a:pt x="172085" y="183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182" name="Google Shape;1182;p16"/>
            <p:cNvSpPr/>
            <p:nvPr/>
          </p:nvSpPr>
          <p:spPr>
            <a:xfrm>
              <a:off x="6107429" y="3569334"/>
              <a:ext cx="224154" cy="199390"/>
            </a:xfrm>
            <a:custGeom>
              <a:avLst/>
              <a:gdLst/>
              <a:ahLst/>
              <a:cxnLst/>
              <a:rect l="l" t="t" r="r" b="b"/>
              <a:pathLst>
                <a:path w="224154" h="199390" extrusionOk="0">
                  <a:moveTo>
                    <a:pt x="191770" y="199390"/>
                  </a:moveTo>
                  <a:lnTo>
                    <a:pt x="224155" y="160655"/>
                  </a:lnTo>
                  <a:lnTo>
                    <a:pt x="205105" y="144145"/>
                  </a:lnTo>
                  <a:lnTo>
                    <a:pt x="52705" y="16510"/>
                  </a:lnTo>
                  <a:lnTo>
                    <a:pt x="33020" y="0"/>
                  </a:lnTo>
                  <a:lnTo>
                    <a:pt x="0" y="38735"/>
                  </a:lnTo>
                  <a:lnTo>
                    <a:pt x="19685" y="55245"/>
                  </a:lnTo>
                  <a:lnTo>
                    <a:pt x="172085" y="183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183" name="Google Shape;1183;p16"/>
            <p:cNvSpPr/>
            <p:nvPr/>
          </p:nvSpPr>
          <p:spPr>
            <a:xfrm>
              <a:off x="6742430" y="3931284"/>
              <a:ext cx="224154" cy="199390"/>
            </a:xfrm>
            <a:custGeom>
              <a:avLst/>
              <a:gdLst/>
              <a:ahLst/>
              <a:cxnLst/>
              <a:rect l="l" t="t" r="r" b="b"/>
              <a:pathLst>
                <a:path w="224154" h="199390" extrusionOk="0">
                  <a:moveTo>
                    <a:pt x="191770" y="199390"/>
                  </a:moveTo>
                  <a:lnTo>
                    <a:pt x="224155" y="160655"/>
                  </a:lnTo>
                  <a:lnTo>
                    <a:pt x="205105" y="144145"/>
                  </a:lnTo>
                  <a:lnTo>
                    <a:pt x="52705" y="16510"/>
                  </a:lnTo>
                  <a:lnTo>
                    <a:pt x="33020" y="0"/>
                  </a:lnTo>
                  <a:lnTo>
                    <a:pt x="0" y="38735"/>
                  </a:lnTo>
                  <a:lnTo>
                    <a:pt x="19685" y="55245"/>
                  </a:lnTo>
                  <a:lnTo>
                    <a:pt x="172085" y="183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184" name="Google Shape;1184;p16"/>
            <p:cNvSpPr/>
            <p:nvPr/>
          </p:nvSpPr>
          <p:spPr>
            <a:xfrm>
              <a:off x="7377430" y="4293234"/>
              <a:ext cx="224154" cy="199390"/>
            </a:xfrm>
            <a:custGeom>
              <a:avLst/>
              <a:gdLst/>
              <a:ahLst/>
              <a:cxnLst/>
              <a:rect l="l" t="t" r="r" b="b"/>
              <a:pathLst>
                <a:path w="224154" h="199390" extrusionOk="0">
                  <a:moveTo>
                    <a:pt x="191770" y="199390"/>
                  </a:moveTo>
                  <a:lnTo>
                    <a:pt x="224155" y="160655"/>
                  </a:lnTo>
                  <a:lnTo>
                    <a:pt x="205105" y="144145"/>
                  </a:lnTo>
                  <a:lnTo>
                    <a:pt x="52705" y="16510"/>
                  </a:lnTo>
                  <a:lnTo>
                    <a:pt x="33020" y="0"/>
                  </a:lnTo>
                  <a:lnTo>
                    <a:pt x="0" y="38735"/>
                  </a:lnTo>
                  <a:lnTo>
                    <a:pt x="19685" y="55245"/>
                  </a:lnTo>
                  <a:lnTo>
                    <a:pt x="172085" y="183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185" name="Google Shape;1185;p16"/>
            <p:cNvSpPr/>
            <p:nvPr/>
          </p:nvSpPr>
          <p:spPr>
            <a:xfrm>
              <a:off x="8012430" y="4655184"/>
              <a:ext cx="224154" cy="199390"/>
            </a:xfrm>
            <a:custGeom>
              <a:avLst/>
              <a:gdLst/>
              <a:ahLst/>
              <a:cxnLst/>
              <a:rect l="l" t="t" r="r" b="b"/>
              <a:pathLst>
                <a:path w="224154" h="199390" extrusionOk="0">
                  <a:moveTo>
                    <a:pt x="191770" y="199390"/>
                  </a:moveTo>
                  <a:lnTo>
                    <a:pt x="224155" y="160655"/>
                  </a:lnTo>
                  <a:lnTo>
                    <a:pt x="205105" y="144145"/>
                  </a:lnTo>
                  <a:lnTo>
                    <a:pt x="52705" y="16510"/>
                  </a:lnTo>
                  <a:lnTo>
                    <a:pt x="33020" y="0"/>
                  </a:lnTo>
                  <a:lnTo>
                    <a:pt x="0" y="38735"/>
                  </a:lnTo>
                  <a:lnTo>
                    <a:pt x="19685" y="55245"/>
                  </a:lnTo>
                  <a:lnTo>
                    <a:pt x="172085" y="183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186" name="Google Shape;1186;p16"/>
            <p:cNvSpPr/>
            <p:nvPr/>
          </p:nvSpPr>
          <p:spPr>
            <a:xfrm>
              <a:off x="8647430" y="5017134"/>
              <a:ext cx="224154" cy="199390"/>
            </a:xfrm>
            <a:custGeom>
              <a:avLst/>
              <a:gdLst/>
              <a:ahLst/>
              <a:cxnLst/>
              <a:rect l="l" t="t" r="r" b="b"/>
              <a:pathLst>
                <a:path w="224154" h="199390" extrusionOk="0">
                  <a:moveTo>
                    <a:pt x="172085" y="183515"/>
                  </a:moveTo>
                  <a:lnTo>
                    <a:pt x="191770" y="199390"/>
                  </a:lnTo>
                  <a:lnTo>
                    <a:pt x="224155" y="160655"/>
                  </a:lnTo>
                  <a:lnTo>
                    <a:pt x="205105" y="144145"/>
                  </a:lnTo>
                  <a:lnTo>
                    <a:pt x="52705" y="16510"/>
                  </a:lnTo>
                  <a:lnTo>
                    <a:pt x="33020" y="0"/>
                  </a:lnTo>
                  <a:lnTo>
                    <a:pt x="0" y="38735"/>
                  </a:lnTo>
                  <a:lnTo>
                    <a:pt x="19685" y="5524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187" name="Google Shape;1187;p16"/>
            <p:cNvSpPr/>
            <p:nvPr/>
          </p:nvSpPr>
          <p:spPr>
            <a:xfrm>
              <a:off x="9282430" y="5379084"/>
              <a:ext cx="224154" cy="199390"/>
            </a:xfrm>
            <a:custGeom>
              <a:avLst/>
              <a:gdLst/>
              <a:ahLst/>
              <a:cxnLst/>
              <a:rect l="l" t="t" r="r" b="b"/>
              <a:pathLst>
                <a:path w="224154" h="199390" extrusionOk="0">
                  <a:moveTo>
                    <a:pt x="172085" y="183515"/>
                  </a:moveTo>
                  <a:lnTo>
                    <a:pt x="191770" y="199390"/>
                  </a:lnTo>
                  <a:lnTo>
                    <a:pt x="224155" y="160655"/>
                  </a:lnTo>
                  <a:lnTo>
                    <a:pt x="205105" y="144145"/>
                  </a:lnTo>
                  <a:lnTo>
                    <a:pt x="52705" y="16510"/>
                  </a:lnTo>
                  <a:lnTo>
                    <a:pt x="33020" y="0"/>
                  </a:lnTo>
                  <a:lnTo>
                    <a:pt x="0" y="38735"/>
                  </a:lnTo>
                  <a:lnTo>
                    <a:pt x="19685" y="5524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188" name="Google Shape;1188;p16"/>
            <p:cNvSpPr/>
            <p:nvPr/>
          </p:nvSpPr>
          <p:spPr>
            <a:xfrm>
              <a:off x="9917430" y="5741034"/>
              <a:ext cx="224154" cy="199390"/>
            </a:xfrm>
            <a:custGeom>
              <a:avLst/>
              <a:gdLst/>
              <a:ahLst/>
              <a:cxnLst/>
              <a:rect l="l" t="t" r="r" b="b"/>
              <a:pathLst>
                <a:path w="224154" h="199390" extrusionOk="0">
                  <a:moveTo>
                    <a:pt x="191770" y="199390"/>
                  </a:moveTo>
                  <a:lnTo>
                    <a:pt x="224155" y="160655"/>
                  </a:lnTo>
                  <a:lnTo>
                    <a:pt x="205105" y="144145"/>
                  </a:lnTo>
                  <a:lnTo>
                    <a:pt x="52705" y="16510"/>
                  </a:lnTo>
                  <a:lnTo>
                    <a:pt x="33020" y="0"/>
                  </a:lnTo>
                  <a:lnTo>
                    <a:pt x="0" y="38735"/>
                  </a:lnTo>
                  <a:lnTo>
                    <a:pt x="19685" y="55245"/>
                  </a:lnTo>
                  <a:lnTo>
                    <a:pt x="172085" y="183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189" name="Google Shape;1189;p16"/>
            <p:cNvSpPr/>
            <p:nvPr/>
          </p:nvSpPr>
          <p:spPr>
            <a:xfrm>
              <a:off x="10552430" y="6102984"/>
              <a:ext cx="224154" cy="199390"/>
            </a:xfrm>
            <a:custGeom>
              <a:avLst/>
              <a:gdLst/>
              <a:ahLst/>
              <a:cxnLst/>
              <a:rect l="l" t="t" r="r" b="b"/>
              <a:pathLst>
                <a:path w="224154" h="199390" extrusionOk="0">
                  <a:moveTo>
                    <a:pt x="191770" y="199390"/>
                  </a:moveTo>
                  <a:lnTo>
                    <a:pt x="224155" y="160655"/>
                  </a:lnTo>
                  <a:lnTo>
                    <a:pt x="205105" y="144145"/>
                  </a:lnTo>
                  <a:lnTo>
                    <a:pt x="52705" y="16510"/>
                  </a:lnTo>
                  <a:lnTo>
                    <a:pt x="33020" y="0"/>
                  </a:lnTo>
                  <a:lnTo>
                    <a:pt x="0" y="38735"/>
                  </a:lnTo>
                  <a:lnTo>
                    <a:pt x="19685" y="55245"/>
                  </a:lnTo>
                  <a:lnTo>
                    <a:pt x="172085" y="183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190" name="Google Shape;1190;p16"/>
            <p:cNvSpPr/>
            <p:nvPr/>
          </p:nvSpPr>
          <p:spPr>
            <a:xfrm>
              <a:off x="11187430" y="6464934"/>
              <a:ext cx="224154" cy="199390"/>
            </a:xfrm>
            <a:custGeom>
              <a:avLst/>
              <a:gdLst/>
              <a:ahLst/>
              <a:cxnLst/>
              <a:rect l="l" t="t" r="r" b="b"/>
              <a:pathLst>
                <a:path w="224154" h="199390" extrusionOk="0">
                  <a:moveTo>
                    <a:pt x="224155" y="160655"/>
                  </a:moveTo>
                  <a:lnTo>
                    <a:pt x="205105" y="144145"/>
                  </a:lnTo>
                  <a:lnTo>
                    <a:pt x="52705" y="16510"/>
                  </a:lnTo>
                  <a:lnTo>
                    <a:pt x="33020" y="0"/>
                  </a:lnTo>
                  <a:lnTo>
                    <a:pt x="0" y="38735"/>
                  </a:lnTo>
                  <a:lnTo>
                    <a:pt x="19685" y="55245"/>
                  </a:lnTo>
                  <a:lnTo>
                    <a:pt x="172085" y="183515"/>
                  </a:lnTo>
                  <a:lnTo>
                    <a:pt x="191770" y="19939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191" name="Google Shape;1191;p16"/>
            <p:cNvSpPr/>
            <p:nvPr/>
          </p:nvSpPr>
          <p:spPr>
            <a:xfrm>
              <a:off x="11829415" y="6826884"/>
              <a:ext cx="62865" cy="31115"/>
            </a:xfrm>
            <a:custGeom>
              <a:avLst/>
              <a:gdLst/>
              <a:ahLst/>
              <a:cxnLst/>
              <a:rect l="l" t="t" r="r" b="b"/>
              <a:pathLst>
                <a:path w="62865" h="31115" extrusionOk="0">
                  <a:moveTo>
                    <a:pt x="26035" y="0"/>
                  </a:moveTo>
                  <a:lnTo>
                    <a:pt x="0" y="31115"/>
                  </a:lnTo>
                  <a:lnTo>
                    <a:pt x="62865" y="31115"/>
                  </a:lnTo>
                  <a:lnTo>
                    <a:pt x="45720" y="1651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192" name="Google Shape;1192;p16"/>
            <p:cNvSpPr/>
            <p:nvPr/>
          </p:nvSpPr>
          <p:spPr>
            <a:xfrm>
              <a:off x="218440" y="0"/>
              <a:ext cx="201294" cy="157479"/>
            </a:xfrm>
            <a:custGeom>
              <a:avLst/>
              <a:gdLst/>
              <a:ahLst/>
              <a:cxnLst/>
              <a:rect l="l" t="t" r="r" b="b"/>
              <a:pathLst>
                <a:path w="201294" h="157479" extrusionOk="0">
                  <a:moveTo>
                    <a:pt x="166370" y="157480"/>
                  </a:moveTo>
                  <a:lnTo>
                    <a:pt x="201295" y="120650"/>
                  </a:lnTo>
                  <a:lnTo>
                    <a:pt x="182880" y="103505"/>
                  </a:lnTo>
                  <a:lnTo>
                    <a:pt x="74295" y="0"/>
                  </a:lnTo>
                  <a:lnTo>
                    <a:pt x="0" y="0"/>
                  </a:lnTo>
                  <a:lnTo>
                    <a:pt x="147955" y="14033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193" name="Google Shape;1193;p16"/>
            <p:cNvSpPr/>
            <p:nvPr/>
          </p:nvSpPr>
          <p:spPr>
            <a:xfrm>
              <a:off x="830580" y="303529"/>
              <a:ext cx="224155" cy="215900"/>
            </a:xfrm>
            <a:custGeom>
              <a:avLst/>
              <a:gdLst/>
              <a:ahLst/>
              <a:cxnLst/>
              <a:rect l="l" t="t" r="r" b="b"/>
              <a:pathLst>
                <a:path w="224155" h="215900" extrusionOk="0">
                  <a:moveTo>
                    <a:pt x="18415" y="54610"/>
                  </a:moveTo>
                  <a:lnTo>
                    <a:pt x="170815" y="198755"/>
                  </a:lnTo>
                  <a:lnTo>
                    <a:pt x="189230" y="215900"/>
                  </a:lnTo>
                  <a:lnTo>
                    <a:pt x="224155" y="179070"/>
                  </a:lnTo>
                  <a:lnTo>
                    <a:pt x="205740" y="161925"/>
                  </a:lnTo>
                  <a:lnTo>
                    <a:pt x="53340" y="17145"/>
                  </a:lnTo>
                  <a:lnTo>
                    <a:pt x="34925" y="0"/>
                  </a:lnTo>
                  <a:lnTo>
                    <a:pt x="0" y="3683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194" name="Google Shape;1194;p16"/>
            <p:cNvSpPr/>
            <p:nvPr/>
          </p:nvSpPr>
          <p:spPr>
            <a:xfrm>
              <a:off x="1465580" y="665480"/>
              <a:ext cx="224155" cy="215900"/>
            </a:xfrm>
            <a:custGeom>
              <a:avLst/>
              <a:gdLst/>
              <a:ahLst/>
              <a:cxnLst/>
              <a:rect l="l" t="t" r="r" b="b"/>
              <a:pathLst>
                <a:path w="224155" h="215900" extrusionOk="0">
                  <a:moveTo>
                    <a:pt x="53340" y="17145"/>
                  </a:moveTo>
                  <a:lnTo>
                    <a:pt x="34925" y="0"/>
                  </a:lnTo>
                  <a:lnTo>
                    <a:pt x="0" y="36830"/>
                  </a:lnTo>
                  <a:lnTo>
                    <a:pt x="18415" y="54610"/>
                  </a:lnTo>
                  <a:lnTo>
                    <a:pt x="170815" y="198755"/>
                  </a:lnTo>
                  <a:lnTo>
                    <a:pt x="189230" y="215900"/>
                  </a:lnTo>
                  <a:lnTo>
                    <a:pt x="224155" y="179070"/>
                  </a:lnTo>
                  <a:lnTo>
                    <a:pt x="205740" y="16192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195" name="Google Shape;1195;p16"/>
            <p:cNvSpPr/>
            <p:nvPr/>
          </p:nvSpPr>
          <p:spPr>
            <a:xfrm>
              <a:off x="2100579" y="1027430"/>
              <a:ext cx="224155" cy="215900"/>
            </a:xfrm>
            <a:custGeom>
              <a:avLst/>
              <a:gdLst/>
              <a:ahLst/>
              <a:cxnLst/>
              <a:rect l="l" t="t" r="r" b="b"/>
              <a:pathLst>
                <a:path w="224155" h="215900" extrusionOk="0">
                  <a:moveTo>
                    <a:pt x="53340" y="17145"/>
                  </a:moveTo>
                  <a:lnTo>
                    <a:pt x="34925" y="0"/>
                  </a:lnTo>
                  <a:lnTo>
                    <a:pt x="0" y="36830"/>
                  </a:lnTo>
                  <a:lnTo>
                    <a:pt x="18415" y="54610"/>
                  </a:lnTo>
                  <a:lnTo>
                    <a:pt x="170815" y="198755"/>
                  </a:lnTo>
                  <a:lnTo>
                    <a:pt x="189230" y="215900"/>
                  </a:lnTo>
                  <a:lnTo>
                    <a:pt x="224155" y="179070"/>
                  </a:lnTo>
                  <a:lnTo>
                    <a:pt x="205740" y="16192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196" name="Google Shape;1196;p16"/>
            <p:cNvSpPr/>
            <p:nvPr/>
          </p:nvSpPr>
          <p:spPr>
            <a:xfrm>
              <a:off x="2735579" y="1389380"/>
              <a:ext cx="224155" cy="215900"/>
            </a:xfrm>
            <a:custGeom>
              <a:avLst/>
              <a:gdLst/>
              <a:ahLst/>
              <a:cxnLst/>
              <a:rect l="l" t="t" r="r" b="b"/>
              <a:pathLst>
                <a:path w="224155" h="215900" extrusionOk="0">
                  <a:moveTo>
                    <a:pt x="34925" y="0"/>
                  </a:moveTo>
                  <a:lnTo>
                    <a:pt x="0" y="36830"/>
                  </a:lnTo>
                  <a:lnTo>
                    <a:pt x="18415" y="54610"/>
                  </a:lnTo>
                  <a:lnTo>
                    <a:pt x="170815" y="198755"/>
                  </a:lnTo>
                  <a:lnTo>
                    <a:pt x="189230" y="215900"/>
                  </a:lnTo>
                  <a:lnTo>
                    <a:pt x="224155" y="179070"/>
                  </a:lnTo>
                  <a:lnTo>
                    <a:pt x="205740" y="161925"/>
                  </a:lnTo>
                  <a:lnTo>
                    <a:pt x="53340" y="1714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197" name="Google Shape;1197;p16"/>
            <p:cNvSpPr/>
            <p:nvPr/>
          </p:nvSpPr>
          <p:spPr>
            <a:xfrm>
              <a:off x="3370579" y="1751329"/>
              <a:ext cx="224154" cy="215900"/>
            </a:xfrm>
            <a:custGeom>
              <a:avLst/>
              <a:gdLst/>
              <a:ahLst/>
              <a:cxnLst/>
              <a:rect l="l" t="t" r="r" b="b"/>
              <a:pathLst>
                <a:path w="224154" h="215900" extrusionOk="0">
                  <a:moveTo>
                    <a:pt x="34925" y="0"/>
                  </a:moveTo>
                  <a:lnTo>
                    <a:pt x="0" y="36830"/>
                  </a:lnTo>
                  <a:lnTo>
                    <a:pt x="18415" y="54610"/>
                  </a:lnTo>
                  <a:lnTo>
                    <a:pt x="170815" y="198755"/>
                  </a:lnTo>
                  <a:lnTo>
                    <a:pt x="189230" y="215900"/>
                  </a:lnTo>
                  <a:lnTo>
                    <a:pt x="224155" y="179070"/>
                  </a:lnTo>
                  <a:lnTo>
                    <a:pt x="205740" y="161925"/>
                  </a:lnTo>
                  <a:lnTo>
                    <a:pt x="53340" y="1714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198" name="Google Shape;1198;p16"/>
            <p:cNvSpPr/>
            <p:nvPr/>
          </p:nvSpPr>
          <p:spPr>
            <a:xfrm>
              <a:off x="4005579" y="2113279"/>
              <a:ext cx="224154" cy="215900"/>
            </a:xfrm>
            <a:custGeom>
              <a:avLst/>
              <a:gdLst/>
              <a:ahLst/>
              <a:cxnLst/>
              <a:rect l="l" t="t" r="r" b="b"/>
              <a:pathLst>
                <a:path w="224154" h="215900" extrusionOk="0">
                  <a:moveTo>
                    <a:pt x="34925" y="0"/>
                  </a:moveTo>
                  <a:lnTo>
                    <a:pt x="0" y="36830"/>
                  </a:lnTo>
                  <a:lnTo>
                    <a:pt x="18415" y="54610"/>
                  </a:lnTo>
                  <a:lnTo>
                    <a:pt x="170815" y="198755"/>
                  </a:lnTo>
                  <a:lnTo>
                    <a:pt x="189230" y="215900"/>
                  </a:lnTo>
                  <a:lnTo>
                    <a:pt x="224155" y="179070"/>
                  </a:lnTo>
                  <a:lnTo>
                    <a:pt x="205740" y="161925"/>
                  </a:lnTo>
                  <a:lnTo>
                    <a:pt x="53340" y="1714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199" name="Google Shape;1199;p16"/>
            <p:cNvSpPr/>
            <p:nvPr/>
          </p:nvSpPr>
          <p:spPr>
            <a:xfrm>
              <a:off x="4640579" y="2475229"/>
              <a:ext cx="224154" cy="215900"/>
            </a:xfrm>
            <a:custGeom>
              <a:avLst/>
              <a:gdLst/>
              <a:ahLst/>
              <a:cxnLst/>
              <a:rect l="l" t="t" r="r" b="b"/>
              <a:pathLst>
                <a:path w="224154" h="215900" extrusionOk="0">
                  <a:moveTo>
                    <a:pt x="34925" y="0"/>
                  </a:moveTo>
                  <a:lnTo>
                    <a:pt x="0" y="36830"/>
                  </a:lnTo>
                  <a:lnTo>
                    <a:pt x="18415" y="54610"/>
                  </a:lnTo>
                  <a:lnTo>
                    <a:pt x="170815" y="198755"/>
                  </a:lnTo>
                  <a:lnTo>
                    <a:pt x="189230" y="215900"/>
                  </a:lnTo>
                  <a:lnTo>
                    <a:pt x="224155" y="179070"/>
                  </a:lnTo>
                  <a:lnTo>
                    <a:pt x="205740" y="161925"/>
                  </a:lnTo>
                  <a:lnTo>
                    <a:pt x="53340" y="1714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00" name="Google Shape;1200;p16"/>
            <p:cNvSpPr/>
            <p:nvPr/>
          </p:nvSpPr>
          <p:spPr>
            <a:xfrm>
              <a:off x="5275579" y="2837179"/>
              <a:ext cx="224154" cy="215900"/>
            </a:xfrm>
            <a:custGeom>
              <a:avLst/>
              <a:gdLst/>
              <a:ahLst/>
              <a:cxnLst/>
              <a:rect l="l" t="t" r="r" b="b"/>
              <a:pathLst>
                <a:path w="224154" h="215900" extrusionOk="0">
                  <a:moveTo>
                    <a:pt x="34925" y="0"/>
                  </a:moveTo>
                  <a:lnTo>
                    <a:pt x="0" y="36830"/>
                  </a:lnTo>
                  <a:lnTo>
                    <a:pt x="18415" y="54610"/>
                  </a:lnTo>
                  <a:lnTo>
                    <a:pt x="170815" y="198755"/>
                  </a:lnTo>
                  <a:lnTo>
                    <a:pt x="189230" y="215900"/>
                  </a:lnTo>
                  <a:lnTo>
                    <a:pt x="224155" y="179070"/>
                  </a:lnTo>
                  <a:lnTo>
                    <a:pt x="205740" y="161925"/>
                  </a:lnTo>
                  <a:lnTo>
                    <a:pt x="53340" y="1714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01" name="Google Shape;1201;p16"/>
            <p:cNvSpPr/>
            <p:nvPr/>
          </p:nvSpPr>
          <p:spPr>
            <a:xfrm>
              <a:off x="5910579" y="3199129"/>
              <a:ext cx="224154" cy="215900"/>
            </a:xfrm>
            <a:custGeom>
              <a:avLst/>
              <a:gdLst/>
              <a:ahLst/>
              <a:cxnLst/>
              <a:rect l="l" t="t" r="r" b="b"/>
              <a:pathLst>
                <a:path w="224154" h="215900" extrusionOk="0">
                  <a:moveTo>
                    <a:pt x="34925" y="0"/>
                  </a:moveTo>
                  <a:lnTo>
                    <a:pt x="0" y="36830"/>
                  </a:lnTo>
                  <a:lnTo>
                    <a:pt x="18415" y="54610"/>
                  </a:lnTo>
                  <a:lnTo>
                    <a:pt x="170815" y="198755"/>
                  </a:lnTo>
                  <a:lnTo>
                    <a:pt x="189230" y="215900"/>
                  </a:lnTo>
                  <a:lnTo>
                    <a:pt x="224155" y="179070"/>
                  </a:lnTo>
                  <a:lnTo>
                    <a:pt x="205740" y="161925"/>
                  </a:lnTo>
                  <a:lnTo>
                    <a:pt x="53340" y="1714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02" name="Google Shape;1202;p16"/>
            <p:cNvSpPr/>
            <p:nvPr/>
          </p:nvSpPr>
          <p:spPr>
            <a:xfrm>
              <a:off x="6545580" y="3561079"/>
              <a:ext cx="224154" cy="215900"/>
            </a:xfrm>
            <a:custGeom>
              <a:avLst/>
              <a:gdLst/>
              <a:ahLst/>
              <a:cxnLst/>
              <a:rect l="l" t="t" r="r" b="b"/>
              <a:pathLst>
                <a:path w="224154" h="215900" extrusionOk="0">
                  <a:moveTo>
                    <a:pt x="34925" y="0"/>
                  </a:moveTo>
                  <a:lnTo>
                    <a:pt x="0" y="36830"/>
                  </a:lnTo>
                  <a:lnTo>
                    <a:pt x="18414" y="54610"/>
                  </a:lnTo>
                  <a:lnTo>
                    <a:pt x="170814" y="198755"/>
                  </a:lnTo>
                  <a:lnTo>
                    <a:pt x="189230" y="215900"/>
                  </a:lnTo>
                  <a:lnTo>
                    <a:pt x="224155" y="179070"/>
                  </a:lnTo>
                  <a:lnTo>
                    <a:pt x="205739" y="161925"/>
                  </a:lnTo>
                  <a:lnTo>
                    <a:pt x="53339" y="1714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03" name="Google Shape;1203;p16"/>
            <p:cNvSpPr/>
            <p:nvPr/>
          </p:nvSpPr>
          <p:spPr>
            <a:xfrm>
              <a:off x="7180580" y="3923029"/>
              <a:ext cx="224154" cy="215900"/>
            </a:xfrm>
            <a:custGeom>
              <a:avLst/>
              <a:gdLst/>
              <a:ahLst/>
              <a:cxnLst/>
              <a:rect l="l" t="t" r="r" b="b"/>
              <a:pathLst>
                <a:path w="224154" h="215900" extrusionOk="0">
                  <a:moveTo>
                    <a:pt x="170814" y="198755"/>
                  </a:moveTo>
                  <a:lnTo>
                    <a:pt x="189230" y="215900"/>
                  </a:lnTo>
                  <a:lnTo>
                    <a:pt x="224155" y="179070"/>
                  </a:lnTo>
                  <a:lnTo>
                    <a:pt x="205739" y="161925"/>
                  </a:lnTo>
                  <a:lnTo>
                    <a:pt x="53339" y="17145"/>
                  </a:lnTo>
                  <a:lnTo>
                    <a:pt x="34925" y="0"/>
                  </a:lnTo>
                  <a:lnTo>
                    <a:pt x="0" y="36830"/>
                  </a:lnTo>
                  <a:lnTo>
                    <a:pt x="18414" y="5461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04" name="Google Shape;1204;p16"/>
            <p:cNvSpPr/>
            <p:nvPr/>
          </p:nvSpPr>
          <p:spPr>
            <a:xfrm>
              <a:off x="7815580" y="4284979"/>
              <a:ext cx="224154" cy="215900"/>
            </a:xfrm>
            <a:custGeom>
              <a:avLst/>
              <a:gdLst/>
              <a:ahLst/>
              <a:cxnLst/>
              <a:rect l="l" t="t" r="r" b="b"/>
              <a:pathLst>
                <a:path w="224154" h="215900" extrusionOk="0">
                  <a:moveTo>
                    <a:pt x="170814" y="198755"/>
                  </a:moveTo>
                  <a:lnTo>
                    <a:pt x="189230" y="215900"/>
                  </a:lnTo>
                  <a:lnTo>
                    <a:pt x="224155" y="179070"/>
                  </a:lnTo>
                  <a:lnTo>
                    <a:pt x="205739" y="161925"/>
                  </a:lnTo>
                  <a:lnTo>
                    <a:pt x="53339" y="17145"/>
                  </a:lnTo>
                  <a:lnTo>
                    <a:pt x="34925" y="0"/>
                  </a:lnTo>
                  <a:lnTo>
                    <a:pt x="0" y="36830"/>
                  </a:lnTo>
                  <a:lnTo>
                    <a:pt x="18414" y="5461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05" name="Google Shape;1205;p16"/>
            <p:cNvSpPr/>
            <p:nvPr/>
          </p:nvSpPr>
          <p:spPr>
            <a:xfrm>
              <a:off x="8450580" y="4646929"/>
              <a:ext cx="224154" cy="215900"/>
            </a:xfrm>
            <a:custGeom>
              <a:avLst/>
              <a:gdLst/>
              <a:ahLst/>
              <a:cxnLst/>
              <a:rect l="l" t="t" r="r" b="b"/>
              <a:pathLst>
                <a:path w="224154" h="215900" extrusionOk="0">
                  <a:moveTo>
                    <a:pt x="170814" y="198755"/>
                  </a:moveTo>
                  <a:lnTo>
                    <a:pt x="189230" y="215900"/>
                  </a:lnTo>
                  <a:lnTo>
                    <a:pt x="224155" y="179070"/>
                  </a:lnTo>
                  <a:lnTo>
                    <a:pt x="205739" y="161925"/>
                  </a:lnTo>
                  <a:lnTo>
                    <a:pt x="53339" y="17145"/>
                  </a:lnTo>
                  <a:lnTo>
                    <a:pt x="34925" y="0"/>
                  </a:lnTo>
                  <a:lnTo>
                    <a:pt x="0" y="36830"/>
                  </a:lnTo>
                  <a:lnTo>
                    <a:pt x="18414" y="5461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06" name="Google Shape;1206;p16"/>
            <p:cNvSpPr/>
            <p:nvPr/>
          </p:nvSpPr>
          <p:spPr>
            <a:xfrm>
              <a:off x="9085580" y="5008879"/>
              <a:ext cx="224154" cy="215900"/>
            </a:xfrm>
            <a:custGeom>
              <a:avLst/>
              <a:gdLst/>
              <a:ahLst/>
              <a:cxnLst/>
              <a:rect l="l" t="t" r="r" b="b"/>
              <a:pathLst>
                <a:path w="224154" h="215900" extrusionOk="0">
                  <a:moveTo>
                    <a:pt x="170814" y="198755"/>
                  </a:moveTo>
                  <a:lnTo>
                    <a:pt x="189230" y="215900"/>
                  </a:lnTo>
                  <a:lnTo>
                    <a:pt x="224155" y="179070"/>
                  </a:lnTo>
                  <a:lnTo>
                    <a:pt x="205739" y="161925"/>
                  </a:lnTo>
                  <a:lnTo>
                    <a:pt x="53339" y="17145"/>
                  </a:lnTo>
                  <a:lnTo>
                    <a:pt x="34925" y="0"/>
                  </a:lnTo>
                  <a:lnTo>
                    <a:pt x="0" y="36830"/>
                  </a:lnTo>
                  <a:lnTo>
                    <a:pt x="18414" y="5461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07" name="Google Shape;1207;p16"/>
            <p:cNvSpPr/>
            <p:nvPr/>
          </p:nvSpPr>
          <p:spPr>
            <a:xfrm>
              <a:off x="9720580" y="5370829"/>
              <a:ext cx="224154" cy="215900"/>
            </a:xfrm>
            <a:custGeom>
              <a:avLst/>
              <a:gdLst/>
              <a:ahLst/>
              <a:cxnLst/>
              <a:rect l="l" t="t" r="r" b="b"/>
              <a:pathLst>
                <a:path w="224154" h="215900" extrusionOk="0">
                  <a:moveTo>
                    <a:pt x="205739" y="161925"/>
                  </a:moveTo>
                  <a:lnTo>
                    <a:pt x="53339" y="17145"/>
                  </a:lnTo>
                  <a:lnTo>
                    <a:pt x="34925" y="0"/>
                  </a:lnTo>
                  <a:lnTo>
                    <a:pt x="0" y="36830"/>
                  </a:lnTo>
                  <a:lnTo>
                    <a:pt x="18414" y="54610"/>
                  </a:lnTo>
                  <a:lnTo>
                    <a:pt x="170814" y="198755"/>
                  </a:lnTo>
                  <a:lnTo>
                    <a:pt x="189230" y="215900"/>
                  </a:lnTo>
                  <a:lnTo>
                    <a:pt x="224155" y="17907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08" name="Google Shape;1208;p16"/>
            <p:cNvSpPr/>
            <p:nvPr/>
          </p:nvSpPr>
          <p:spPr>
            <a:xfrm>
              <a:off x="10355580" y="5732779"/>
              <a:ext cx="224154" cy="215900"/>
            </a:xfrm>
            <a:custGeom>
              <a:avLst/>
              <a:gdLst/>
              <a:ahLst/>
              <a:cxnLst/>
              <a:rect l="l" t="t" r="r" b="b"/>
              <a:pathLst>
                <a:path w="224154" h="215900" extrusionOk="0">
                  <a:moveTo>
                    <a:pt x="205739" y="161925"/>
                  </a:moveTo>
                  <a:lnTo>
                    <a:pt x="53339" y="17145"/>
                  </a:lnTo>
                  <a:lnTo>
                    <a:pt x="34925" y="0"/>
                  </a:lnTo>
                  <a:lnTo>
                    <a:pt x="0" y="36830"/>
                  </a:lnTo>
                  <a:lnTo>
                    <a:pt x="18414" y="54610"/>
                  </a:lnTo>
                  <a:lnTo>
                    <a:pt x="170814" y="198755"/>
                  </a:lnTo>
                  <a:lnTo>
                    <a:pt x="189230" y="215900"/>
                  </a:lnTo>
                  <a:lnTo>
                    <a:pt x="224155" y="17907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09" name="Google Shape;1209;p16"/>
            <p:cNvSpPr/>
            <p:nvPr/>
          </p:nvSpPr>
          <p:spPr>
            <a:xfrm>
              <a:off x="10990580" y="6094729"/>
              <a:ext cx="224154" cy="215900"/>
            </a:xfrm>
            <a:custGeom>
              <a:avLst/>
              <a:gdLst/>
              <a:ahLst/>
              <a:cxnLst/>
              <a:rect l="l" t="t" r="r" b="b"/>
              <a:pathLst>
                <a:path w="224154" h="215900" extrusionOk="0">
                  <a:moveTo>
                    <a:pt x="205739" y="161925"/>
                  </a:moveTo>
                  <a:lnTo>
                    <a:pt x="53339" y="17145"/>
                  </a:lnTo>
                  <a:lnTo>
                    <a:pt x="34925" y="0"/>
                  </a:lnTo>
                  <a:lnTo>
                    <a:pt x="0" y="36830"/>
                  </a:lnTo>
                  <a:lnTo>
                    <a:pt x="18414" y="54610"/>
                  </a:lnTo>
                  <a:lnTo>
                    <a:pt x="170814" y="198755"/>
                  </a:lnTo>
                  <a:lnTo>
                    <a:pt x="189230" y="215900"/>
                  </a:lnTo>
                  <a:lnTo>
                    <a:pt x="224155" y="17907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10" name="Google Shape;1210;p16"/>
            <p:cNvSpPr/>
            <p:nvPr/>
          </p:nvSpPr>
          <p:spPr>
            <a:xfrm>
              <a:off x="11625580" y="6456679"/>
              <a:ext cx="224154" cy="215900"/>
            </a:xfrm>
            <a:custGeom>
              <a:avLst/>
              <a:gdLst/>
              <a:ahLst/>
              <a:cxnLst/>
              <a:rect l="l" t="t" r="r" b="b"/>
              <a:pathLst>
                <a:path w="224154" h="215900" extrusionOk="0">
                  <a:moveTo>
                    <a:pt x="205739" y="161925"/>
                  </a:moveTo>
                  <a:lnTo>
                    <a:pt x="53339" y="17145"/>
                  </a:lnTo>
                  <a:lnTo>
                    <a:pt x="34925" y="0"/>
                  </a:lnTo>
                  <a:lnTo>
                    <a:pt x="0" y="36830"/>
                  </a:lnTo>
                  <a:lnTo>
                    <a:pt x="18414" y="54610"/>
                  </a:lnTo>
                  <a:lnTo>
                    <a:pt x="170814" y="198755"/>
                  </a:lnTo>
                  <a:lnTo>
                    <a:pt x="189230" y="215900"/>
                  </a:lnTo>
                  <a:lnTo>
                    <a:pt x="224155" y="17907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11" name="Google Shape;1211;p16"/>
            <p:cNvSpPr/>
            <p:nvPr/>
          </p:nvSpPr>
          <p:spPr>
            <a:xfrm>
              <a:off x="642619" y="0"/>
              <a:ext cx="196850" cy="162560"/>
            </a:xfrm>
            <a:custGeom>
              <a:avLst/>
              <a:gdLst/>
              <a:ahLst/>
              <a:cxnLst/>
              <a:rect l="l" t="t" r="r" b="b"/>
              <a:pathLst>
                <a:path w="196850" h="162560" extrusionOk="0">
                  <a:moveTo>
                    <a:pt x="160655" y="162560"/>
                  </a:moveTo>
                  <a:lnTo>
                    <a:pt x="196850" y="127000"/>
                  </a:lnTo>
                  <a:lnTo>
                    <a:pt x="178435" y="109220"/>
                  </a:lnTo>
                  <a:lnTo>
                    <a:pt x="71120" y="0"/>
                  </a:lnTo>
                  <a:lnTo>
                    <a:pt x="0" y="0"/>
                  </a:lnTo>
                  <a:lnTo>
                    <a:pt x="142875" y="1447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12" name="Google Shape;1212;p16"/>
            <p:cNvSpPr/>
            <p:nvPr/>
          </p:nvSpPr>
          <p:spPr>
            <a:xfrm>
              <a:off x="1249680" y="298450"/>
              <a:ext cx="224789" cy="226059"/>
            </a:xfrm>
            <a:custGeom>
              <a:avLst/>
              <a:gdLst/>
              <a:ahLst/>
              <a:cxnLst/>
              <a:rect l="l" t="t" r="r" b="b"/>
              <a:pathLst>
                <a:path w="224789" h="226059" extrusionOk="0">
                  <a:moveTo>
                    <a:pt x="170815" y="208280"/>
                  </a:moveTo>
                  <a:lnTo>
                    <a:pt x="188595" y="226060"/>
                  </a:lnTo>
                  <a:lnTo>
                    <a:pt x="224790" y="190500"/>
                  </a:lnTo>
                  <a:lnTo>
                    <a:pt x="206375" y="172720"/>
                  </a:lnTo>
                  <a:lnTo>
                    <a:pt x="53975" y="17780"/>
                  </a:lnTo>
                  <a:lnTo>
                    <a:pt x="36195" y="0"/>
                  </a:lnTo>
                  <a:lnTo>
                    <a:pt x="0" y="35560"/>
                  </a:lnTo>
                  <a:lnTo>
                    <a:pt x="18415" y="5397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13" name="Google Shape;1213;p16"/>
            <p:cNvSpPr/>
            <p:nvPr/>
          </p:nvSpPr>
          <p:spPr>
            <a:xfrm>
              <a:off x="1884679" y="660400"/>
              <a:ext cx="224790" cy="226060"/>
            </a:xfrm>
            <a:custGeom>
              <a:avLst/>
              <a:gdLst/>
              <a:ahLst/>
              <a:cxnLst/>
              <a:rect l="l" t="t" r="r" b="b"/>
              <a:pathLst>
                <a:path w="224790" h="226060" extrusionOk="0">
                  <a:moveTo>
                    <a:pt x="53975" y="17780"/>
                  </a:moveTo>
                  <a:lnTo>
                    <a:pt x="36195" y="0"/>
                  </a:lnTo>
                  <a:lnTo>
                    <a:pt x="0" y="35560"/>
                  </a:lnTo>
                  <a:lnTo>
                    <a:pt x="18415" y="53975"/>
                  </a:lnTo>
                  <a:lnTo>
                    <a:pt x="170815" y="208280"/>
                  </a:lnTo>
                  <a:lnTo>
                    <a:pt x="188595" y="226060"/>
                  </a:lnTo>
                  <a:lnTo>
                    <a:pt x="224790" y="190500"/>
                  </a:lnTo>
                  <a:lnTo>
                    <a:pt x="206375" y="17272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14" name="Google Shape;1214;p16"/>
            <p:cNvSpPr/>
            <p:nvPr/>
          </p:nvSpPr>
          <p:spPr>
            <a:xfrm>
              <a:off x="2519679" y="1022350"/>
              <a:ext cx="224790" cy="226060"/>
            </a:xfrm>
            <a:custGeom>
              <a:avLst/>
              <a:gdLst/>
              <a:ahLst/>
              <a:cxnLst/>
              <a:rect l="l" t="t" r="r" b="b"/>
              <a:pathLst>
                <a:path w="224790" h="226060" extrusionOk="0">
                  <a:moveTo>
                    <a:pt x="36195" y="0"/>
                  </a:moveTo>
                  <a:lnTo>
                    <a:pt x="0" y="35560"/>
                  </a:lnTo>
                  <a:lnTo>
                    <a:pt x="18415" y="53975"/>
                  </a:lnTo>
                  <a:lnTo>
                    <a:pt x="170815" y="208280"/>
                  </a:lnTo>
                  <a:lnTo>
                    <a:pt x="188595" y="226060"/>
                  </a:lnTo>
                  <a:lnTo>
                    <a:pt x="224790" y="190500"/>
                  </a:lnTo>
                  <a:lnTo>
                    <a:pt x="206375" y="172720"/>
                  </a:lnTo>
                  <a:lnTo>
                    <a:pt x="53975" y="177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15" name="Google Shape;1215;p16"/>
            <p:cNvSpPr/>
            <p:nvPr/>
          </p:nvSpPr>
          <p:spPr>
            <a:xfrm>
              <a:off x="3154679" y="1384300"/>
              <a:ext cx="224790" cy="226060"/>
            </a:xfrm>
            <a:custGeom>
              <a:avLst/>
              <a:gdLst/>
              <a:ahLst/>
              <a:cxnLst/>
              <a:rect l="l" t="t" r="r" b="b"/>
              <a:pathLst>
                <a:path w="224790" h="226060" extrusionOk="0">
                  <a:moveTo>
                    <a:pt x="36195" y="0"/>
                  </a:moveTo>
                  <a:lnTo>
                    <a:pt x="0" y="35560"/>
                  </a:lnTo>
                  <a:lnTo>
                    <a:pt x="18415" y="53975"/>
                  </a:lnTo>
                  <a:lnTo>
                    <a:pt x="170815" y="208280"/>
                  </a:lnTo>
                  <a:lnTo>
                    <a:pt x="188595" y="226060"/>
                  </a:lnTo>
                  <a:lnTo>
                    <a:pt x="224790" y="190500"/>
                  </a:lnTo>
                  <a:lnTo>
                    <a:pt x="206375" y="172720"/>
                  </a:lnTo>
                  <a:lnTo>
                    <a:pt x="53975" y="177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16" name="Google Shape;1216;p16"/>
            <p:cNvSpPr/>
            <p:nvPr/>
          </p:nvSpPr>
          <p:spPr>
            <a:xfrm>
              <a:off x="3789679" y="1746250"/>
              <a:ext cx="224790" cy="226060"/>
            </a:xfrm>
            <a:custGeom>
              <a:avLst/>
              <a:gdLst/>
              <a:ahLst/>
              <a:cxnLst/>
              <a:rect l="l" t="t" r="r" b="b"/>
              <a:pathLst>
                <a:path w="224790" h="226060" extrusionOk="0">
                  <a:moveTo>
                    <a:pt x="206375" y="172720"/>
                  </a:moveTo>
                  <a:lnTo>
                    <a:pt x="53975" y="17780"/>
                  </a:lnTo>
                  <a:lnTo>
                    <a:pt x="36195" y="0"/>
                  </a:lnTo>
                  <a:lnTo>
                    <a:pt x="0" y="35560"/>
                  </a:lnTo>
                  <a:lnTo>
                    <a:pt x="18415" y="53975"/>
                  </a:lnTo>
                  <a:lnTo>
                    <a:pt x="170815" y="208280"/>
                  </a:lnTo>
                  <a:lnTo>
                    <a:pt x="188595" y="226060"/>
                  </a:lnTo>
                  <a:lnTo>
                    <a:pt x="224790" y="19050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17" name="Google Shape;1217;p16"/>
            <p:cNvSpPr/>
            <p:nvPr/>
          </p:nvSpPr>
          <p:spPr>
            <a:xfrm>
              <a:off x="4424679" y="2108200"/>
              <a:ext cx="224790" cy="226060"/>
            </a:xfrm>
            <a:custGeom>
              <a:avLst/>
              <a:gdLst/>
              <a:ahLst/>
              <a:cxnLst/>
              <a:rect l="l" t="t" r="r" b="b"/>
              <a:pathLst>
                <a:path w="224790" h="226060" extrusionOk="0">
                  <a:moveTo>
                    <a:pt x="53975" y="17780"/>
                  </a:moveTo>
                  <a:lnTo>
                    <a:pt x="36195" y="0"/>
                  </a:lnTo>
                  <a:lnTo>
                    <a:pt x="0" y="35560"/>
                  </a:lnTo>
                  <a:lnTo>
                    <a:pt x="18415" y="53975"/>
                  </a:lnTo>
                  <a:lnTo>
                    <a:pt x="170815" y="208280"/>
                  </a:lnTo>
                  <a:lnTo>
                    <a:pt x="188595" y="226060"/>
                  </a:lnTo>
                  <a:lnTo>
                    <a:pt x="224790" y="190500"/>
                  </a:lnTo>
                  <a:lnTo>
                    <a:pt x="206375" y="17272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18" name="Google Shape;1218;p16"/>
            <p:cNvSpPr/>
            <p:nvPr/>
          </p:nvSpPr>
          <p:spPr>
            <a:xfrm>
              <a:off x="5059679" y="2470150"/>
              <a:ext cx="224790" cy="226060"/>
            </a:xfrm>
            <a:custGeom>
              <a:avLst/>
              <a:gdLst/>
              <a:ahLst/>
              <a:cxnLst/>
              <a:rect l="l" t="t" r="r" b="b"/>
              <a:pathLst>
                <a:path w="224790" h="226060" extrusionOk="0">
                  <a:moveTo>
                    <a:pt x="53975" y="17780"/>
                  </a:moveTo>
                  <a:lnTo>
                    <a:pt x="36195" y="0"/>
                  </a:lnTo>
                  <a:lnTo>
                    <a:pt x="0" y="35560"/>
                  </a:lnTo>
                  <a:lnTo>
                    <a:pt x="18415" y="53975"/>
                  </a:lnTo>
                  <a:lnTo>
                    <a:pt x="170815" y="208280"/>
                  </a:lnTo>
                  <a:lnTo>
                    <a:pt x="188595" y="226060"/>
                  </a:lnTo>
                  <a:lnTo>
                    <a:pt x="224790" y="190500"/>
                  </a:lnTo>
                  <a:lnTo>
                    <a:pt x="206375" y="17272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19" name="Google Shape;1219;p16"/>
            <p:cNvSpPr/>
            <p:nvPr/>
          </p:nvSpPr>
          <p:spPr>
            <a:xfrm>
              <a:off x="5694679" y="2832100"/>
              <a:ext cx="224790" cy="226060"/>
            </a:xfrm>
            <a:custGeom>
              <a:avLst/>
              <a:gdLst/>
              <a:ahLst/>
              <a:cxnLst/>
              <a:rect l="l" t="t" r="r" b="b"/>
              <a:pathLst>
                <a:path w="224790" h="226060" extrusionOk="0">
                  <a:moveTo>
                    <a:pt x="53975" y="17780"/>
                  </a:moveTo>
                  <a:lnTo>
                    <a:pt x="36195" y="0"/>
                  </a:lnTo>
                  <a:lnTo>
                    <a:pt x="0" y="35560"/>
                  </a:lnTo>
                  <a:lnTo>
                    <a:pt x="18415" y="53340"/>
                  </a:lnTo>
                  <a:lnTo>
                    <a:pt x="170815" y="208280"/>
                  </a:lnTo>
                  <a:lnTo>
                    <a:pt x="188595" y="226060"/>
                  </a:lnTo>
                  <a:lnTo>
                    <a:pt x="224790" y="190500"/>
                  </a:lnTo>
                  <a:lnTo>
                    <a:pt x="206375" y="17272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20" name="Google Shape;1220;p16"/>
            <p:cNvSpPr/>
            <p:nvPr/>
          </p:nvSpPr>
          <p:spPr>
            <a:xfrm>
              <a:off x="6329679" y="3194050"/>
              <a:ext cx="224789" cy="226059"/>
            </a:xfrm>
            <a:custGeom>
              <a:avLst/>
              <a:gdLst/>
              <a:ahLst/>
              <a:cxnLst/>
              <a:rect l="l" t="t" r="r" b="b"/>
              <a:pathLst>
                <a:path w="224789" h="226059" extrusionOk="0">
                  <a:moveTo>
                    <a:pt x="170815" y="208280"/>
                  </a:moveTo>
                  <a:lnTo>
                    <a:pt x="188595" y="226060"/>
                  </a:lnTo>
                  <a:lnTo>
                    <a:pt x="224790" y="190500"/>
                  </a:lnTo>
                  <a:lnTo>
                    <a:pt x="206375" y="172720"/>
                  </a:lnTo>
                  <a:lnTo>
                    <a:pt x="53975" y="17780"/>
                  </a:lnTo>
                  <a:lnTo>
                    <a:pt x="36195" y="0"/>
                  </a:lnTo>
                  <a:lnTo>
                    <a:pt x="0" y="35560"/>
                  </a:lnTo>
                  <a:lnTo>
                    <a:pt x="18415" y="533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21" name="Google Shape;1221;p16"/>
            <p:cNvSpPr/>
            <p:nvPr/>
          </p:nvSpPr>
          <p:spPr>
            <a:xfrm>
              <a:off x="6964680" y="3556000"/>
              <a:ext cx="224789" cy="226059"/>
            </a:xfrm>
            <a:custGeom>
              <a:avLst/>
              <a:gdLst/>
              <a:ahLst/>
              <a:cxnLst/>
              <a:rect l="l" t="t" r="r" b="b"/>
              <a:pathLst>
                <a:path w="224789" h="226059" extrusionOk="0">
                  <a:moveTo>
                    <a:pt x="170814" y="208280"/>
                  </a:moveTo>
                  <a:lnTo>
                    <a:pt x="188595" y="226060"/>
                  </a:lnTo>
                  <a:lnTo>
                    <a:pt x="224789" y="190500"/>
                  </a:lnTo>
                  <a:lnTo>
                    <a:pt x="206375" y="172720"/>
                  </a:lnTo>
                  <a:lnTo>
                    <a:pt x="53975" y="17780"/>
                  </a:lnTo>
                  <a:lnTo>
                    <a:pt x="36195" y="0"/>
                  </a:lnTo>
                  <a:lnTo>
                    <a:pt x="0" y="35560"/>
                  </a:lnTo>
                  <a:lnTo>
                    <a:pt x="18414" y="533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22" name="Google Shape;1222;p16"/>
            <p:cNvSpPr/>
            <p:nvPr/>
          </p:nvSpPr>
          <p:spPr>
            <a:xfrm>
              <a:off x="7599680" y="3917950"/>
              <a:ext cx="224789" cy="226059"/>
            </a:xfrm>
            <a:custGeom>
              <a:avLst/>
              <a:gdLst/>
              <a:ahLst/>
              <a:cxnLst/>
              <a:rect l="l" t="t" r="r" b="b"/>
              <a:pathLst>
                <a:path w="224789" h="226059" extrusionOk="0">
                  <a:moveTo>
                    <a:pt x="170814" y="208280"/>
                  </a:moveTo>
                  <a:lnTo>
                    <a:pt x="188595" y="226060"/>
                  </a:lnTo>
                  <a:lnTo>
                    <a:pt x="224789" y="190500"/>
                  </a:lnTo>
                  <a:lnTo>
                    <a:pt x="206375" y="172720"/>
                  </a:lnTo>
                  <a:lnTo>
                    <a:pt x="53975" y="17780"/>
                  </a:lnTo>
                  <a:lnTo>
                    <a:pt x="36195" y="0"/>
                  </a:lnTo>
                  <a:lnTo>
                    <a:pt x="0" y="35560"/>
                  </a:lnTo>
                  <a:lnTo>
                    <a:pt x="18414" y="533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23" name="Google Shape;1223;p16"/>
            <p:cNvSpPr/>
            <p:nvPr/>
          </p:nvSpPr>
          <p:spPr>
            <a:xfrm>
              <a:off x="8234680" y="4279900"/>
              <a:ext cx="224789" cy="226059"/>
            </a:xfrm>
            <a:custGeom>
              <a:avLst/>
              <a:gdLst/>
              <a:ahLst/>
              <a:cxnLst/>
              <a:rect l="l" t="t" r="r" b="b"/>
              <a:pathLst>
                <a:path w="224789" h="226059" extrusionOk="0">
                  <a:moveTo>
                    <a:pt x="170814" y="208280"/>
                  </a:moveTo>
                  <a:lnTo>
                    <a:pt x="188595" y="226060"/>
                  </a:lnTo>
                  <a:lnTo>
                    <a:pt x="224789" y="190500"/>
                  </a:lnTo>
                  <a:lnTo>
                    <a:pt x="206375" y="172720"/>
                  </a:lnTo>
                  <a:lnTo>
                    <a:pt x="53975" y="17780"/>
                  </a:lnTo>
                  <a:lnTo>
                    <a:pt x="36195" y="0"/>
                  </a:lnTo>
                  <a:lnTo>
                    <a:pt x="0" y="35560"/>
                  </a:lnTo>
                  <a:lnTo>
                    <a:pt x="18414" y="533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24" name="Google Shape;1224;p16"/>
            <p:cNvSpPr/>
            <p:nvPr/>
          </p:nvSpPr>
          <p:spPr>
            <a:xfrm>
              <a:off x="8869680" y="4641850"/>
              <a:ext cx="224789" cy="226059"/>
            </a:xfrm>
            <a:custGeom>
              <a:avLst/>
              <a:gdLst/>
              <a:ahLst/>
              <a:cxnLst/>
              <a:rect l="l" t="t" r="r" b="b"/>
              <a:pathLst>
                <a:path w="224789" h="226059" extrusionOk="0">
                  <a:moveTo>
                    <a:pt x="170814" y="208280"/>
                  </a:moveTo>
                  <a:lnTo>
                    <a:pt x="188595" y="226060"/>
                  </a:lnTo>
                  <a:lnTo>
                    <a:pt x="224789" y="190500"/>
                  </a:lnTo>
                  <a:lnTo>
                    <a:pt x="206375" y="172720"/>
                  </a:lnTo>
                  <a:lnTo>
                    <a:pt x="53975" y="17780"/>
                  </a:lnTo>
                  <a:lnTo>
                    <a:pt x="36195" y="0"/>
                  </a:lnTo>
                  <a:lnTo>
                    <a:pt x="0" y="35560"/>
                  </a:lnTo>
                  <a:lnTo>
                    <a:pt x="18414" y="533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25" name="Google Shape;1225;p16"/>
            <p:cNvSpPr/>
            <p:nvPr/>
          </p:nvSpPr>
          <p:spPr>
            <a:xfrm>
              <a:off x="9504680" y="5003800"/>
              <a:ext cx="224789" cy="226059"/>
            </a:xfrm>
            <a:custGeom>
              <a:avLst/>
              <a:gdLst/>
              <a:ahLst/>
              <a:cxnLst/>
              <a:rect l="l" t="t" r="r" b="b"/>
              <a:pathLst>
                <a:path w="224789" h="226059" extrusionOk="0">
                  <a:moveTo>
                    <a:pt x="170814" y="208280"/>
                  </a:moveTo>
                  <a:lnTo>
                    <a:pt x="188595" y="226060"/>
                  </a:lnTo>
                  <a:lnTo>
                    <a:pt x="224789" y="190500"/>
                  </a:lnTo>
                  <a:lnTo>
                    <a:pt x="206375" y="172720"/>
                  </a:lnTo>
                  <a:lnTo>
                    <a:pt x="53975" y="17780"/>
                  </a:lnTo>
                  <a:lnTo>
                    <a:pt x="36195" y="0"/>
                  </a:lnTo>
                  <a:lnTo>
                    <a:pt x="0" y="35560"/>
                  </a:lnTo>
                  <a:lnTo>
                    <a:pt x="18414" y="533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26" name="Google Shape;1226;p16"/>
            <p:cNvSpPr/>
            <p:nvPr/>
          </p:nvSpPr>
          <p:spPr>
            <a:xfrm>
              <a:off x="10139680" y="5365750"/>
              <a:ext cx="224789" cy="226059"/>
            </a:xfrm>
            <a:custGeom>
              <a:avLst/>
              <a:gdLst/>
              <a:ahLst/>
              <a:cxnLst/>
              <a:rect l="l" t="t" r="r" b="b"/>
              <a:pathLst>
                <a:path w="224789" h="226059" extrusionOk="0">
                  <a:moveTo>
                    <a:pt x="170814" y="208280"/>
                  </a:moveTo>
                  <a:lnTo>
                    <a:pt x="188595" y="226060"/>
                  </a:lnTo>
                  <a:lnTo>
                    <a:pt x="224789" y="190500"/>
                  </a:lnTo>
                  <a:lnTo>
                    <a:pt x="206375" y="172720"/>
                  </a:lnTo>
                  <a:lnTo>
                    <a:pt x="53975" y="17780"/>
                  </a:lnTo>
                  <a:lnTo>
                    <a:pt x="36195" y="0"/>
                  </a:lnTo>
                  <a:lnTo>
                    <a:pt x="0" y="35560"/>
                  </a:lnTo>
                  <a:lnTo>
                    <a:pt x="18414" y="533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27" name="Google Shape;1227;p16"/>
            <p:cNvSpPr/>
            <p:nvPr/>
          </p:nvSpPr>
          <p:spPr>
            <a:xfrm>
              <a:off x="10774680" y="5727700"/>
              <a:ext cx="224789" cy="226059"/>
            </a:xfrm>
            <a:custGeom>
              <a:avLst/>
              <a:gdLst/>
              <a:ahLst/>
              <a:cxnLst/>
              <a:rect l="l" t="t" r="r" b="b"/>
              <a:pathLst>
                <a:path w="224789" h="226059" extrusionOk="0">
                  <a:moveTo>
                    <a:pt x="206375" y="172720"/>
                  </a:moveTo>
                  <a:lnTo>
                    <a:pt x="53975" y="17780"/>
                  </a:lnTo>
                  <a:lnTo>
                    <a:pt x="36195" y="0"/>
                  </a:lnTo>
                  <a:lnTo>
                    <a:pt x="0" y="35560"/>
                  </a:lnTo>
                  <a:lnTo>
                    <a:pt x="18414" y="53340"/>
                  </a:lnTo>
                  <a:lnTo>
                    <a:pt x="170814" y="208280"/>
                  </a:lnTo>
                  <a:lnTo>
                    <a:pt x="188595" y="226060"/>
                  </a:lnTo>
                  <a:lnTo>
                    <a:pt x="224789" y="19050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28" name="Google Shape;1228;p16"/>
            <p:cNvSpPr/>
            <p:nvPr/>
          </p:nvSpPr>
          <p:spPr>
            <a:xfrm>
              <a:off x="11409680" y="6089650"/>
              <a:ext cx="224789" cy="226059"/>
            </a:xfrm>
            <a:custGeom>
              <a:avLst/>
              <a:gdLst/>
              <a:ahLst/>
              <a:cxnLst/>
              <a:rect l="l" t="t" r="r" b="b"/>
              <a:pathLst>
                <a:path w="224789" h="226059" extrusionOk="0">
                  <a:moveTo>
                    <a:pt x="206375" y="172720"/>
                  </a:moveTo>
                  <a:lnTo>
                    <a:pt x="53975" y="17780"/>
                  </a:lnTo>
                  <a:lnTo>
                    <a:pt x="36195" y="0"/>
                  </a:lnTo>
                  <a:lnTo>
                    <a:pt x="0" y="35560"/>
                  </a:lnTo>
                  <a:lnTo>
                    <a:pt x="18414" y="53340"/>
                  </a:lnTo>
                  <a:lnTo>
                    <a:pt x="170814" y="208280"/>
                  </a:lnTo>
                  <a:lnTo>
                    <a:pt x="188595" y="226060"/>
                  </a:lnTo>
                  <a:lnTo>
                    <a:pt x="224789" y="19050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29" name="Google Shape;1229;p16"/>
            <p:cNvSpPr/>
            <p:nvPr/>
          </p:nvSpPr>
          <p:spPr>
            <a:xfrm>
              <a:off x="12044680" y="6451600"/>
              <a:ext cx="147319" cy="184784"/>
            </a:xfrm>
            <a:custGeom>
              <a:avLst/>
              <a:gdLst/>
              <a:ahLst/>
              <a:cxnLst/>
              <a:rect l="l" t="t" r="r" b="b"/>
              <a:pathLst>
                <a:path w="147319" h="184784" extrusionOk="0">
                  <a:moveTo>
                    <a:pt x="36195" y="0"/>
                  </a:moveTo>
                  <a:lnTo>
                    <a:pt x="0" y="35560"/>
                  </a:lnTo>
                  <a:lnTo>
                    <a:pt x="18414" y="53340"/>
                  </a:lnTo>
                  <a:lnTo>
                    <a:pt x="147320" y="184785"/>
                  </a:lnTo>
                  <a:lnTo>
                    <a:pt x="147320" y="112395"/>
                  </a:lnTo>
                  <a:lnTo>
                    <a:pt x="53975" y="177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30" name="Google Shape;1230;p16"/>
            <p:cNvSpPr/>
            <p:nvPr/>
          </p:nvSpPr>
          <p:spPr>
            <a:xfrm>
              <a:off x="1052830" y="0"/>
              <a:ext cx="194944" cy="165100"/>
            </a:xfrm>
            <a:custGeom>
              <a:avLst/>
              <a:gdLst/>
              <a:ahLst/>
              <a:cxnLst/>
              <a:rect l="l" t="t" r="r" b="b"/>
              <a:pathLst>
                <a:path w="194944" h="165100" extrusionOk="0">
                  <a:moveTo>
                    <a:pt x="158750" y="165100"/>
                  </a:moveTo>
                  <a:lnTo>
                    <a:pt x="194945" y="129540"/>
                  </a:lnTo>
                  <a:lnTo>
                    <a:pt x="177800" y="111125"/>
                  </a:lnTo>
                  <a:lnTo>
                    <a:pt x="70485" y="0"/>
                  </a:lnTo>
                  <a:lnTo>
                    <a:pt x="0" y="0"/>
                  </a:lnTo>
                  <a:lnTo>
                    <a:pt x="140970" y="14668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31" name="Google Shape;1231;p16"/>
            <p:cNvSpPr/>
            <p:nvPr/>
          </p:nvSpPr>
          <p:spPr>
            <a:xfrm>
              <a:off x="1658620" y="296545"/>
              <a:ext cx="224154" cy="230504"/>
            </a:xfrm>
            <a:custGeom>
              <a:avLst/>
              <a:gdLst/>
              <a:ahLst/>
              <a:cxnLst/>
              <a:rect l="l" t="t" r="r" b="b"/>
              <a:pathLst>
                <a:path w="224154" h="230504" extrusionOk="0">
                  <a:moveTo>
                    <a:pt x="170180" y="212090"/>
                  </a:moveTo>
                  <a:lnTo>
                    <a:pt x="187960" y="230505"/>
                  </a:lnTo>
                  <a:lnTo>
                    <a:pt x="224155" y="194945"/>
                  </a:lnTo>
                  <a:lnTo>
                    <a:pt x="207010" y="176530"/>
                  </a:lnTo>
                  <a:lnTo>
                    <a:pt x="54610" y="17780"/>
                  </a:lnTo>
                  <a:lnTo>
                    <a:pt x="36830" y="0"/>
                  </a:lnTo>
                  <a:lnTo>
                    <a:pt x="0" y="34925"/>
                  </a:lnTo>
                  <a:lnTo>
                    <a:pt x="17780" y="533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32" name="Google Shape;1232;p16"/>
            <p:cNvSpPr/>
            <p:nvPr/>
          </p:nvSpPr>
          <p:spPr>
            <a:xfrm>
              <a:off x="2293620" y="658494"/>
              <a:ext cx="224154" cy="230505"/>
            </a:xfrm>
            <a:custGeom>
              <a:avLst/>
              <a:gdLst/>
              <a:ahLst/>
              <a:cxnLst/>
              <a:rect l="l" t="t" r="r" b="b"/>
              <a:pathLst>
                <a:path w="224154" h="230505" extrusionOk="0">
                  <a:moveTo>
                    <a:pt x="170180" y="212090"/>
                  </a:moveTo>
                  <a:lnTo>
                    <a:pt x="187960" y="230505"/>
                  </a:lnTo>
                  <a:lnTo>
                    <a:pt x="224155" y="194945"/>
                  </a:lnTo>
                  <a:lnTo>
                    <a:pt x="207010" y="176530"/>
                  </a:lnTo>
                  <a:lnTo>
                    <a:pt x="54610" y="17780"/>
                  </a:lnTo>
                  <a:lnTo>
                    <a:pt x="36830" y="0"/>
                  </a:lnTo>
                  <a:lnTo>
                    <a:pt x="0" y="34925"/>
                  </a:lnTo>
                  <a:lnTo>
                    <a:pt x="17780" y="533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33" name="Google Shape;1233;p16"/>
            <p:cNvSpPr/>
            <p:nvPr/>
          </p:nvSpPr>
          <p:spPr>
            <a:xfrm>
              <a:off x="2928620" y="1020444"/>
              <a:ext cx="224154" cy="230505"/>
            </a:xfrm>
            <a:custGeom>
              <a:avLst/>
              <a:gdLst/>
              <a:ahLst/>
              <a:cxnLst/>
              <a:rect l="l" t="t" r="r" b="b"/>
              <a:pathLst>
                <a:path w="224154" h="230505" extrusionOk="0">
                  <a:moveTo>
                    <a:pt x="170180" y="212090"/>
                  </a:moveTo>
                  <a:lnTo>
                    <a:pt x="187960" y="230505"/>
                  </a:lnTo>
                  <a:lnTo>
                    <a:pt x="224155" y="194945"/>
                  </a:lnTo>
                  <a:lnTo>
                    <a:pt x="207010" y="176530"/>
                  </a:lnTo>
                  <a:lnTo>
                    <a:pt x="54610" y="17780"/>
                  </a:lnTo>
                  <a:lnTo>
                    <a:pt x="36830" y="0"/>
                  </a:lnTo>
                  <a:lnTo>
                    <a:pt x="0" y="34925"/>
                  </a:lnTo>
                  <a:lnTo>
                    <a:pt x="17780" y="533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34" name="Google Shape;1234;p16"/>
            <p:cNvSpPr/>
            <p:nvPr/>
          </p:nvSpPr>
          <p:spPr>
            <a:xfrm>
              <a:off x="3563620" y="1382394"/>
              <a:ext cx="224154" cy="230505"/>
            </a:xfrm>
            <a:custGeom>
              <a:avLst/>
              <a:gdLst/>
              <a:ahLst/>
              <a:cxnLst/>
              <a:rect l="l" t="t" r="r" b="b"/>
              <a:pathLst>
                <a:path w="224154" h="230505" extrusionOk="0">
                  <a:moveTo>
                    <a:pt x="36830" y="0"/>
                  </a:moveTo>
                  <a:lnTo>
                    <a:pt x="0" y="34925"/>
                  </a:lnTo>
                  <a:lnTo>
                    <a:pt x="17780" y="53340"/>
                  </a:lnTo>
                  <a:lnTo>
                    <a:pt x="170180" y="212090"/>
                  </a:lnTo>
                  <a:lnTo>
                    <a:pt x="187960" y="230505"/>
                  </a:lnTo>
                  <a:lnTo>
                    <a:pt x="224155" y="194945"/>
                  </a:lnTo>
                  <a:lnTo>
                    <a:pt x="207010" y="176530"/>
                  </a:lnTo>
                  <a:lnTo>
                    <a:pt x="54610" y="177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35" name="Google Shape;1235;p16"/>
            <p:cNvSpPr/>
            <p:nvPr/>
          </p:nvSpPr>
          <p:spPr>
            <a:xfrm>
              <a:off x="4198620" y="1744345"/>
              <a:ext cx="224154" cy="230504"/>
            </a:xfrm>
            <a:custGeom>
              <a:avLst/>
              <a:gdLst/>
              <a:ahLst/>
              <a:cxnLst/>
              <a:rect l="l" t="t" r="r" b="b"/>
              <a:pathLst>
                <a:path w="224154" h="230504" extrusionOk="0">
                  <a:moveTo>
                    <a:pt x="36830" y="0"/>
                  </a:moveTo>
                  <a:lnTo>
                    <a:pt x="0" y="34925"/>
                  </a:lnTo>
                  <a:lnTo>
                    <a:pt x="17780" y="53340"/>
                  </a:lnTo>
                  <a:lnTo>
                    <a:pt x="170180" y="212090"/>
                  </a:lnTo>
                  <a:lnTo>
                    <a:pt x="187960" y="230505"/>
                  </a:lnTo>
                  <a:lnTo>
                    <a:pt x="224155" y="194945"/>
                  </a:lnTo>
                  <a:lnTo>
                    <a:pt x="207010" y="176530"/>
                  </a:lnTo>
                  <a:lnTo>
                    <a:pt x="54610" y="177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36" name="Google Shape;1236;p16"/>
            <p:cNvSpPr/>
            <p:nvPr/>
          </p:nvSpPr>
          <p:spPr>
            <a:xfrm>
              <a:off x="4833620" y="2106295"/>
              <a:ext cx="224154" cy="230504"/>
            </a:xfrm>
            <a:custGeom>
              <a:avLst/>
              <a:gdLst/>
              <a:ahLst/>
              <a:cxnLst/>
              <a:rect l="l" t="t" r="r" b="b"/>
              <a:pathLst>
                <a:path w="224154" h="230504" extrusionOk="0">
                  <a:moveTo>
                    <a:pt x="36830" y="0"/>
                  </a:moveTo>
                  <a:lnTo>
                    <a:pt x="0" y="34925"/>
                  </a:lnTo>
                  <a:lnTo>
                    <a:pt x="17780" y="53340"/>
                  </a:lnTo>
                  <a:lnTo>
                    <a:pt x="170180" y="212090"/>
                  </a:lnTo>
                  <a:lnTo>
                    <a:pt x="187960" y="230505"/>
                  </a:lnTo>
                  <a:lnTo>
                    <a:pt x="224155" y="194945"/>
                  </a:lnTo>
                  <a:lnTo>
                    <a:pt x="207010" y="176530"/>
                  </a:lnTo>
                  <a:lnTo>
                    <a:pt x="54610" y="177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37" name="Google Shape;1237;p16"/>
            <p:cNvSpPr/>
            <p:nvPr/>
          </p:nvSpPr>
          <p:spPr>
            <a:xfrm>
              <a:off x="5468620" y="2468245"/>
              <a:ext cx="224154" cy="230504"/>
            </a:xfrm>
            <a:custGeom>
              <a:avLst/>
              <a:gdLst/>
              <a:ahLst/>
              <a:cxnLst/>
              <a:rect l="l" t="t" r="r" b="b"/>
              <a:pathLst>
                <a:path w="224154" h="230504" extrusionOk="0">
                  <a:moveTo>
                    <a:pt x="36830" y="0"/>
                  </a:moveTo>
                  <a:lnTo>
                    <a:pt x="0" y="34925"/>
                  </a:lnTo>
                  <a:lnTo>
                    <a:pt x="17780" y="53340"/>
                  </a:lnTo>
                  <a:lnTo>
                    <a:pt x="170180" y="212090"/>
                  </a:lnTo>
                  <a:lnTo>
                    <a:pt x="187960" y="230505"/>
                  </a:lnTo>
                  <a:lnTo>
                    <a:pt x="224155" y="194945"/>
                  </a:lnTo>
                  <a:lnTo>
                    <a:pt x="207010" y="176530"/>
                  </a:lnTo>
                  <a:lnTo>
                    <a:pt x="54610" y="177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38" name="Google Shape;1238;p16"/>
            <p:cNvSpPr/>
            <p:nvPr/>
          </p:nvSpPr>
          <p:spPr>
            <a:xfrm>
              <a:off x="6103620" y="2830195"/>
              <a:ext cx="224154" cy="230504"/>
            </a:xfrm>
            <a:custGeom>
              <a:avLst/>
              <a:gdLst/>
              <a:ahLst/>
              <a:cxnLst/>
              <a:rect l="l" t="t" r="r" b="b"/>
              <a:pathLst>
                <a:path w="224154" h="230504" extrusionOk="0">
                  <a:moveTo>
                    <a:pt x="36830" y="0"/>
                  </a:moveTo>
                  <a:lnTo>
                    <a:pt x="0" y="34925"/>
                  </a:lnTo>
                  <a:lnTo>
                    <a:pt x="17780" y="53340"/>
                  </a:lnTo>
                  <a:lnTo>
                    <a:pt x="170180" y="212090"/>
                  </a:lnTo>
                  <a:lnTo>
                    <a:pt x="187960" y="230505"/>
                  </a:lnTo>
                  <a:lnTo>
                    <a:pt x="224155" y="194945"/>
                  </a:lnTo>
                  <a:lnTo>
                    <a:pt x="207010" y="176530"/>
                  </a:lnTo>
                  <a:lnTo>
                    <a:pt x="54610" y="177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39" name="Google Shape;1239;p16"/>
            <p:cNvSpPr/>
            <p:nvPr/>
          </p:nvSpPr>
          <p:spPr>
            <a:xfrm>
              <a:off x="6738619" y="3192145"/>
              <a:ext cx="224155" cy="230504"/>
            </a:xfrm>
            <a:custGeom>
              <a:avLst/>
              <a:gdLst/>
              <a:ahLst/>
              <a:cxnLst/>
              <a:rect l="l" t="t" r="r" b="b"/>
              <a:pathLst>
                <a:path w="224155" h="230504" extrusionOk="0">
                  <a:moveTo>
                    <a:pt x="36830" y="0"/>
                  </a:moveTo>
                  <a:lnTo>
                    <a:pt x="0" y="34925"/>
                  </a:lnTo>
                  <a:lnTo>
                    <a:pt x="17780" y="53340"/>
                  </a:lnTo>
                  <a:lnTo>
                    <a:pt x="170180" y="212090"/>
                  </a:lnTo>
                  <a:lnTo>
                    <a:pt x="187961" y="230505"/>
                  </a:lnTo>
                  <a:lnTo>
                    <a:pt x="224155" y="194945"/>
                  </a:lnTo>
                  <a:lnTo>
                    <a:pt x="207011" y="176530"/>
                  </a:lnTo>
                  <a:lnTo>
                    <a:pt x="54611" y="177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40" name="Google Shape;1240;p16"/>
            <p:cNvSpPr/>
            <p:nvPr/>
          </p:nvSpPr>
          <p:spPr>
            <a:xfrm>
              <a:off x="7373619" y="3554095"/>
              <a:ext cx="224155" cy="230504"/>
            </a:xfrm>
            <a:custGeom>
              <a:avLst/>
              <a:gdLst/>
              <a:ahLst/>
              <a:cxnLst/>
              <a:rect l="l" t="t" r="r" b="b"/>
              <a:pathLst>
                <a:path w="224155" h="230504" extrusionOk="0">
                  <a:moveTo>
                    <a:pt x="36830" y="0"/>
                  </a:moveTo>
                  <a:lnTo>
                    <a:pt x="0" y="34925"/>
                  </a:lnTo>
                  <a:lnTo>
                    <a:pt x="17780" y="53340"/>
                  </a:lnTo>
                  <a:lnTo>
                    <a:pt x="170180" y="212090"/>
                  </a:lnTo>
                  <a:lnTo>
                    <a:pt x="187961" y="230505"/>
                  </a:lnTo>
                  <a:lnTo>
                    <a:pt x="224155" y="194945"/>
                  </a:lnTo>
                  <a:lnTo>
                    <a:pt x="207011" y="176530"/>
                  </a:lnTo>
                  <a:lnTo>
                    <a:pt x="54611" y="177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41" name="Google Shape;1241;p16"/>
            <p:cNvSpPr/>
            <p:nvPr/>
          </p:nvSpPr>
          <p:spPr>
            <a:xfrm>
              <a:off x="8008619" y="3916045"/>
              <a:ext cx="224155" cy="230504"/>
            </a:xfrm>
            <a:custGeom>
              <a:avLst/>
              <a:gdLst/>
              <a:ahLst/>
              <a:cxnLst/>
              <a:rect l="l" t="t" r="r" b="b"/>
              <a:pathLst>
                <a:path w="224155" h="230504" extrusionOk="0">
                  <a:moveTo>
                    <a:pt x="36830" y="0"/>
                  </a:moveTo>
                  <a:lnTo>
                    <a:pt x="0" y="34925"/>
                  </a:lnTo>
                  <a:lnTo>
                    <a:pt x="17780" y="53340"/>
                  </a:lnTo>
                  <a:lnTo>
                    <a:pt x="170180" y="212090"/>
                  </a:lnTo>
                  <a:lnTo>
                    <a:pt x="187961" y="230505"/>
                  </a:lnTo>
                  <a:lnTo>
                    <a:pt x="224155" y="194945"/>
                  </a:lnTo>
                  <a:lnTo>
                    <a:pt x="207011" y="176530"/>
                  </a:lnTo>
                  <a:lnTo>
                    <a:pt x="54611" y="177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42" name="Google Shape;1242;p16"/>
            <p:cNvSpPr/>
            <p:nvPr/>
          </p:nvSpPr>
          <p:spPr>
            <a:xfrm>
              <a:off x="8643619" y="4277995"/>
              <a:ext cx="224155" cy="230504"/>
            </a:xfrm>
            <a:custGeom>
              <a:avLst/>
              <a:gdLst/>
              <a:ahLst/>
              <a:cxnLst/>
              <a:rect l="l" t="t" r="r" b="b"/>
              <a:pathLst>
                <a:path w="224155" h="230504" extrusionOk="0">
                  <a:moveTo>
                    <a:pt x="36830" y="0"/>
                  </a:moveTo>
                  <a:lnTo>
                    <a:pt x="0" y="34925"/>
                  </a:lnTo>
                  <a:lnTo>
                    <a:pt x="17780" y="53340"/>
                  </a:lnTo>
                  <a:lnTo>
                    <a:pt x="170180" y="212090"/>
                  </a:lnTo>
                  <a:lnTo>
                    <a:pt x="187961" y="230505"/>
                  </a:lnTo>
                  <a:lnTo>
                    <a:pt x="224155" y="194945"/>
                  </a:lnTo>
                  <a:lnTo>
                    <a:pt x="207011" y="176530"/>
                  </a:lnTo>
                  <a:lnTo>
                    <a:pt x="54611" y="177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43" name="Google Shape;1243;p16"/>
            <p:cNvSpPr/>
            <p:nvPr/>
          </p:nvSpPr>
          <p:spPr>
            <a:xfrm>
              <a:off x="9278619" y="4639945"/>
              <a:ext cx="224155" cy="230504"/>
            </a:xfrm>
            <a:custGeom>
              <a:avLst/>
              <a:gdLst/>
              <a:ahLst/>
              <a:cxnLst/>
              <a:rect l="l" t="t" r="r" b="b"/>
              <a:pathLst>
                <a:path w="224155" h="230504" extrusionOk="0">
                  <a:moveTo>
                    <a:pt x="36830" y="0"/>
                  </a:moveTo>
                  <a:lnTo>
                    <a:pt x="0" y="34925"/>
                  </a:lnTo>
                  <a:lnTo>
                    <a:pt x="17780" y="53340"/>
                  </a:lnTo>
                  <a:lnTo>
                    <a:pt x="170180" y="212090"/>
                  </a:lnTo>
                  <a:lnTo>
                    <a:pt x="187961" y="230505"/>
                  </a:lnTo>
                  <a:lnTo>
                    <a:pt x="224155" y="194945"/>
                  </a:lnTo>
                  <a:lnTo>
                    <a:pt x="207011" y="176530"/>
                  </a:lnTo>
                  <a:lnTo>
                    <a:pt x="54611" y="177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44" name="Google Shape;1244;p16"/>
            <p:cNvSpPr/>
            <p:nvPr/>
          </p:nvSpPr>
          <p:spPr>
            <a:xfrm>
              <a:off x="9913619" y="5001895"/>
              <a:ext cx="224155" cy="230504"/>
            </a:xfrm>
            <a:custGeom>
              <a:avLst/>
              <a:gdLst/>
              <a:ahLst/>
              <a:cxnLst/>
              <a:rect l="l" t="t" r="r" b="b"/>
              <a:pathLst>
                <a:path w="224155" h="230504" extrusionOk="0">
                  <a:moveTo>
                    <a:pt x="170180" y="212090"/>
                  </a:moveTo>
                  <a:lnTo>
                    <a:pt x="187961" y="230505"/>
                  </a:lnTo>
                  <a:lnTo>
                    <a:pt x="224155" y="194945"/>
                  </a:lnTo>
                  <a:lnTo>
                    <a:pt x="207011" y="176530"/>
                  </a:lnTo>
                  <a:lnTo>
                    <a:pt x="54611" y="17780"/>
                  </a:lnTo>
                  <a:lnTo>
                    <a:pt x="36830" y="0"/>
                  </a:lnTo>
                  <a:lnTo>
                    <a:pt x="0" y="34925"/>
                  </a:lnTo>
                  <a:lnTo>
                    <a:pt x="17780" y="533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45" name="Google Shape;1245;p16"/>
            <p:cNvSpPr/>
            <p:nvPr/>
          </p:nvSpPr>
          <p:spPr>
            <a:xfrm>
              <a:off x="10548619" y="5363845"/>
              <a:ext cx="224155" cy="230504"/>
            </a:xfrm>
            <a:custGeom>
              <a:avLst/>
              <a:gdLst/>
              <a:ahLst/>
              <a:cxnLst/>
              <a:rect l="l" t="t" r="r" b="b"/>
              <a:pathLst>
                <a:path w="224155" h="230504" extrusionOk="0">
                  <a:moveTo>
                    <a:pt x="170180" y="212090"/>
                  </a:moveTo>
                  <a:lnTo>
                    <a:pt x="187961" y="230505"/>
                  </a:lnTo>
                  <a:lnTo>
                    <a:pt x="224155" y="194945"/>
                  </a:lnTo>
                  <a:lnTo>
                    <a:pt x="207011" y="176530"/>
                  </a:lnTo>
                  <a:lnTo>
                    <a:pt x="54611" y="17780"/>
                  </a:lnTo>
                  <a:lnTo>
                    <a:pt x="36830" y="0"/>
                  </a:lnTo>
                  <a:lnTo>
                    <a:pt x="0" y="34925"/>
                  </a:lnTo>
                  <a:lnTo>
                    <a:pt x="17780" y="533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46" name="Google Shape;1246;p16"/>
            <p:cNvSpPr/>
            <p:nvPr/>
          </p:nvSpPr>
          <p:spPr>
            <a:xfrm>
              <a:off x="11183619" y="5725795"/>
              <a:ext cx="224155" cy="230504"/>
            </a:xfrm>
            <a:custGeom>
              <a:avLst/>
              <a:gdLst/>
              <a:ahLst/>
              <a:cxnLst/>
              <a:rect l="l" t="t" r="r" b="b"/>
              <a:pathLst>
                <a:path w="224155" h="230504" extrusionOk="0">
                  <a:moveTo>
                    <a:pt x="170180" y="212090"/>
                  </a:moveTo>
                  <a:lnTo>
                    <a:pt x="187961" y="230505"/>
                  </a:lnTo>
                  <a:lnTo>
                    <a:pt x="224155" y="194945"/>
                  </a:lnTo>
                  <a:lnTo>
                    <a:pt x="207011" y="176530"/>
                  </a:lnTo>
                  <a:lnTo>
                    <a:pt x="54611" y="17780"/>
                  </a:lnTo>
                  <a:lnTo>
                    <a:pt x="36830" y="0"/>
                  </a:lnTo>
                  <a:lnTo>
                    <a:pt x="0" y="34925"/>
                  </a:lnTo>
                  <a:lnTo>
                    <a:pt x="17780" y="533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47" name="Google Shape;1247;p16"/>
            <p:cNvSpPr/>
            <p:nvPr/>
          </p:nvSpPr>
          <p:spPr>
            <a:xfrm>
              <a:off x="11818619" y="6087745"/>
              <a:ext cx="224155" cy="230504"/>
            </a:xfrm>
            <a:custGeom>
              <a:avLst/>
              <a:gdLst/>
              <a:ahLst/>
              <a:cxnLst/>
              <a:rect l="l" t="t" r="r" b="b"/>
              <a:pathLst>
                <a:path w="224155" h="230504" extrusionOk="0">
                  <a:moveTo>
                    <a:pt x="54611" y="17780"/>
                  </a:moveTo>
                  <a:lnTo>
                    <a:pt x="36830" y="0"/>
                  </a:lnTo>
                  <a:lnTo>
                    <a:pt x="0" y="34925"/>
                  </a:lnTo>
                  <a:lnTo>
                    <a:pt x="17780" y="53340"/>
                  </a:lnTo>
                  <a:lnTo>
                    <a:pt x="170180" y="212090"/>
                  </a:lnTo>
                  <a:lnTo>
                    <a:pt x="187961" y="230505"/>
                  </a:lnTo>
                  <a:lnTo>
                    <a:pt x="224155" y="194945"/>
                  </a:lnTo>
                  <a:lnTo>
                    <a:pt x="207011" y="17653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48" name="Google Shape;1248;p16"/>
            <p:cNvSpPr/>
            <p:nvPr/>
          </p:nvSpPr>
          <p:spPr>
            <a:xfrm>
              <a:off x="1459230" y="0"/>
              <a:ext cx="196215" cy="163829"/>
            </a:xfrm>
            <a:custGeom>
              <a:avLst/>
              <a:gdLst/>
              <a:ahLst/>
              <a:cxnLst/>
              <a:rect l="l" t="t" r="r" b="b"/>
              <a:pathLst>
                <a:path w="196215" h="163829" extrusionOk="0">
                  <a:moveTo>
                    <a:pt x="159385" y="163830"/>
                  </a:moveTo>
                  <a:lnTo>
                    <a:pt x="196215" y="128270"/>
                  </a:lnTo>
                  <a:lnTo>
                    <a:pt x="178435" y="109855"/>
                  </a:lnTo>
                  <a:lnTo>
                    <a:pt x="71120" y="0"/>
                  </a:lnTo>
                  <a:lnTo>
                    <a:pt x="0" y="0"/>
                  </a:lnTo>
                  <a:lnTo>
                    <a:pt x="141605" y="1454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49" name="Google Shape;1249;p16"/>
            <p:cNvSpPr/>
            <p:nvPr/>
          </p:nvSpPr>
          <p:spPr>
            <a:xfrm>
              <a:off x="2066289" y="297179"/>
              <a:ext cx="224155" cy="228600"/>
            </a:xfrm>
            <a:custGeom>
              <a:avLst/>
              <a:gdLst/>
              <a:ahLst/>
              <a:cxnLst/>
              <a:rect l="l" t="t" r="r" b="b"/>
              <a:pathLst>
                <a:path w="224155" h="228600" extrusionOk="0">
                  <a:moveTo>
                    <a:pt x="17145" y="53975"/>
                  </a:moveTo>
                  <a:lnTo>
                    <a:pt x="169545" y="210185"/>
                  </a:lnTo>
                  <a:lnTo>
                    <a:pt x="187325" y="228600"/>
                  </a:lnTo>
                  <a:lnTo>
                    <a:pt x="224155" y="193040"/>
                  </a:lnTo>
                  <a:lnTo>
                    <a:pt x="206375" y="174625"/>
                  </a:lnTo>
                  <a:lnTo>
                    <a:pt x="53975" y="18415"/>
                  </a:lnTo>
                  <a:lnTo>
                    <a:pt x="36195" y="0"/>
                  </a:lnTo>
                  <a:lnTo>
                    <a:pt x="0" y="3556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50" name="Google Shape;1250;p16"/>
            <p:cNvSpPr/>
            <p:nvPr/>
          </p:nvSpPr>
          <p:spPr>
            <a:xfrm>
              <a:off x="2701289" y="659130"/>
              <a:ext cx="224155" cy="228600"/>
            </a:xfrm>
            <a:custGeom>
              <a:avLst/>
              <a:gdLst/>
              <a:ahLst/>
              <a:cxnLst/>
              <a:rect l="l" t="t" r="r" b="b"/>
              <a:pathLst>
                <a:path w="224155" h="228600" extrusionOk="0">
                  <a:moveTo>
                    <a:pt x="53975" y="18415"/>
                  </a:moveTo>
                  <a:lnTo>
                    <a:pt x="36195" y="0"/>
                  </a:lnTo>
                  <a:lnTo>
                    <a:pt x="0" y="35560"/>
                  </a:lnTo>
                  <a:lnTo>
                    <a:pt x="17145" y="53975"/>
                  </a:lnTo>
                  <a:lnTo>
                    <a:pt x="169545" y="210185"/>
                  </a:lnTo>
                  <a:lnTo>
                    <a:pt x="187325" y="228600"/>
                  </a:lnTo>
                  <a:lnTo>
                    <a:pt x="224155" y="193040"/>
                  </a:lnTo>
                  <a:lnTo>
                    <a:pt x="206375" y="17462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51" name="Google Shape;1251;p16"/>
            <p:cNvSpPr/>
            <p:nvPr/>
          </p:nvSpPr>
          <p:spPr>
            <a:xfrm>
              <a:off x="3336290" y="1021080"/>
              <a:ext cx="224154" cy="228600"/>
            </a:xfrm>
            <a:custGeom>
              <a:avLst/>
              <a:gdLst/>
              <a:ahLst/>
              <a:cxnLst/>
              <a:rect l="l" t="t" r="r" b="b"/>
              <a:pathLst>
                <a:path w="224154" h="228600" extrusionOk="0">
                  <a:moveTo>
                    <a:pt x="53975" y="18415"/>
                  </a:moveTo>
                  <a:lnTo>
                    <a:pt x="36195" y="0"/>
                  </a:lnTo>
                  <a:lnTo>
                    <a:pt x="0" y="35560"/>
                  </a:lnTo>
                  <a:lnTo>
                    <a:pt x="17145" y="53975"/>
                  </a:lnTo>
                  <a:lnTo>
                    <a:pt x="169545" y="210185"/>
                  </a:lnTo>
                  <a:lnTo>
                    <a:pt x="187325" y="228600"/>
                  </a:lnTo>
                  <a:lnTo>
                    <a:pt x="224155" y="193040"/>
                  </a:lnTo>
                  <a:lnTo>
                    <a:pt x="206375" y="17462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52" name="Google Shape;1252;p16"/>
            <p:cNvSpPr/>
            <p:nvPr/>
          </p:nvSpPr>
          <p:spPr>
            <a:xfrm>
              <a:off x="3971290" y="1383030"/>
              <a:ext cx="224154" cy="228600"/>
            </a:xfrm>
            <a:custGeom>
              <a:avLst/>
              <a:gdLst/>
              <a:ahLst/>
              <a:cxnLst/>
              <a:rect l="l" t="t" r="r" b="b"/>
              <a:pathLst>
                <a:path w="224154" h="228600" extrusionOk="0">
                  <a:moveTo>
                    <a:pt x="53975" y="18415"/>
                  </a:moveTo>
                  <a:lnTo>
                    <a:pt x="36195" y="0"/>
                  </a:lnTo>
                  <a:lnTo>
                    <a:pt x="0" y="35560"/>
                  </a:lnTo>
                  <a:lnTo>
                    <a:pt x="17145" y="53975"/>
                  </a:lnTo>
                  <a:lnTo>
                    <a:pt x="169545" y="210185"/>
                  </a:lnTo>
                  <a:lnTo>
                    <a:pt x="187325" y="228600"/>
                  </a:lnTo>
                  <a:lnTo>
                    <a:pt x="224155" y="193040"/>
                  </a:lnTo>
                  <a:lnTo>
                    <a:pt x="206375" y="17462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53" name="Google Shape;1253;p16"/>
            <p:cNvSpPr/>
            <p:nvPr/>
          </p:nvSpPr>
          <p:spPr>
            <a:xfrm>
              <a:off x="4606290" y="1744979"/>
              <a:ext cx="224154" cy="228600"/>
            </a:xfrm>
            <a:custGeom>
              <a:avLst/>
              <a:gdLst/>
              <a:ahLst/>
              <a:cxnLst/>
              <a:rect l="l" t="t" r="r" b="b"/>
              <a:pathLst>
                <a:path w="224154" h="228600" extrusionOk="0">
                  <a:moveTo>
                    <a:pt x="53975" y="18415"/>
                  </a:moveTo>
                  <a:lnTo>
                    <a:pt x="36195" y="0"/>
                  </a:lnTo>
                  <a:lnTo>
                    <a:pt x="0" y="35560"/>
                  </a:lnTo>
                  <a:lnTo>
                    <a:pt x="17145" y="53975"/>
                  </a:lnTo>
                  <a:lnTo>
                    <a:pt x="169545" y="210185"/>
                  </a:lnTo>
                  <a:lnTo>
                    <a:pt x="187325" y="228600"/>
                  </a:lnTo>
                  <a:lnTo>
                    <a:pt x="224155" y="193040"/>
                  </a:lnTo>
                  <a:lnTo>
                    <a:pt x="206375" y="17462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54" name="Google Shape;1254;p16"/>
            <p:cNvSpPr/>
            <p:nvPr/>
          </p:nvSpPr>
          <p:spPr>
            <a:xfrm>
              <a:off x="5241290" y="2106929"/>
              <a:ext cx="224154" cy="228600"/>
            </a:xfrm>
            <a:custGeom>
              <a:avLst/>
              <a:gdLst/>
              <a:ahLst/>
              <a:cxnLst/>
              <a:rect l="l" t="t" r="r" b="b"/>
              <a:pathLst>
                <a:path w="224154" h="228600" extrusionOk="0">
                  <a:moveTo>
                    <a:pt x="53975" y="18415"/>
                  </a:moveTo>
                  <a:lnTo>
                    <a:pt x="36195" y="0"/>
                  </a:lnTo>
                  <a:lnTo>
                    <a:pt x="0" y="35560"/>
                  </a:lnTo>
                  <a:lnTo>
                    <a:pt x="17145" y="53975"/>
                  </a:lnTo>
                  <a:lnTo>
                    <a:pt x="169545" y="210185"/>
                  </a:lnTo>
                  <a:lnTo>
                    <a:pt x="187325" y="228600"/>
                  </a:lnTo>
                  <a:lnTo>
                    <a:pt x="224155" y="193040"/>
                  </a:lnTo>
                  <a:lnTo>
                    <a:pt x="206375" y="17462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55" name="Google Shape;1255;p16"/>
            <p:cNvSpPr/>
            <p:nvPr/>
          </p:nvSpPr>
          <p:spPr>
            <a:xfrm>
              <a:off x="5876290" y="2468879"/>
              <a:ext cx="224154" cy="228600"/>
            </a:xfrm>
            <a:custGeom>
              <a:avLst/>
              <a:gdLst/>
              <a:ahLst/>
              <a:cxnLst/>
              <a:rect l="l" t="t" r="r" b="b"/>
              <a:pathLst>
                <a:path w="224154" h="228600" extrusionOk="0">
                  <a:moveTo>
                    <a:pt x="53975" y="18415"/>
                  </a:moveTo>
                  <a:lnTo>
                    <a:pt x="36195" y="0"/>
                  </a:lnTo>
                  <a:lnTo>
                    <a:pt x="0" y="35560"/>
                  </a:lnTo>
                  <a:lnTo>
                    <a:pt x="17145" y="53975"/>
                  </a:lnTo>
                  <a:lnTo>
                    <a:pt x="169545" y="210185"/>
                  </a:lnTo>
                  <a:lnTo>
                    <a:pt x="187325" y="228600"/>
                  </a:lnTo>
                  <a:lnTo>
                    <a:pt x="224155" y="193040"/>
                  </a:lnTo>
                  <a:lnTo>
                    <a:pt x="206375" y="17462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56" name="Google Shape;1256;p16"/>
            <p:cNvSpPr/>
            <p:nvPr/>
          </p:nvSpPr>
          <p:spPr>
            <a:xfrm>
              <a:off x="6511290" y="2830829"/>
              <a:ext cx="224154" cy="228600"/>
            </a:xfrm>
            <a:custGeom>
              <a:avLst/>
              <a:gdLst/>
              <a:ahLst/>
              <a:cxnLst/>
              <a:rect l="l" t="t" r="r" b="b"/>
              <a:pathLst>
                <a:path w="224154" h="228600" extrusionOk="0">
                  <a:moveTo>
                    <a:pt x="53975" y="18415"/>
                  </a:moveTo>
                  <a:lnTo>
                    <a:pt x="36195" y="0"/>
                  </a:lnTo>
                  <a:lnTo>
                    <a:pt x="0" y="35560"/>
                  </a:lnTo>
                  <a:lnTo>
                    <a:pt x="17145" y="53975"/>
                  </a:lnTo>
                  <a:lnTo>
                    <a:pt x="169545" y="210185"/>
                  </a:lnTo>
                  <a:lnTo>
                    <a:pt x="187325" y="228600"/>
                  </a:lnTo>
                  <a:lnTo>
                    <a:pt x="224155" y="193040"/>
                  </a:lnTo>
                  <a:lnTo>
                    <a:pt x="206375" y="17462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57" name="Google Shape;1257;p16"/>
            <p:cNvSpPr/>
            <p:nvPr/>
          </p:nvSpPr>
          <p:spPr>
            <a:xfrm>
              <a:off x="7146290" y="3192779"/>
              <a:ext cx="224154" cy="228600"/>
            </a:xfrm>
            <a:custGeom>
              <a:avLst/>
              <a:gdLst/>
              <a:ahLst/>
              <a:cxnLst/>
              <a:rect l="l" t="t" r="r" b="b"/>
              <a:pathLst>
                <a:path w="224154" h="228600" extrusionOk="0">
                  <a:moveTo>
                    <a:pt x="169545" y="210185"/>
                  </a:moveTo>
                  <a:lnTo>
                    <a:pt x="187325" y="228600"/>
                  </a:lnTo>
                  <a:lnTo>
                    <a:pt x="224155" y="193040"/>
                  </a:lnTo>
                  <a:lnTo>
                    <a:pt x="206375" y="174625"/>
                  </a:lnTo>
                  <a:lnTo>
                    <a:pt x="53975" y="18415"/>
                  </a:lnTo>
                  <a:lnTo>
                    <a:pt x="36195" y="0"/>
                  </a:lnTo>
                  <a:lnTo>
                    <a:pt x="0" y="35560"/>
                  </a:lnTo>
                  <a:lnTo>
                    <a:pt x="17145" y="5397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58" name="Google Shape;1258;p16"/>
            <p:cNvSpPr/>
            <p:nvPr/>
          </p:nvSpPr>
          <p:spPr>
            <a:xfrm>
              <a:off x="7781290" y="3554729"/>
              <a:ext cx="224154" cy="228600"/>
            </a:xfrm>
            <a:custGeom>
              <a:avLst/>
              <a:gdLst/>
              <a:ahLst/>
              <a:cxnLst/>
              <a:rect l="l" t="t" r="r" b="b"/>
              <a:pathLst>
                <a:path w="224154" h="228600" extrusionOk="0">
                  <a:moveTo>
                    <a:pt x="169545" y="210185"/>
                  </a:moveTo>
                  <a:lnTo>
                    <a:pt x="187325" y="228600"/>
                  </a:lnTo>
                  <a:lnTo>
                    <a:pt x="224155" y="193040"/>
                  </a:lnTo>
                  <a:lnTo>
                    <a:pt x="206375" y="174625"/>
                  </a:lnTo>
                  <a:lnTo>
                    <a:pt x="53975" y="18415"/>
                  </a:lnTo>
                  <a:lnTo>
                    <a:pt x="36195" y="0"/>
                  </a:lnTo>
                  <a:lnTo>
                    <a:pt x="0" y="35560"/>
                  </a:lnTo>
                  <a:lnTo>
                    <a:pt x="17145" y="5397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59" name="Google Shape;1259;p16"/>
            <p:cNvSpPr/>
            <p:nvPr/>
          </p:nvSpPr>
          <p:spPr>
            <a:xfrm>
              <a:off x="8416290" y="3916679"/>
              <a:ext cx="224154" cy="228600"/>
            </a:xfrm>
            <a:custGeom>
              <a:avLst/>
              <a:gdLst/>
              <a:ahLst/>
              <a:cxnLst/>
              <a:rect l="l" t="t" r="r" b="b"/>
              <a:pathLst>
                <a:path w="224154" h="228600" extrusionOk="0">
                  <a:moveTo>
                    <a:pt x="53975" y="18415"/>
                  </a:moveTo>
                  <a:lnTo>
                    <a:pt x="36195" y="0"/>
                  </a:lnTo>
                  <a:lnTo>
                    <a:pt x="0" y="35560"/>
                  </a:lnTo>
                  <a:lnTo>
                    <a:pt x="17145" y="53975"/>
                  </a:lnTo>
                  <a:lnTo>
                    <a:pt x="169545" y="210185"/>
                  </a:lnTo>
                  <a:lnTo>
                    <a:pt x="187325" y="228600"/>
                  </a:lnTo>
                  <a:lnTo>
                    <a:pt x="224155" y="193040"/>
                  </a:lnTo>
                  <a:lnTo>
                    <a:pt x="206375" y="17462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60" name="Google Shape;1260;p16"/>
            <p:cNvSpPr/>
            <p:nvPr/>
          </p:nvSpPr>
          <p:spPr>
            <a:xfrm>
              <a:off x="9051290" y="4278629"/>
              <a:ext cx="224154" cy="228600"/>
            </a:xfrm>
            <a:custGeom>
              <a:avLst/>
              <a:gdLst/>
              <a:ahLst/>
              <a:cxnLst/>
              <a:rect l="l" t="t" r="r" b="b"/>
              <a:pathLst>
                <a:path w="224154" h="228600" extrusionOk="0">
                  <a:moveTo>
                    <a:pt x="169545" y="210185"/>
                  </a:moveTo>
                  <a:lnTo>
                    <a:pt x="187325" y="228600"/>
                  </a:lnTo>
                  <a:lnTo>
                    <a:pt x="224155" y="193040"/>
                  </a:lnTo>
                  <a:lnTo>
                    <a:pt x="206375" y="174625"/>
                  </a:lnTo>
                  <a:lnTo>
                    <a:pt x="53975" y="18415"/>
                  </a:lnTo>
                  <a:lnTo>
                    <a:pt x="36195" y="0"/>
                  </a:lnTo>
                  <a:lnTo>
                    <a:pt x="0" y="35560"/>
                  </a:lnTo>
                  <a:lnTo>
                    <a:pt x="17145" y="5397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61" name="Google Shape;1261;p16"/>
            <p:cNvSpPr/>
            <p:nvPr/>
          </p:nvSpPr>
          <p:spPr>
            <a:xfrm>
              <a:off x="9686290" y="4640579"/>
              <a:ext cx="224154" cy="228600"/>
            </a:xfrm>
            <a:custGeom>
              <a:avLst/>
              <a:gdLst/>
              <a:ahLst/>
              <a:cxnLst/>
              <a:rect l="l" t="t" r="r" b="b"/>
              <a:pathLst>
                <a:path w="224154" h="228600" extrusionOk="0">
                  <a:moveTo>
                    <a:pt x="187325" y="228600"/>
                  </a:moveTo>
                  <a:lnTo>
                    <a:pt x="224155" y="193040"/>
                  </a:lnTo>
                  <a:lnTo>
                    <a:pt x="206375" y="174625"/>
                  </a:lnTo>
                  <a:lnTo>
                    <a:pt x="53975" y="18415"/>
                  </a:lnTo>
                  <a:lnTo>
                    <a:pt x="36195" y="0"/>
                  </a:lnTo>
                  <a:lnTo>
                    <a:pt x="0" y="35560"/>
                  </a:lnTo>
                  <a:lnTo>
                    <a:pt x="17145" y="53975"/>
                  </a:lnTo>
                  <a:lnTo>
                    <a:pt x="169545" y="21018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62" name="Google Shape;1262;p16"/>
            <p:cNvSpPr/>
            <p:nvPr/>
          </p:nvSpPr>
          <p:spPr>
            <a:xfrm>
              <a:off x="10321290" y="5002529"/>
              <a:ext cx="224154" cy="228600"/>
            </a:xfrm>
            <a:custGeom>
              <a:avLst/>
              <a:gdLst/>
              <a:ahLst/>
              <a:cxnLst/>
              <a:rect l="l" t="t" r="r" b="b"/>
              <a:pathLst>
                <a:path w="224154" h="228600" extrusionOk="0">
                  <a:moveTo>
                    <a:pt x="187325" y="228600"/>
                  </a:moveTo>
                  <a:lnTo>
                    <a:pt x="224155" y="193040"/>
                  </a:lnTo>
                  <a:lnTo>
                    <a:pt x="206375" y="174625"/>
                  </a:lnTo>
                  <a:lnTo>
                    <a:pt x="53975" y="18415"/>
                  </a:lnTo>
                  <a:lnTo>
                    <a:pt x="36195" y="0"/>
                  </a:lnTo>
                  <a:lnTo>
                    <a:pt x="0" y="35560"/>
                  </a:lnTo>
                  <a:lnTo>
                    <a:pt x="17780" y="53975"/>
                  </a:lnTo>
                  <a:lnTo>
                    <a:pt x="170180" y="21018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63" name="Google Shape;1263;p16"/>
            <p:cNvSpPr/>
            <p:nvPr/>
          </p:nvSpPr>
          <p:spPr>
            <a:xfrm>
              <a:off x="10956290" y="5364479"/>
              <a:ext cx="224154" cy="228600"/>
            </a:xfrm>
            <a:custGeom>
              <a:avLst/>
              <a:gdLst/>
              <a:ahLst/>
              <a:cxnLst/>
              <a:rect l="l" t="t" r="r" b="b"/>
              <a:pathLst>
                <a:path w="224154" h="228600" extrusionOk="0">
                  <a:moveTo>
                    <a:pt x="170180" y="210185"/>
                  </a:moveTo>
                  <a:lnTo>
                    <a:pt x="187325" y="228600"/>
                  </a:lnTo>
                  <a:lnTo>
                    <a:pt x="224155" y="193040"/>
                  </a:lnTo>
                  <a:lnTo>
                    <a:pt x="206375" y="174625"/>
                  </a:lnTo>
                  <a:lnTo>
                    <a:pt x="53975" y="18415"/>
                  </a:lnTo>
                  <a:lnTo>
                    <a:pt x="36195" y="0"/>
                  </a:lnTo>
                  <a:lnTo>
                    <a:pt x="0" y="35560"/>
                  </a:lnTo>
                  <a:lnTo>
                    <a:pt x="17780" y="5397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64" name="Google Shape;1264;p16"/>
            <p:cNvSpPr/>
            <p:nvPr/>
          </p:nvSpPr>
          <p:spPr>
            <a:xfrm>
              <a:off x="11591290" y="5726429"/>
              <a:ext cx="224154" cy="228600"/>
            </a:xfrm>
            <a:custGeom>
              <a:avLst/>
              <a:gdLst/>
              <a:ahLst/>
              <a:cxnLst/>
              <a:rect l="l" t="t" r="r" b="b"/>
              <a:pathLst>
                <a:path w="224154" h="228600" extrusionOk="0">
                  <a:moveTo>
                    <a:pt x="170180" y="210185"/>
                  </a:moveTo>
                  <a:lnTo>
                    <a:pt x="187325" y="228600"/>
                  </a:lnTo>
                  <a:lnTo>
                    <a:pt x="224155" y="193040"/>
                  </a:lnTo>
                  <a:lnTo>
                    <a:pt x="206375" y="174625"/>
                  </a:lnTo>
                  <a:lnTo>
                    <a:pt x="53975" y="18415"/>
                  </a:lnTo>
                  <a:lnTo>
                    <a:pt x="36195" y="0"/>
                  </a:lnTo>
                  <a:lnTo>
                    <a:pt x="0" y="35560"/>
                  </a:lnTo>
                  <a:lnTo>
                    <a:pt x="17780" y="5397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65" name="Google Shape;1265;p16"/>
            <p:cNvSpPr/>
            <p:nvPr/>
          </p:nvSpPr>
          <p:spPr>
            <a:xfrm>
              <a:off x="1870710" y="0"/>
              <a:ext cx="199389" cy="159385"/>
            </a:xfrm>
            <a:custGeom>
              <a:avLst/>
              <a:gdLst/>
              <a:ahLst/>
              <a:cxnLst/>
              <a:rect l="l" t="t" r="r" b="b"/>
              <a:pathLst>
                <a:path w="199389" h="159385" extrusionOk="0">
                  <a:moveTo>
                    <a:pt x="164465" y="159385"/>
                  </a:moveTo>
                  <a:lnTo>
                    <a:pt x="199390" y="123190"/>
                  </a:lnTo>
                  <a:lnTo>
                    <a:pt x="181610" y="105410"/>
                  </a:lnTo>
                  <a:lnTo>
                    <a:pt x="73025" y="0"/>
                  </a:lnTo>
                  <a:lnTo>
                    <a:pt x="0" y="0"/>
                  </a:lnTo>
                  <a:lnTo>
                    <a:pt x="146050" y="14160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66" name="Google Shape;1266;p16"/>
            <p:cNvSpPr/>
            <p:nvPr/>
          </p:nvSpPr>
          <p:spPr>
            <a:xfrm>
              <a:off x="2480945" y="301625"/>
              <a:ext cx="224154" cy="219709"/>
            </a:xfrm>
            <a:custGeom>
              <a:avLst/>
              <a:gdLst/>
              <a:ahLst/>
              <a:cxnLst/>
              <a:rect l="l" t="t" r="r" b="b"/>
              <a:pathLst>
                <a:path w="224154" h="219709" extrusionOk="0">
                  <a:moveTo>
                    <a:pt x="18415" y="53975"/>
                  </a:moveTo>
                  <a:lnTo>
                    <a:pt x="170815" y="201930"/>
                  </a:lnTo>
                  <a:lnTo>
                    <a:pt x="189230" y="219710"/>
                  </a:lnTo>
                  <a:lnTo>
                    <a:pt x="224155" y="183515"/>
                  </a:lnTo>
                  <a:lnTo>
                    <a:pt x="206375" y="165735"/>
                  </a:lnTo>
                  <a:lnTo>
                    <a:pt x="53975" y="17780"/>
                  </a:lnTo>
                  <a:lnTo>
                    <a:pt x="35560" y="0"/>
                  </a:lnTo>
                  <a:lnTo>
                    <a:pt x="0" y="3619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67" name="Google Shape;1267;p16"/>
            <p:cNvSpPr/>
            <p:nvPr/>
          </p:nvSpPr>
          <p:spPr>
            <a:xfrm>
              <a:off x="3115945" y="663575"/>
              <a:ext cx="224154" cy="219710"/>
            </a:xfrm>
            <a:custGeom>
              <a:avLst/>
              <a:gdLst/>
              <a:ahLst/>
              <a:cxnLst/>
              <a:rect l="l" t="t" r="r" b="b"/>
              <a:pathLst>
                <a:path w="224154" h="219710" extrusionOk="0">
                  <a:moveTo>
                    <a:pt x="18415" y="53975"/>
                  </a:moveTo>
                  <a:lnTo>
                    <a:pt x="170815" y="201930"/>
                  </a:lnTo>
                  <a:lnTo>
                    <a:pt x="189230" y="219710"/>
                  </a:lnTo>
                  <a:lnTo>
                    <a:pt x="224155" y="183515"/>
                  </a:lnTo>
                  <a:lnTo>
                    <a:pt x="206375" y="165735"/>
                  </a:lnTo>
                  <a:lnTo>
                    <a:pt x="53975" y="17780"/>
                  </a:lnTo>
                  <a:lnTo>
                    <a:pt x="35560" y="0"/>
                  </a:lnTo>
                  <a:lnTo>
                    <a:pt x="0" y="3619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68" name="Google Shape;1268;p16"/>
            <p:cNvSpPr/>
            <p:nvPr/>
          </p:nvSpPr>
          <p:spPr>
            <a:xfrm>
              <a:off x="3750945" y="1025525"/>
              <a:ext cx="224154" cy="219710"/>
            </a:xfrm>
            <a:custGeom>
              <a:avLst/>
              <a:gdLst/>
              <a:ahLst/>
              <a:cxnLst/>
              <a:rect l="l" t="t" r="r" b="b"/>
              <a:pathLst>
                <a:path w="224154" h="219710" extrusionOk="0">
                  <a:moveTo>
                    <a:pt x="53975" y="17780"/>
                  </a:moveTo>
                  <a:lnTo>
                    <a:pt x="35560" y="0"/>
                  </a:lnTo>
                  <a:lnTo>
                    <a:pt x="0" y="36195"/>
                  </a:lnTo>
                  <a:lnTo>
                    <a:pt x="18415" y="53975"/>
                  </a:lnTo>
                  <a:lnTo>
                    <a:pt x="170815" y="201930"/>
                  </a:lnTo>
                  <a:lnTo>
                    <a:pt x="189230" y="219710"/>
                  </a:lnTo>
                  <a:lnTo>
                    <a:pt x="224155" y="183515"/>
                  </a:lnTo>
                  <a:lnTo>
                    <a:pt x="206375" y="16573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69" name="Google Shape;1269;p16"/>
            <p:cNvSpPr/>
            <p:nvPr/>
          </p:nvSpPr>
          <p:spPr>
            <a:xfrm>
              <a:off x="4385945" y="1387475"/>
              <a:ext cx="224154" cy="219710"/>
            </a:xfrm>
            <a:custGeom>
              <a:avLst/>
              <a:gdLst/>
              <a:ahLst/>
              <a:cxnLst/>
              <a:rect l="l" t="t" r="r" b="b"/>
              <a:pathLst>
                <a:path w="224154" h="219710" extrusionOk="0">
                  <a:moveTo>
                    <a:pt x="53975" y="17780"/>
                  </a:moveTo>
                  <a:lnTo>
                    <a:pt x="35560" y="0"/>
                  </a:lnTo>
                  <a:lnTo>
                    <a:pt x="0" y="36195"/>
                  </a:lnTo>
                  <a:lnTo>
                    <a:pt x="18415" y="53975"/>
                  </a:lnTo>
                  <a:lnTo>
                    <a:pt x="170815" y="201930"/>
                  </a:lnTo>
                  <a:lnTo>
                    <a:pt x="189230" y="219710"/>
                  </a:lnTo>
                  <a:lnTo>
                    <a:pt x="224155" y="183515"/>
                  </a:lnTo>
                  <a:lnTo>
                    <a:pt x="206375" y="16573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70" name="Google Shape;1270;p16"/>
            <p:cNvSpPr/>
            <p:nvPr/>
          </p:nvSpPr>
          <p:spPr>
            <a:xfrm>
              <a:off x="5020945" y="1749425"/>
              <a:ext cx="224154" cy="219710"/>
            </a:xfrm>
            <a:custGeom>
              <a:avLst/>
              <a:gdLst/>
              <a:ahLst/>
              <a:cxnLst/>
              <a:rect l="l" t="t" r="r" b="b"/>
              <a:pathLst>
                <a:path w="224154" h="219710" extrusionOk="0">
                  <a:moveTo>
                    <a:pt x="53975" y="17780"/>
                  </a:moveTo>
                  <a:lnTo>
                    <a:pt x="35560" y="0"/>
                  </a:lnTo>
                  <a:lnTo>
                    <a:pt x="0" y="36195"/>
                  </a:lnTo>
                  <a:lnTo>
                    <a:pt x="18415" y="53975"/>
                  </a:lnTo>
                  <a:lnTo>
                    <a:pt x="170815" y="201930"/>
                  </a:lnTo>
                  <a:lnTo>
                    <a:pt x="189230" y="219710"/>
                  </a:lnTo>
                  <a:lnTo>
                    <a:pt x="224155" y="183515"/>
                  </a:lnTo>
                  <a:lnTo>
                    <a:pt x="206375" y="16573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71" name="Google Shape;1271;p16"/>
            <p:cNvSpPr/>
            <p:nvPr/>
          </p:nvSpPr>
          <p:spPr>
            <a:xfrm>
              <a:off x="5655945" y="2111375"/>
              <a:ext cx="224154" cy="219710"/>
            </a:xfrm>
            <a:custGeom>
              <a:avLst/>
              <a:gdLst/>
              <a:ahLst/>
              <a:cxnLst/>
              <a:rect l="l" t="t" r="r" b="b"/>
              <a:pathLst>
                <a:path w="224154" h="219710" extrusionOk="0">
                  <a:moveTo>
                    <a:pt x="53975" y="17780"/>
                  </a:moveTo>
                  <a:lnTo>
                    <a:pt x="35560" y="0"/>
                  </a:lnTo>
                  <a:lnTo>
                    <a:pt x="0" y="36195"/>
                  </a:lnTo>
                  <a:lnTo>
                    <a:pt x="18415" y="53975"/>
                  </a:lnTo>
                  <a:lnTo>
                    <a:pt x="170815" y="201930"/>
                  </a:lnTo>
                  <a:lnTo>
                    <a:pt x="189230" y="219710"/>
                  </a:lnTo>
                  <a:lnTo>
                    <a:pt x="224155" y="183515"/>
                  </a:lnTo>
                  <a:lnTo>
                    <a:pt x="206375" y="16573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72" name="Google Shape;1272;p16"/>
            <p:cNvSpPr/>
            <p:nvPr/>
          </p:nvSpPr>
          <p:spPr>
            <a:xfrm>
              <a:off x="6290945" y="2473325"/>
              <a:ext cx="224154" cy="219710"/>
            </a:xfrm>
            <a:custGeom>
              <a:avLst/>
              <a:gdLst/>
              <a:ahLst/>
              <a:cxnLst/>
              <a:rect l="l" t="t" r="r" b="b"/>
              <a:pathLst>
                <a:path w="224154" h="219710" extrusionOk="0">
                  <a:moveTo>
                    <a:pt x="53975" y="17780"/>
                  </a:moveTo>
                  <a:lnTo>
                    <a:pt x="35560" y="0"/>
                  </a:lnTo>
                  <a:lnTo>
                    <a:pt x="0" y="36195"/>
                  </a:lnTo>
                  <a:lnTo>
                    <a:pt x="18415" y="53975"/>
                  </a:lnTo>
                  <a:lnTo>
                    <a:pt x="170815" y="201930"/>
                  </a:lnTo>
                  <a:lnTo>
                    <a:pt x="189230" y="219710"/>
                  </a:lnTo>
                  <a:lnTo>
                    <a:pt x="224155" y="183515"/>
                  </a:lnTo>
                  <a:lnTo>
                    <a:pt x="206375" y="16573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73" name="Google Shape;1273;p16"/>
            <p:cNvSpPr/>
            <p:nvPr/>
          </p:nvSpPr>
          <p:spPr>
            <a:xfrm>
              <a:off x="6925944" y="2835275"/>
              <a:ext cx="224155" cy="219710"/>
            </a:xfrm>
            <a:custGeom>
              <a:avLst/>
              <a:gdLst/>
              <a:ahLst/>
              <a:cxnLst/>
              <a:rect l="l" t="t" r="r" b="b"/>
              <a:pathLst>
                <a:path w="224155" h="219710" extrusionOk="0">
                  <a:moveTo>
                    <a:pt x="18415" y="53975"/>
                  </a:moveTo>
                  <a:lnTo>
                    <a:pt x="170815" y="201930"/>
                  </a:lnTo>
                  <a:lnTo>
                    <a:pt x="189230" y="219710"/>
                  </a:lnTo>
                  <a:lnTo>
                    <a:pt x="224155" y="183515"/>
                  </a:lnTo>
                  <a:lnTo>
                    <a:pt x="206375" y="165735"/>
                  </a:lnTo>
                  <a:lnTo>
                    <a:pt x="53975" y="17780"/>
                  </a:lnTo>
                  <a:lnTo>
                    <a:pt x="35561" y="0"/>
                  </a:lnTo>
                  <a:lnTo>
                    <a:pt x="0" y="3619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74" name="Google Shape;1274;p16"/>
            <p:cNvSpPr/>
            <p:nvPr/>
          </p:nvSpPr>
          <p:spPr>
            <a:xfrm>
              <a:off x="7560944" y="3197225"/>
              <a:ext cx="224155" cy="219709"/>
            </a:xfrm>
            <a:custGeom>
              <a:avLst/>
              <a:gdLst/>
              <a:ahLst/>
              <a:cxnLst/>
              <a:rect l="l" t="t" r="r" b="b"/>
              <a:pathLst>
                <a:path w="224155" h="219709" extrusionOk="0">
                  <a:moveTo>
                    <a:pt x="18415" y="53975"/>
                  </a:moveTo>
                  <a:lnTo>
                    <a:pt x="170815" y="201930"/>
                  </a:lnTo>
                  <a:lnTo>
                    <a:pt x="189230" y="219710"/>
                  </a:lnTo>
                  <a:lnTo>
                    <a:pt x="224155" y="183515"/>
                  </a:lnTo>
                  <a:lnTo>
                    <a:pt x="206375" y="165735"/>
                  </a:lnTo>
                  <a:lnTo>
                    <a:pt x="53975" y="17780"/>
                  </a:lnTo>
                  <a:lnTo>
                    <a:pt x="35561" y="0"/>
                  </a:lnTo>
                  <a:lnTo>
                    <a:pt x="0" y="3619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75" name="Google Shape;1275;p16"/>
            <p:cNvSpPr/>
            <p:nvPr/>
          </p:nvSpPr>
          <p:spPr>
            <a:xfrm>
              <a:off x="8195944" y="3559175"/>
              <a:ext cx="224155" cy="219709"/>
            </a:xfrm>
            <a:custGeom>
              <a:avLst/>
              <a:gdLst/>
              <a:ahLst/>
              <a:cxnLst/>
              <a:rect l="l" t="t" r="r" b="b"/>
              <a:pathLst>
                <a:path w="224155" h="219709" extrusionOk="0">
                  <a:moveTo>
                    <a:pt x="18415" y="53975"/>
                  </a:moveTo>
                  <a:lnTo>
                    <a:pt x="170815" y="201930"/>
                  </a:lnTo>
                  <a:lnTo>
                    <a:pt x="189230" y="219710"/>
                  </a:lnTo>
                  <a:lnTo>
                    <a:pt x="224155" y="183515"/>
                  </a:lnTo>
                  <a:lnTo>
                    <a:pt x="206375" y="165735"/>
                  </a:lnTo>
                  <a:lnTo>
                    <a:pt x="53975" y="17780"/>
                  </a:lnTo>
                  <a:lnTo>
                    <a:pt x="35561" y="0"/>
                  </a:lnTo>
                  <a:lnTo>
                    <a:pt x="0" y="3619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76" name="Google Shape;1276;p16"/>
            <p:cNvSpPr/>
            <p:nvPr/>
          </p:nvSpPr>
          <p:spPr>
            <a:xfrm>
              <a:off x="8830944" y="3921125"/>
              <a:ext cx="224155" cy="219709"/>
            </a:xfrm>
            <a:custGeom>
              <a:avLst/>
              <a:gdLst/>
              <a:ahLst/>
              <a:cxnLst/>
              <a:rect l="l" t="t" r="r" b="b"/>
              <a:pathLst>
                <a:path w="224155" h="219709" extrusionOk="0">
                  <a:moveTo>
                    <a:pt x="189230" y="219710"/>
                  </a:moveTo>
                  <a:lnTo>
                    <a:pt x="224155" y="183515"/>
                  </a:lnTo>
                  <a:lnTo>
                    <a:pt x="206375" y="165735"/>
                  </a:lnTo>
                  <a:lnTo>
                    <a:pt x="53975" y="17780"/>
                  </a:lnTo>
                  <a:lnTo>
                    <a:pt x="35561" y="0"/>
                  </a:lnTo>
                  <a:lnTo>
                    <a:pt x="0" y="36195"/>
                  </a:lnTo>
                  <a:lnTo>
                    <a:pt x="18415" y="53975"/>
                  </a:lnTo>
                  <a:lnTo>
                    <a:pt x="170815" y="20193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77" name="Google Shape;1277;p16"/>
            <p:cNvSpPr/>
            <p:nvPr/>
          </p:nvSpPr>
          <p:spPr>
            <a:xfrm>
              <a:off x="9465944" y="4283075"/>
              <a:ext cx="224155" cy="219709"/>
            </a:xfrm>
            <a:custGeom>
              <a:avLst/>
              <a:gdLst/>
              <a:ahLst/>
              <a:cxnLst/>
              <a:rect l="l" t="t" r="r" b="b"/>
              <a:pathLst>
                <a:path w="224155" h="219709" extrusionOk="0">
                  <a:moveTo>
                    <a:pt x="189230" y="219710"/>
                  </a:moveTo>
                  <a:lnTo>
                    <a:pt x="224155" y="183515"/>
                  </a:lnTo>
                  <a:lnTo>
                    <a:pt x="206375" y="165735"/>
                  </a:lnTo>
                  <a:lnTo>
                    <a:pt x="53975" y="17780"/>
                  </a:lnTo>
                  <a:lnTo>
                    <a:pt x="35561" y="0"/>
                  </a:lnTo>
                  <a:lnTo>
                    <a:pt x="0" y="36195"/>
                  </a:lnTo>
                  <a:lnTo>
                    <a:pt x="18415" y="53975"/>
                  </a:lnTo>
                  <a:lnTo>
                    <a:pt x="170815" y="20193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78" name="Google Shape;1278;p16"/>
            <p:cNvSpPr/>
            <p:nvPr/>
          </p:nvSpPr>
          <p:spPr>
            <a:xfrm>
              <a:off x="10100944" y="4645025"/>
              <a:ext cx="224155" cy="219709"/>
            </a:xfrm>
            <a:custGeom>
              <a:avLst/>
              <a:gdLst/>
              <a:ahLst/>
              <a:cxnLst/>
              <a:rect l="l" t="t" r="r" b="b"/>
              <a:pathLst>
                <a:path w="224155" h="219709" extrusionOk="0">
                  <a:moveTo>
                    <a:pt x="189230" y="219710"/>
                  </a:moveTo>
                  <a:lnTo>
                    <a:pt x="224155" y="183515"/>
                  </a:lnTo>
                  <a:lnTo>
                    <a:pt x="206375" y="165735"/>
                  </a:lnTo>
                  <a:lnTo>
                    <a:pt x="53975" y="17780"/>
                  </a:lnTo>
                  <a:lnTo>
                    <a:pt x="35561" y="0"/>
                  </a:lnTo>
                  <a:lnTo>
                    <a:pt x="0" y="36195"/>
                  </a:lnTo>
                  <a:lnTo>
                    <a:pt x="18415" y="53975"/>
                  </a:lnTo>
                  <a:lnTo>
                    <a:pt x="170815" y="20193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79" name="Google Shape;1279;p16"/>
            <p:cNvSpPr/>
            <p:nvPr/>
          </p:nvSpPr>
          <p:spPr>
            <a:xfrm>
              <a:off x="10735944" y="5006975"/>
              <a:ext cx="224155" cy="219709"/>
            </a:xfrm>
            <a:custGeom>
              <a:avLst/>
              <a:gdLst/>
              <a:ahLst/>
              <a:cxnLst/>
              <a:rect l="l" t="t" r="r" b="b"/>
              <a:pathLst>
                <a:path w="224155" h="219709" extrusionOk="0">
                  <a:moveTo>
                    <a:pt x="189230" y="219710"/>
                  </a:moveTo>
                  <a:lnTo>
                    <a:pt x="224155" y="183515"/>
                  </a:lnTo>
                  <a:lnTo>
                    <a:pt x="206375" y="165735"/>
                  </a:lnTo>
                  <a:lnTo>
                    <a:pt x="53975" y="17780"/>
                  </a:lnTo>
                  <a:lnTo>
                    <a:pt x="35561" y="0"/>
                  </a:lnTo>
                  <a:lnTo>
                    <a:pt x="0" y="36195"/>
                  </a:lnTo>
                  <a:lnTo>
                    <a:pt x="18415" y="53975"/>
                  </a:lnTo>
                  <a:lnTo>
                    <a:pt x="170815" y="20193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80" name="Google Shape;1280;p16"/>
            <p:cNvSpPr/>
            <p:nvPr/>
          </p:nvSpPr>
          <p:spPr>
            <a:xfrm>
              <a:off x="11370944" y="5368925"/>
              <a:ext cx="224155" cy="219709"/>
            </a:xfrm>
            <a:custGeom>
              <a:avLst/>
              <a:gdLst/>
              <a:ahLst/>
              <a:cxnLst/>
              <a:rect l="l" t="t" r="r" b="b"/>
              <a:pathLst>
                <a:path w="224155" h="219709" extrusionOk="0">
                  <a:moveTo>
                    <a:pt x="189230" y="219710"/>
                  </a:moveTo>
                  <a:lnTo>
                    <a:pt x="224155" y="183515"/>
                  </a:lnTo>
                  <a:lnTo>
                    <a:pt x="206375" y="165735"/>
                  </a:lnTo>
                  <a:lnTo>
                    <a:pt x="53975" y="17780"/>
                  </a:lnTo>
                  <a:lnTo>
                    <a:pt x="35561" y="0"/>
                  </a:lnTo>
                  <a:lnTo>
                    <a:pt x="0" y="36195"/>
                  </a:lnTo>
                  <a:lnTo>
                    <a:pt x="18415" y="53975"/>
                  </a:lnTo>
                  <a:lnTo>
                    <a:pt x="170815" y="20193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81" name="Google Shape;1281;p16"/>
            <p:cNvSpPr/>
            <p:nvPr/>
          </p:nvSpPr>
          <p:spPr>
            <a:xfrm>
              <a:off x="12005944" y="5730875"/>
              <a:ext cx="186055" cy="217170"/>
            </a:xfrm>
            <a:custGeom>
              <a:avLst/>
              <a:gdLst/>
              <a:ahLst/>
              <a:cxnLst/>
              <a:rect l="l" t="t" r="r" b="b"/>
              <a:pathLst>
                <a:path w="186055" h="217170" extrusionOk="0">
                  <a:moveTo>
                    <a:pt x="35561" y="0"/>
                  </a:moveTo>
                  <a:lnTo>
                    <a:pt x="0" y="36195"/>
                  </a:lnTo>
                  <a:lnTo>
                    <a:pt x="18415" y="53975"/>
                  </a:lnTo>
                  <a:lnTo>
                    <a:pt x="170815" y="201930"/>
                  </a:lnTo>
                  <a:lnTo>
                    <a:pt x="186055" y="217170"/>
                  </a:lnTo>
                  <a:lnTo>
                    <a:pt x="186055" y="146050"/>
                  </a:lnTo>
                  <a:lnTo>
                    <a:pt x="53975" y="177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82" name="Google Shape;1282;p16"/>
            <p:cNvSpPr/>
            <p:nvPr/>
          </p:nvSpPr>
          <p:spPr>
            <a:xfrm>
              <a:off x="2294254" y="0"/>
              <a:ext cx="207010" cy="152400"/>
            </a:xfrm>
            <a:custGeom>
              <a:avLst/>
              <a:gdLst/>
              <a:ahLst/>
              <a:cxnLst/>
              <a:rect l="l" t="t" r="r" b="b"/>
              <a:pathLst>
                <a:path w="207010" h="152400" extrusionOk="0">
                  <a:moveTo>
                    <a:pt x="154940" y="135255"/>
                  </a:moveTo>
                  <a:lnTo>
                    <a:pt x="173990" y="152400"/>
                  </a:lnTo>
                  <a:lnTo>
                    <a:pt x="207010" y="114300"/>
                  </a:lnTo>
                  <a:lnTo>
                    <a:pt x="187960" y="97155"/>
                  </a:lnTo>
                  <a:lnTo>
                    <a:pt x="77470" y="0"/>
                  </a:lnTo>
                  <a:lnTo>
                    <a:pt x="0" y="0"/>
                  </a:lnTo>
                  <a:lnTo>
                    <a:pt x="2540" y="190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83" name="Google Shape;1283;p16"/>
            <p:cNvSpPr/>
            <p:nvPr/>
          </p:nvSpPr>
          <p:spPr>
            <a:xfrm>
              <a:off x="2912745" y="308609"/>
              <a:ext cx="223519" cy="205740"/>
            </a:xfrm>
            <a:custGeom>
              <a:avLst/>
              <a:gdLst/>
              <a:ahLst/>
              <a:cxnLst/>
              <a:rect l="l" t="t" r="r" b="b"/>
              <a:pathLst>
                <a:path w="223519" h="205740" extrusionOk="0">
                  <a:moveTo>
                    <a:pt x="0" y="38100"/>
                  </a:moveTo>
                  <a:lnTo>
                    <a:pt x="19050" y="55245"/>
                  </a:lnTo>
                  <a:lnTo>
                    <a:pt x="171450" y="188595"/>
                  </a:lnTo>
                  <a:lnTo>
                    <a:pt x="190500" y="205740"/>
                  </a:lnTo>
                  <a:lnTo>
                    <a:pt x="223520" y="167640"/>
                  </a:lnTo>
                  <a:lnTo>
                    <a:pt x="204470" y="150495"/>
                  </a:lnTo>
                  <a:lnTo>
                    <a:pt x="52070" y="17145"/>
                  </a:lnTo>
                  <a:lnTo>
                    <a:pt x="3302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84" name="Google Shape;1284;p16"/>
            <p:cNvSpPr/>
            <p:nvPr/>
          </p:nvSpPr>
          <p:spPr>
            <a:xfrm>
              <a:off x="3547745" y="670559"/>
              <a:ext cx="223520" cy="205740"/>
            </a:xfrm>
            <a:custGeom>
              <a:avLst/>
              <a:gdLst/>
              <a:ahLst/>
              <a:cxnLst/>
              <a:rect l="l" t="t" r="r" b="b"/>
              <a:pathLst>
                <a:path w="223520" h="205740" extrusionOk="0">
                  <a:moveTo>
                    <a:pt x="0" y="38100"/>
                  </a:moveTo>
                  <a:lnTo>
                    <a:pt x="19050" y="55245"/>
                  </a:lnTo>
                  <a:lnTo>
                    <a:pt x="171450" y="188595"/>
                  </a:lnTo>
                  <a:lnTo>
                    <a:pt x="190500" y="205740"/>
                  </a:lnTo>
                  <a:lnTo>
                    <a:pt x="223520" y="167640"/>
                  </a:lnTo>
                  <a:lnTo>
                    <a:pt x="204470" y="150495"/>
                  </a:lnTo>
                  <a:lnTo>
                    <a:pt x="52070" y="17145"/>
                  </a:lnTo>
                  <a:lnTo>
                    <a:pt x="3302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85" name="Google Shape;1285;p16"/>
            <p:cNvSpPr/>
            <p:nvPr/>
          </p:nvSpPr>
          <p:spPr>
            <a:xfrm>
              <a:off x="4182745" y="1032510"/>
              <a:ext cx="223520" cy="205739"/>
            </a:xfrm>
            <a:custGeom>
              <a:avLst/>
              <a:gdLst/>
              <a:ahLst/>
              <a:cxnLst/>
              <a:rect l="l" t="t" r="r" b="b"/>
              <a:pathLst>
                <a:path w="223520" h="205739" extrusionOk="0">
                  <a:moveTo>
                    <a:pt x="0" y="38100"/>
                  </a:moveTo>
                  <a:lnTo>
                    <a:pt x="19050" y="55245"/>
                  </a:lnTo>
                  <a:lnTo>
                    <a:pt x="171450" y="188595"/>
                  </a:lnTo>
                  <a:lnTo>
                    <a:pt x="190500" y="205740"/>
                  </a:lnTo>
                  <a:lnTo>
                    <a:pt x="223520" y="167640"/>
                  </a:lnTo>
                  <a:lnTo>
                    <a:pt x="204470" y="150495"/>
                  </a:lnTo>
                  <a:lnTo>
                    <a:pt x="52070" y="17145"/>
                  </a:lnTo>
                  <a:lnTo>
                    <a:pt x="3302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86" name="Google Shape;1286;p16"/>
            <p:cNvSpPr/>
            <p:nvPr/>
          </p:nvSpPr>
          <p:spPr>
            <a:xfrm>
              <a:off x="4817745" y="1394460"/>
              <a:ext cx="223520" cy="205739"/>
            </a:xfrm>
            <a:custGeom>
              <a:avLst/>
              <a:gdLst/>
              <a:ahLst/>
              <a:cxnLst/>
              <a:rect l="l" t="t" r="r" b="b"/>
              <a:pathLst>
                <a:path w="223520" h="205739" extrusionOk="0">
                  <a:moveTo>
                    <a:pt x="0" y="38100"/>
                  </a:moveTo>
                  <a:lnTo>
                    <a:pt x="19050" y="55245"/>
                  </a:lnTo>
                  <a:lnTo>
                    <a:pt x="171450" y="188595"/>
                  </a:lnTo>
                  <a:lnTo>
                    <a:pt x="190500" y="205740"/>
                  </a:lnTo>
                  <a:lnTo>
                    <a:pt x="223520" y="167640"/>
                  </a:lnTo>
                  <a:lnTo>
                    <a:pt x="204470" y="150495"/>
                  </a:lnTo>
                  <a:lnTo>
                    <a:pt x="52070" y="17145"/>
                  </a:lnTo>
                  <a:lnTo>
                    <a:pt x="3302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87" name="Google Shape;1287;p16"/>
            <p:cNvSpPr/>
            <p:nvPr/>
          </p:nvSpPr>
          <p:spPr>
            <a:xfrm>
              <a:off x="5452745" y="1756410"/>
              <a:ext cx="223520" cy="205739"/>
            </a:xfrm>
            <a:custGeom>
              <a:avLst/>
              <a:gdLst/>
              <a:ahLst/>
              <a:cxnLst/>
              <a:rect l="l" t="t" r="r" b="b"/>
              <a:pathLst>
                <a:path w="223520" h="205739" extrusionOk="0">
                  <a:moveTo>
                    <a:pt x="0" y="38100"/>
                  </a:moveTo>
                  <a:lnTo>
                    <a:pt x="19050" y="55245"/>
                  </a:lnTo>
                  <a:lnTo>
                    <a:pt x="171450" y="188595"/>
                  </a:lnTo>
                  <a:lnTo>
                    <a:pt x="190500" y="205740"/>
                  </a:lnTo>
                  <a:lnTo>
                    <a:pt x="223520" y="167640"/>
                  </a:lnTo>
                  <a:lnTo>
                    <a:pt x="204470" y="150495"/>
                  </a:lnTo>
                  <a:lnTo>
                    <a:pt x="52070" y="17145"/>
                  </a:lnTo>
                  <a:lnTo>
                    <a:pt x="3302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88" name="Google Shape;1288;p16"/>
            <p:cNvSpPr/>
            <p:nvPr/>
          </p:nvSpPr>
          <p:spPr>
            <a:xfrm>
              <a:off x="6087745" y="2118360"/>
              <a:ext cx="223520" cy="205739"/>
            </a:xfrm>
            <a:custGeom>
              <a:avLst/>
              <a:gdLst/>
              <a:ahLst/>
              <a:cxnLst/>
              <a:rect l="l" t="t" r="r" b="b"/>
              <a:pathLst>
                <a:path w="223520" h="205739" extrusionOk="0">
                  <a:moveTo>
                    <a:pt x="0" y="38100"/>
                  </a:moveTo>
                  <a:lnTo>
                    <a:pt x="19050" y="55245"/>
                  </a:lnTo>
                  <a:lnTo>
                    <a:pt x="171450" y="188595"/>
                  </a:lnTo>
                  <a:lnTo>
                    <a:pt x="190500" y="205740"/>
                  </a:lnTo>
                  <a:lnTo>
                    <a:pt x="223520" y="167640"/>
                  </a:lnTo>
                  <a:lnTo>
                    <a:pt x="204470" y="150495"/>
                  </a:lnTo>
                  <a:lnTo>
                    <a:pt x="52070" y="17145"/>
                  </a:lnTo>
                  <a:lnTo>
                    <a:pt x="3302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89" name="Google Shape;1289;p16"/>
            <p:cNvSpPr/>
            <p:nvPr/>
          </p:nvSpPr>
          <p:spPr>
            <a:xfrm>
              <a:off x="6722744" y="2480310"/>
              <a:ext cx="223520" cy="205739"/>
            </a:xfrm>
            <a:custGeom>
              <a:avLst/>
              <a:gdLst/>
              <a:ahLst/>
              <a:cxnLst/>
              <a:rect l="l" t="t" r="r" b="b"/>
              <a:pathLst>
                <a:path w="223520" h="205739" extrusionOk="0">
                  <a:moveTo>
                    <a:pt x="0" y="38100"/>
                  </a:moveTo>
                  <a:lnTo>
                    <a:pt x="19050" y="55245"/>
                  </a:lnTo>
                  <a:lnTo>
                    <a:pt x="171450" y="188595"/>
                  </a:lnTo>
                  <a:lnTo>
                    <a:pt x="190500" y="205740"/>
                  </a:lnTo>
                  <a:lnTo>
                    <a:pt x="223520" y="167640"/>
                  </a:lnTo>
                  <a:lnTo>
                    <a:pt x="204470" y="150495"/>
                  </a:lnTo>
                  <a:lnTo>
                    <a:pt x="52070" y="17145"/>
                  </a:lnTo>
                  <a:lnTo>
                    <a:pt x="3302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90" name="Google Shape;1290;p16"/>
            <p:cNvSpPr/>
            <p:nvPr/>
          </p:nvSpPr>
          <p:spPr>
            <a:xfrm>
              <a:off x="7357744" y="2842260"/>
              <a:ext cx="223520" cy="205739"/>
            </a:xfrm>
            <a:custGeom>
              <a:avLst/>
              <a:gdLst/>
              <a:ahLst/>
              <a:cxnLst/>
              <a:rect l="l" t="t" r="r" b="b"/>
              <a:pathLst>
                <a:path w="223520" h="205739" extrusionOk="0">
                  <a:moveTo>
                    <a:pt x="0" y="38100"/>
                  </a:moveTo>
                  <a:lnTo>
                    <a:pt x="19050" y="55245"/>
                  </a:lnTo>
                  <a:lnTo>
                    <a:pt x="171450" y="188595"/>
                  </a:lnTo>
                  <a:lnTo>
                    <a:pt x="190500" y="205740"/>
                  </a:lnTo>
                  <a:lnTo>
                    <a:pt x="223520" y="167640"/>
                  </a:lnTo>
                  <a:lnTo>
                    <a:pt x="204470" y="150495"/>
                  </a:lnTo>
                  <a:lnTo>
                    <a:pt x="52070" y="17145"/>
                  </a:lnTo>
                  <a:lnTo>
                    <a:pt x="3302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91" name="Google Shape;1291;p16"/>
            <p:cNvSpPr/>
            <p:nvPr/>
          </p:nvSpPr>
          <p:spPr>
            <a:xfrm>
              <a:off x="7992744" y="3204210"/>
              <a:ext cx="223520" cy="205739"/>
            </a:xfrm>
            <a:custGeom>
              <a:avLst/>
              <a:gdLst/>
              <a:ahLst/>
              <a:cxnLst/>
              <a:rect l="l" t="t" r="r" b="b"/>
              <a:pathLst>
                <a:path w="223520" h="205739" extrusionOk="0">
                  <a:moveTo>
                    <a:pt x="0" y="38100"/>
                  </a:moveTo>
                  <a:lnTo>
                    <a:pt x="19050" y="55245"/>
                  </a:lnTo>
                  <a:lnTo>
                    <a:pt x="171450" y="188595"/>
                  </a:lnTo>
                  <a:lnTo>
                    <a:pt x="190500" y="205740"/>
                  </a:lnTo>
                  <a:lnTo>
                    <a:pt x="223520" y="167640"/>
                  </a:lnTo>
                  <a:lnTo>
                    <a:pt x="204470" y="150495"/>
                  </a:lnTo>
                  <a:lnTo>
                    <a:pt x="52070" y="17145"/>
                  </a:lnTo>
                  <a:lnTo>
                    <a:pt x="3302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92" name="Google Shape;1292;p16"/>
            <p:cNvSpPr/>
            <p:nvPr/>
          </p:nvSpPr>
          <p:spPr>
            <a:xfrm>
              <a:off x="8627744" y="3566159"/>
              <a:ext cx="223520" cy="205740"/>
            </a:xfrm>
            <a:custGeom>
              <a:avLst/>
              <a:gdLst/>
              <a:ahLst/>
              <a:cxnLst/>
              <a:rect l="l" t="t" r="r" b="b"/>
              <a:pathLst>
                <a:path w="223520" h="205740" extrusionOk="0">
                  <a:moveTo>
                    <a:pt x="33020" y="0"/>
                  </a:moveTo>
                  <a:lnTo>
                    <a:pt x="0" y="38100"/>
                  </a:lnTo>
                  <a:lnTo>
                    <a:pt x="19050" y="55245"/>
                  </a:lnTo>
                  <a:lnTo>
                    <a:pt x="171450" y="188595"/>
                  </a:lnTo>
                  <a:lnTo>
                    <a:pt x="190500" y="205740"/>
                  </a:lnTo>
                  <a:lnTo>
                    <a:pt x="223520" y="167640"/>
                  </a:lnTo>
                  <a:lnTo>
                    <a:pt x="204470" y="150495"/>
                  </a:lnTo>
                  <a:lnTo>
                    <a:pt x="52070" y="1714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93" name="Google Shape;1293;p16"/>
            <p:cNvSpPr/>
            <p:nvPr/>
          </p:nvSpPr>
          <p:spPr>
            <a:xfrm>
              <a:off x="9262744" y="3928109"/>
              <a:ext cx="223520" cy="205740"/>
            </a:xfrm>
            <a:custGeom>
              <a:avLst/>
              <a:gdLst/>
              <a:ahLst/>
              <a:cxnLst/>
              <a:rect l="l" t="t" r="r" b="b"/>
              <a:pathLst>
                <a:path w="223520" h="205740" extrusionOk="0">
                  <a:moveTo>
                    <a:pt x="33020" y="0"/>
                  </a:moveTo>
                  <a:lnTo>
                    <a:pt x="0" y="38100"/>
                  </a:lnTo>
                  <a:lnTo>
                    <a:pt x="19050" y="55245"/>
                  </a:lnTo>
                  <a:lnTo>
                    <a:pt x="171450" y="188595"/>
                  </a:lnTo>
                  <a:lnTo>
                    <a:pt x="190500" y="205740"/>
                  </a:lnTo>
                  <a:lnTo>
                    <a:pt x="223520" y="167640"/>
                  </a:lnTo>
                  <a:lnTo>
                    <a:pt x="204470" y="150495"/>
                  </a:lnTo>
                  <a:lnTo>
                    <a:pt x="52070" y="1714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94" name="Google Shape;1294;p16"/>
            <p:cNvSpPr/>
            <p:nvPr/>
          </p:nvSpPr>
          <p:spPr>
            <a:xfrm>
              <a:off x="9897744" y="4290059"/>
              <a:ext cx="223520" cy="205740"/>
            </a:xfrm>
            <a:custGeom>
              <a:avLst/>
              <a:gdLst/>
              <a:ahLst/>
              <a:cxnLst/>
              <a:rect l="l" t="t" r="r" b="b"/>
              <a:pathLst>
                <a:path w="223520" h="205740" extrusionOk="0">
                  <a:moveTo>
                    <a:pt x="171450" y="188595"/>
                  </a:moveTo>
                  <a:lnTo>
                    <a:pt x="190500" y="205740"/>
                  </a:lnTo>
                  <a:lnTo>
                    <a:pt x="223520" y="167640"/>
                  </a:lnTo>
                  <a:lnTo>
                    <a:pt x="204470" y="150495"/>
                  </a:lnTo>
                  <a:lnTo>
                    <a:pt x="52070" y="17145"/>
                  </a:lnTo>
                  <a:lnTo>
                    <a:pt x="33020" y="0"/>
                  </a:lnTo>
                  <a:lnTo>
                    <a:pt x="0" y="38100"/>
                  </a:lnTo>
                  <a:lnTo>
                    <a:pt x="19050" y="5524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95" name="Google Shape;1295;p16"/>
            <p:cNvSpPr/>
            <p:nvPr/>
          </p:nvSpPr>
          <p:spPr>
            <a:xfrm>
              <a:off x="10532744" y="4652009"/>
              <a:ext cx="223520" cy="205740"/>
            </a:xfrm>
            <a:custGeom>
              <a:avLst/>
              <a:gdLst/>
              <a:ahLst/>
              <a:cxnLst/>
              <a:rect l="l" t="t" r="r" b="b"/>
              <a:pathLst>
                <a:path w="223520" h="205740" extrusionOk="0">
                  <a:moveTo>
                    <a:pt x="171450" y="188595"/>
                  </a:moveTo>
                  <a:lnTo>
                    <a:pt x="190500" y="205740"/>
                  </a:lnTo>
                  <a:lnTo>
                    <a:pt x="223520" y="167640"/>
                  </a:lnTo>
                  <a:lnTo>
                    <a:pt x="204470" y="150495"/>
                  </a:lnTo>
                  <a:lnTo>
                    <a:pt x="52070" y="17145"/>
                  </a:lnTo>
                  <a:lnTo>
                    <a:pt x="33020" y="0"/>
                  </a:lnTo>
                  <a:lnTo>
                    <a:pt x="0" y="38100"/>
                  </a:lnTo>
                  <a:lnTo>
                    <a:pt x="19050" y="5524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96" name="Google Shape;1296;p16"/>
            <p:cNvSpPr/>
            <p:nvPr/>
          </p:nvSpPr>
          <p:spPr>
            <a:xfrm>
              <a:off x="11167744" y="5013959"/>
              <a:ext cx="223520" cy="205740"/>
            </a:xfrm>
            <a:custGeom>
              <a:avLst/>
              <a:gdLst/>
              <a:ahLst/>
              <a:cxnLst/>
              <a:rect l="l" t="t" r="r" b="b"/>
              <a:pathLst>
                <a:path w="223520" h="205740" extrusionOk="0">
                  <a:moveTo>
                    <a:pt x="171450" y="188595"/>
                  </a:moveTo>
                  <a:lnTo>
                    <a:pt x="190500" y="205740"/>
                  </a:lnTo>
                  <a:lnTo>
                    <a:pt x="223520" y="167640"/>
                  </a:lnTo>
                  <a:lnTo>
                    <a:pt x="204470" y="150495"/>
                  </a:lnTo>
                  <a:lnTo>
                    <a:pt x="52070" y="17145"/>
                  </a:lnTo>
                  <a:lnTo>
                    <a:pt x="33020" y="0"/>
                  </a:lnTo>
                  <a:lnTo>
                    <a:pt x="0" y="38100"/>
                  </a:lnTo>
                  <a:lnTo>
                    <a:pt x="19050" y="5524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97" name="Google Shape;1297;p16"/>
            <p:cNvSpPr/>
            <p:nvPr/>
          </p:nvSpPr>
          <p:spPr>
            <a:xfrm>
              <a:off x="11802744" y="5375909"/>
              <a:ext cx="223520" cy="205740"/>
            </a:xfrm>
            <a:custGeom>
              <a:avLst/>
              <a:gdLst/>
              <a:ahLst/>
              <a:cxnLst/>
              <a:rect l="l" t="t" r="r" b="b"/>
              <a:pathLst>
                <a:path w="223520" h="205740" extrusionOk="0">
                  <a:moveTo>
                    <a:pt x="171450" y="188595"/>
                  </a:moveTo>
                  <a:lnTo>
                    <a:pt x="190500" y="205740"/>
                  </a:lnTo>
                  <a:lnTo>
                    <a:pt x="223520" y="167640"/>
                  </a:lnTo>
                  <a:lnTo>
                    <a:pt x="204470" y="150495"/>
                  </a:lnTo>
                  <a:lnTo>
                    <a:pt x="52070" y="17145"/>
                  </a:lnTo>
                  <a:lnTo>
                    <a:pt x="33020" y="0"/>
                  </a:lnTo>
                  <a:lnTo>
                    <a:pt x="0" y="38100"/>
                  </a:lnTo>
                  <a:lnTo>
                    <a:pt x="19050" y="5524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98" name="Google Shape;1298;p16"/>
            <p:cNvSpPr/>
            <p:nvPr/>
          </p:nvSpPr>
          <p:spPr>
            <a:xfrm>
              <a:off x="2736850" y="0"/>
              <a:ext cx="220345" cy="142239"/>
            </a:xfrm>
            <a:custGeom>
              <a:avLst/>
              <a:gdLst/>
              <a:ahLst/>
              <a:cxnLst/>
              <a:rect l="l" t="t" r="r" b="b"/>
              <a:pathLst>
                <a:path w="220345" h="142239" extrusionOk="0">
                  <a:moveTo>
                    <a:pt x="169545" y="127000"/>
                  </a:moveTo>
                  <a:lnTo>
                    <a:pt x="189865" y="142240"/>
                  </a:lnTo>
                  <a:lnTo>
                    <a:pt x="220345" y="101600"/>
                  </a:lnTo>
                  <a:lnTo>
                    <a:pt x="200025" y="86360"/>
                  </a:lnTo>
                  <a:lnTo>
                    <a:pt x="84455" y="0"/>
                  </a:lnTo>
                  <a:lnTo>
                    <a:pt x="0" y="0"/>
                  </a:lnTo>
                  <a:lnTo>
                    <a:pt x="17145" y="1270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299" name="Google Shape;1299;p16"/>
            <p:cNvSpPr/>
            <p:nvPr/>
          </p:nvSpPr>
          <p:spPr>
            <a:xfrm>
              <a:off x="3368675" y="318770"/>
              <a:ext cx="223520" cy="185420"/>
            </a:xfrm>
            <a:custGeom>
              <a:avLst/>
              <a:gdLst/>
              <a:ahLst/>
              <a:cxnLst/>
              <a:rect l="l" t="t" r="r" b="b"/>
              <a:pathLst>
                <a:path w="223520" h="185420" extrusionOk="0">
                  <a:moveTo>
                    <a:pt x="30480" y="0"/>
                  </a:moveTo>
                  <a:lnTo>
                    <a:pt x="0" y="40640"/>
                  </a:lnTo>
                  <a:lnTo>
                    <a:pt x="20320" y="55880"/>
                  </a:lnTo>
                  <a:lnTo>
                    <a:pt x="172720" y="170180"/>
                  </a:lnTo>
                  <a:lnTo>
                    <a:pt x="193040" y="185420"/>
                  </a:lnTo>
                  <a:lnTo>
                    <a:pt x="223520" y="144780"/>
                  </a:lnTo>
                  <a:lnTo>
                    <a:pt x="203200" y="129540"/>
                  </a:lnTo>
                  <a:lnTo>
                    <a:pt x="50800" y="152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300" name="Google Shape;1300;p16"/>
            <p:cNvSpPr/>
            <p:nvPr/>
          </p:nvSpPr>
          <p:spPr>
            <a:xfrm>
              <a:off x="4003675" y="680719"/>
              <a:ext cx="223520" cy="185419"/>
            </a:xfrm>
            <a:custGeom>
              <a:avLst/>
              <a:gdLst/>
              <a:ahLst/>
              <a:cxnLst/>
              <a:rect l="l" t="t" r="r" b="b"/>
              <a:pathLst>
                <a:path w="223520" h="185419" extrusionOk="0">
                  <a:moveTo>
                    <a:pt x="30480" y="0"/>
                  </a:moveTo>
                  <a:lnTo>
                    <a:pt x="0" y="40640"/>
                  </a:lnTo>
                  <a:lnTo>
                    <a:pt x="20320" y="55880"/>
                  </a:lnTo>
                  <a:lnTo>
                    <a:pt x="172720" y="170180"/>
                  </a:lnTo>
                  <a:lnTo>
                    <a:pt x="193040" y="185420"/>
                  </a:lnTo>
                  <a:lnTo>
                    <a:pt x="223520" y="144780"/>
                  </a:lnTo>
                  <a:lnTo>
                    <a:pt x="203200" y="129540"/>
                  </a:lnTo>
                  <a:lnTo>
                    <a:pt x="50800" y="152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301" name="Google Shape;1301;p16"/>
            <p:cNvSpPr/>
            <p:nvPr/>
          </p:nvSpPr>
          <p:spPr>
            <a:xfrm>
              <a:off x="4638675" y="1042669"/>
              <a:ext cx="223520" cy="185419"/>
            </a:xfrm>
            <a:custGeom>
              <a:avLst/>
              <a:gdLst/>
              <a:ahLst/>
              <a:cxnLst/>
              <a:rect l="l" t="t" r="r" b="b"/>
              <a:pathLst>
                <a:path w="223520" h="185419" extrusionOk="0">
                  <a:moveTo>
                    <a:pt x="30480" y="0"/>
                  </a:moveTo>
                  <a:lnTo>
                    <a:pt x="0" y="40640"/>
                  </a:lnTo>
                  <a:lnTo>
                    <a:pt x="20320" y="55880"/>
                  </a:lnTo>
                  <a:lnTo>
                    <a:pt x="172720" y="170180"/>
                  </a:lnTo>
                  <a:lnTo>
                    <a:pt x="193040" y="185420"/>
                  </a:lnTo>
                  <a:lnTo>
                    <a:pt x="223520" y="144780"/>
                  </a:lnTo>
                  <a:lnTo>
                    <a:pt x="203200" y="129540"/>
                  </a:lnTo>
                  <a:lnTo>
                    <a:pt x="50800" y="152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302" name="Google Shape;1302;p16"/>
            <p:cNvSpPr/>
            <p:nvPr/>
          </p:nvSpPr>
          <p:spPr>
            <a:xfrm>
              <a:off x="5273675" y="1404619"/>
              <a:ext cx="223520" cy="185419"/>
            </a:xfrm>
            <a:custGeom>
              <a:avLst/>
              <a:gdLst/>
              <a:ahLst/>
              <a:cxnLst/>
              <a:rect l="l" t="t" r="r" b="b"/>
              <a:pathLst>
                <a:path w="223520" h="185419" extrusionOk="0">
                  <a:moveTo>
                    <a:pt x="30480" y="0"/>
                  </a:moveTo>
                  <a:lnTo>
                    <a:pt x="0" y="40640"/>
                  </a:lnTo>
                  <a:lnTo>
                    <a:pt x="20320" y="55880"/>
                  </a:lnTo>
                  <a:lnTo>
                    <a:pt x="172720" y="170180"/>
                  </a:lnTo>
                  <a:lnTo>
                    <a:pt x="193040" y="185420"/>
                  </a:lnTo>
                  <a:lnTo>
                    <a:pt x="223520" y="144780"/>
                  </a:lnTo>
                  <a:lnTo>
                    <a:pt x="203200" y="129540"/>
                  </a:lnTo>
                  <a:lnTo>
                    <a:pt x="50800" y="152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303" name="Google Shape;1303;p16"/>
            <p:cNvSpPr/>
            <p:nvPr/>
          </p:nvSpPr>
          <p:spPr>
            <a:xfrm>
              <a:off x="5908675" y="1766570"/>
              <a:ext cx="223520" cy="185419"/>
            </a:xfrm>
            <a:custGeom>
              <a:avLst/>
              <a:gdLst/>
              <a:ahLst/>
              <a:cxnLst/>
              <a:rect l="l" t="t" r="r" b="b"/>
              <a:pathLst>
                <a:path w="223520" h="185419" extrusionOk="0">
                  <a:moveTo>
                    <a:pt x="30480" y="0"/>
                  </a:moveTo>
                  <a:lnTo>
                    <a:pt x="0" y="40640"/>
                  </a:lnTo>
                  <a:lnTo>
                    <a:pt x="20320" y="55880"/>
                  </a:lnTo>
                  <a:lnTo>
                    <a:pt x="172720" y="170180"/>
                  </a:lnTo>
                  <a:lnTo>
                    <a:pt x="193040" y="185420"/>
                  </a:lnTo>
                  <a:lnTo>
                    <a:pt x="223520" y="144780"/>
                  </a:lnTo>
                  <a:lnTo>
                    <a:pt x="203200" y="129540"/>
                  </a:lnTo>
                  <a:lnTo>
                    <a:pt x="50800" y="152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304" name="Google Shape;1304;p16"/>
            <p:cNvSpPr/>
            <p:nvPr/>
          </p:nvSpPr>
          <p:spPr>
            <a:xfrm>
              <a:off x="6543675" y="2128520"/>
              <a:ext cx="223519" cy="185419"/>
            </a:xfrm>
            <a:custGeom>
              <a:avLst/>
              <a:gdLst/>
              <a:ahLst/>
              <a:cxnLst/>
              <a:rect l="l" t="t" r="r" b="b"/>
              <a:pathLst>
                <a:path w="223519" h="185419" extrusionOk="0">
                  <a:moveTo>
                    <a:pt x="30480" y="0"/>
                  </a:moveTo>
                  <a:lnTo>
                    <a:pt x="0" y="40640"/>
                  </a:lnTo>
                  <a:lnTo>
                    <a:pt x="20320" y="55880"/>
                  </a:lnTo>
                  <a:lnTo>
                    <a:pt x="172720" y="170180"/>
                  </a:lnTo>
                  <a:lnTo>
                    <a:pt x="193040" y="185420"/>
                  </a:lnTo>
                  <a:lnTo>
                    <a:pt x="223520" y="144780"/>
                  </a:lnTo>
                  <a:lnTo>
                    <a:pt x="203200" y="129540"/>
                  </a:lnTo>
                  <a:lnTo>
                    <a:pt x="50800" y="152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305" name="Google Shape;1305;p16"/>
            <p:cNvSpPr/>
            <p:nvPr/>
          </p:nvSpPr>
          <p:spPr>
            <a:xfrm>
              <a:off x="7178675" y="2490470"/>
              <a:ext cx="223519" cy="185419"/>
            </a:xfrm>
            <a:custGeom>
              <a:avLst/>
              <a:gdLst/>
              <a:ahLst/>
              <a:cxnLst/>
              <a:rect l="l" t="t" r="r" b="b"/>
              <a:pathLst>
                <a:path w="223519" h="185419" extrusionOk="0">
                  <a:moveTo>
                    <a:pt x="30480" y="0"/>
                  </a:moveTo>
                  <a:lnTo>
                    <a:pt x="0" y="40640"/>
                  </a:lnTo>
                  <a:lnTo>
                    <a:pt x="20320" y="55880"/>
                  </a:lnTo>
                  <a:lnTo>
                    <a:pt x="172720" y="170180"/>
                  </a:lnTo>
                  <a:lnTo>
                    <a:pt x="193040" y="185420"/>
                  </a:lnTo>
                  <a:lnTo>
                    <a:pt x="223520" y="144780"/>
                  </a:lnTo>
                  <a:lnTo>
                    <a:pt x="203200" y="129540"/>
                  </a:lnTo>
                  <a:lnTo>
                    <a:pt x="50800" y="152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306" name="Google Shape;1306;p16"/>
            <p:cNvSpPr/>
            <p:nvPr/>
          </p:nvSpPr>
          <p:spPr>
            <a:xfrm>
              <a:off x="7813675" y="2852420"/>
              <a:ext cx="223519" cy="185419"/>
            </a:xfrm>
            <a:custGeom>
              <a:avLst/>
              <a:gdLst/>
              <a:ahLst/>
              <a:cxnLst/>
              <a:rect l="l" t="t" r="r" b="b"/>
              <a:pathLst>
                <a:path w="223519" h="185419" extrusionOk="0">
                  <a:moveTo>
                    <a:pt x="50800" y="15240"/>
                  </a:moveTo>
                  <a:lnTo>
                    <a:pt x="30480" y="0"/>
                  </a:lnTo>
                  <a:lnTo>
                    <a:pt x="0" y="40640"/>
                  </a:lnTo>
                  <a:lnTo>
                    <a:pt x="20320" y="55880"/>
                  </a:lnTo>
                  <a:lnTo>
                    <a:pt x="172720" y="170180"/>
                  </a:lnTo>
                  <a:lnTo>
                    <a:pt x="193040" y="185420"/>
                  </a:lnTo>
                  <a:lnTo>
                    <a:pt x="223520" y="144780"/>
                  </a:lnTo>
                  <a:lnTo>
                    <a:pt x="203200" y="1295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307" name="Google Shape;1307;p16"/>
            <p:cNvSpPr/>
            <p:nvPr/>
          </p:nvSpPr>
          <p:spPr>
            <a:xfrm>
              <a:off x="8448675" y="3214370"/>
              <a:ext cx="223519" cy="185420"/>
            </a:xfrm>
            <a:custGeom>
              <a:avLst/>
              <a:gdLst/>
              <a:ahLst/>
              <a:cxnLst/>
              <a:rect l="l" t="t" r="r" b="b"/>
              <a:pathLst>
                <a:path w="223519" h="185420" extrusionOk="0">
                  <a:moveTo>
                    <a:pt x="50800" y="15240"/>
                  </a:moveTo>
                  <a:lnTo>
                    <a:pt x="30480" y="0"/>
                  </a:lnTo>
                  <a:lnTo>
                    <a:pt x="0" y="40640"/>
                  </a:lnTo>
                  <a:lnTo>
                    <a:pt x="20320" y="55880"/>
                  </a:lnTo>
                  <a:lnTo>
                    <a:pt x="172720" y="170180"/>
                  </a:lnTo>
                  <a:lnTo>
                    <a:pt x="193040" y="185420"/>
                  </a:lnTo>
                  <a:lnTo>
                    <a:pt x="223520" y="144780"/>
                  </a:lnTo>
                  <a:lnTo>
                    <a:pt x="203200" y="1295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308" name="Google Shape;1308;p16"/>
            <p:cNvSpPr/>
            <p:nvPr/>
          </p:nvSpPr>
          <p:spPr>
            <a:xfrm>
              <a:off x="9083675" y="3576320"/>
              <a:ext cx="223519" cy="185420"/>
            </a:xfrm>
            <a:custGeom>
              <a:avLst/>
              <a:gdLst/>
              <a:ahLst/>
              <a:cxnLst/>
              <a:rect l="l" t="t" r="r" b="b"/>
              <a:pathLst>
                <a:path w="223519" h="185420" extrusionOk="0">
                  <a:moveTo>
                    <a:pt x="50800" y="15240"/>
                  </a:moveTo>
                  <a:lnTo>
                    <a:pt x="30480" y="0"/>
                  </a:lnTo>
                  <a:lnTo>
                    <a:pt x="0" y="40640"/>
                  </a:lnTo>
                  <a:lnTo>
                    <a:pt x="20320" y="55880"/>
                  </a:lnTo>
                  <a:lnTo>
                    <a:pt x="172720" y="170180"/>
                  </a:lnTo>
                  <a:lnTo>
                    <a:pt x="193040" y="185420"/>
                  </a:lnTo>
                  <a:lnTo>
                    <a:pt x="223520" y="144780"/>
                  </a:lnTo>
                  <a:lnTo>
                    <a:pt x="203200" y="1295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309" name="Google Shape;1309;p16"/>
            <p:cNvSpPr/>
            <p:nvPr/>
          </p:nvSpPr>
          <p:spPr>
            <a:xfrm>
              <a:off x="9718675" y="3938270"/>
              <a:ext cx="223519" cy="185420"/>
            </a:xfrm>
            <a:custGeom>
              <a:avLst/>
              <a:gdLst/>
              <a:ahLst/>
              <a:cxnLst/>
              <a:rect l="l" t="t" r="r" b="b"/>
              <a:pathLst>
                <a:path w="223519" h="185420" extrusionOk="0">
                  <a:moveTo>
                    <a:pt x="0" y="40640"/>
                  </a:moveTo>
                  <a:lnTo>
                    <a:pt x="20320" y="55880"/>
                  </a:lnTo>
                  <a:lnTo>
                    <a:pt x="172720" y="170180"/>
                  </a:lnTo>
                  <a:lnTo>
                    <a:pt x="193040" y="185420"/>
                  </a:lnTo>
                  <a:lnTo>
                    <a:pt x="223520" y="144780"/>
                  </a:lnTo>
                  <a:lnTo>
                    <a:pt x="203200" y="129540"/>
                  </a:lnTo>
                  <a:lnTo>
                    <a:pt x="50800" y="15240"/>
                  </a:lnTo>
                  <a:lnTo>
                    <a:pt x="3048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310" name="Google Shape;1310;p16"/>
            <p:cNvSpPr/>
            <p:nvPr/>
          </p:nvSpPr>
          <p:spPr>
            <a:xfrm>
              <a:off x="10353675" y="4300220"/>
              <a:ext cx="223519" cy="185420"/>
            </a:xfrm>
            <a:custGeom>
              <a:avLst/>
              <a:gdLst/>
              <a:ahLst/>
              <a:cxnLst/>
              <a:rect l="l" t="t" r="r" b="b"/>
              <a:pathLst>
                <a:path w="223519" h="185420" extrusionOk="0">
                  <a:moveTo>
                    <a:pt x="0" y="40640"/>
                  </a:moveTo>
                  <a:lnTo>
                    <a:pt x="20320" y="55880"/>
                  </a:lnTo>
                  <a:lnTo>
                    <a:pt x="172720" y="170180"/>
                  </a:lnTo>
                  <a:lnTo>
                    <a:pt x="193040" y="185420"/>
                  </a:lnTo>
                  <a:lnTo>
                    <a:pt x="223520" y="144780"/>
                  </a:lnTo>
                  <a:lnTo>
                    <a:pt x="203200" y="129540"/>
                  </a:lnTo>
                  <a:lnTo>
                    <a:pt x="50800" y="15240"/>
                  </a:lnTo>
                  <a:lnTo>
                    <a:pt x="3048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311" name="Google Shape;1311;p16"/>
            <p:cNvSpPr/>
            <p:nvPr/>
          </p:nvSpPr>
          <p:spPr>
            <a:xfrm>
              <a:off x="10988675" y="4662170"/>
              <a:ext cx="223519" cy="185420"/>
            </a:xfrm>
            <a:custGeom>
              <a:avLst/>
              <a:gdLst/>
              <a:ahLst/>
              <a:cxnLst/>
              <a:rect l="l" t="t" r="r" b="b"/>
              <a:pathLst>
                <a:path w="223519" h="185420" extrusionOk="0">
                  <a:moveTo>
                    <a:pt x="172720" y="170180"/>
                  </a:moveTo>
                  <a:lnTo>
                    <a:pt x="193040" y="185420"/>
                  </a:lnTo>
                  <a:lnTo>
                    <a:pt x="223520" y="144780"/>
                  </a:lnTo>
                  <a:lnTo>
                    <a:pt x="203200" y="129540"/>
                  </a:lnTo>
                  <a:lnTo>
                    <a:pt x="50800" y="15240"/>
                  </a:lnTo>
                  <a:lnTo>
                    <a:pt x="30480" y="0"/>
                  </a:lnTo>
                  <a:lnTo>
                    <a:pt x="0" y="40640"/>
                  </a:lnTo>
                  <a:lnTo>
                    <a:pt x="20320" y="558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312" name="Google Shape;1312;p16"/>
            <p:cNvSpPr/>
            <p:nvPr/>
          </p:nvSpPr>
          <p:spPr>
            <a:xfrm>
              <a:off x="11623675" y="5024120"/>
              <a:ext cx="223519" cy="185420"/>
            </a:xfrm>
            <a:custGeom>
              <a:avLst/>
              <a:gdLst/>
              <a:ahLst/>
              <a:cxnLst/>
              <a:rect l="l" t="t" r="r" b="b"/>
              <a:pathLst>
                <a:path w="223519" h="185420" extrusionOk="0">
                  <a:moveTo>
                    <a:pt x="172720" y="170180"/>
                  </a:moveTo>
                  <a:lnTo>
                    <a:pt x="193040" y="185420"/>
                  </a:lnTo>
                  <a:lnTo>
                    <a:pt x="223520" y="144780"/>
                  </a:lnTo>
                  <a:lnTo>
                    <a:pt x="203200" y="129540"/>
                  </a:lnTo>
                  <a:lnTo>
                    <a:pt x="50800" y="15240"/>
                  </a:lnTo>
                  <a:lnTo>
                    <a:pt x="30480" y="0"/>
                  </a:lnTo>
                  <a:lnTo>
                    <a:pt x="0" y="40640"/>
                  </a:lnTo>
                  <a:lnTo>
                    <a:pt x="20320" y="558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313" name="Google Shape;1313;p16"/>
            <p:cNvSpPr/>
            <p:nvPr/>
          </p:nvSpPr>
          <p:spPr>
            <a:xfrm>
              <a:off x="3221989" y="0"/>
              <a:ext cx="222250" cy="129539"/>
            </a:xfrm>
            <a:custGeom>
              <a:avLst/>
              <a:gdLst/>
              <a:ahLst/>
              <a:cxnLst/>
              <a:rect l="l" t="t" r="r" b="b"/>
              <a:pathLst>
                <a:path w="222250" h="129539" extrusionOk="0">
                  <a:moveTo>
                    <a:pt x="174625" y="116205"/>
                  </a:moveTo>
                  <a:lnTo>
                    <a:pt x="196215" y="129540"/>
                  </a:lnTo>
                  <a:lnTo>
                    <a:pt x="222250" y="85725"/>
                  </a:lnTo>
                  <a:lnTo>
                    <a:pt x="200025" y="72390"/>
                  </a:lnTo>
                  <a:lnTo>
                    <a:pt x="76835" y="0"/>
                  </a:lnTo>
                  <a:lnTo>
                    <a:pt x="8255" y="0"/>
                  </a:lnTo>
                  <a:lnTo>
                    <a:pt x="0" y="13335"/>
                  </a:lnTo>
                  <a:lnTo>
                    <a:pt x="22225" y="2667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314" name="Google Shape;1314;p16"/>
            <p:cNvSpPr/>
            <p:nvPr/>
          </p:nvSpPr>
          <p:spPr>
            <a:xfrm>
              <a:off x="3856990" y="332104"/>
              <a:ext cx="222250" cy="159385"/>
            </a:xfrm>
            <a:custGeom>
              <a:avLst/>
              <a:gdLst/>
              <a:ahLst/>
              <a:cxnLst/>
              <a:rect l="l" t="t" r="r" b="b"/>
              <a:pathLst>
                <a:path w="222250" h="159385" extrusionOk="0">
                  <a:moveTo>
                    <a:pt x="26035" y="0"/>
                  </a:moveTo>
                  <a:lnTo>
                    <a:pt x="0" y="43180"/>
                  </a:lnTo>
                  <a:lnTo>
                    <a:pt x="22225" y="56515"/>
                  </a:lnTo>
                  <a:lnTo>
                    <a:pt x="174625" y="146050"/>
                  </a:lnTo>
                  <a:lnTo>
                    <a:pt x="196215" y="159385"/>
                  </a:lnTo>
                  <a:lnTo>
                    <a:pt x="222250" y="115570"/>
                  </a:lnTo>
                  <a:lnTo>
                    <a:pt x="200025" y="102235"/>
                  </a:lnTo>
                  <a:lnTo>
                    <a:pt x="47625" y="1270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315" name="Google Shape;1315;p16"/>
            <p:cNvSpPr/>
            <p:nvPr/>
          </p:nvSpPr>
          <p:spPr>
            <a:xfrm>
              <a:off x="4491990" y="694055"/>
              <a:ext cx="222250" cy="159384"/>
            </a:xfrm>
            <a:custGeom>
              <a:avLst/>
              <a:gdLst/>
              <a:ahLst/>
              <a:cxnLst/>
              <a:rect l="l" t="t" r="r" b="b"/>
              <a:pathLst>
                <a:path w="222250" h="159384" extrusionOk="0">
                  <a:moveTo>
                    <a:pt x="26035" y="0"/>
                  </a:moveTo>
                  <a:lnTo>
                    <a:pt x="0" y="43180"/>
                  </a:lnTo>
                  <a:lnTo>
                    <a:pt x="22225" y="56515"/>
                  </a:lnTo>
                  <a:lnTo>
                    <a:pt x="174625" y="146050"/>
                  </a:lnTo>
                  <a:lnTo>
                    <a:pt x="196215" y="159385"/>
                  </a:lnTo>
                  <a:lnTo>
                    <a:pt x="222250" y="115570"/>
                  </a:lnTo>
                  <a:lnTo>
                    <a:pt x="200025" y="102235"/>
                  </a:lnTo>
                  <a:lnTo>
                    <a:pt x="47625" y="1270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316" name="Google Shape;1316;p16"/>
            <p:cNvSpPr/>
            <p:nvPr/>
          </p:nvSpPr>
          <p:spPr>
            <a:xfrm>
              <a:off x="5126990" y="1056005"/>
              <a:ext cx="222250" cy="159384"/>
            </a:xfrm>
            <a:custGeom>
              <a:avLst/>
              <a:gdLst/>
              <a:ahLst/>
              <a:cxnLst/>
              <a:rect l="l" t="t" r="r" b="b"/>
              <a:pathLst>
                <a:path w="222250" h="159384" extrusionOk="0">
                  <a:moveTo>
                    <a:pt x="26035" y="0"/>
                  </a:moveTo>
                  <a:lnTo>
                    <a:pt x="0" y="43180"/>
                  </a:lnTo>
                  <a:lnTo>
                    <a:pt x="22225" y="56515"/>
                  </a:lnTo>
                  <a:lnTo>
                    <a:pt x="174625" y="146050"/>
                  </a:lnTo>
                  <a:lnTo>
                    <a:pt x="196215" y="159385"/>
                  </a:lnTo>
                  <a:lnTo>
                    <a:pt x="222250" y="115570"/>
                  </a:lnTo>
                  <a:lnTo>
                    <a:pt x="200025" y="102235"/>
                  </a:lnTo>
                  <a:lnTo>
                    <a:pt x="47625" y="1270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317" name="Google Shape;1317;p16"/>
            <p:cNvSpPr/>
            <p:nvPr/>
          </p:nvSpPr>
          <p:spPr>
            <a:xfrm>
              <a:off x="5761990" y="1417955"/>
              <a:ext cx="222250" cy="159384"/>
            </a:xfrm>
            <a:custGeom>
              <a:avLst/>
              <a:gdLst/>
              <a:ahLst/>
              <a:cxnLst/>
              <a:rect l="l" t="t" r="r" b="b"/>
              <a:pathLst>
                <a:path w="222250" h="159384" extrusionOk="0">
                  <a:moveTo>
                    <a:pt x="26035" y="0"/>
                  </a:moveTo>
                  <a:lnTo>
                    <a:pt x="0" y="43180"/>
                  </a:lnTo>
                  <a:lnTo>
                    <a:pt x="22225" y="56515"/>
                  </a:lnTo>
                  <a:lnTo>
                    <a:pt x="174625" y="146050"/>
                  </a:lnTo>
                  <a:lnTo>
                    <a:pt x="196215" y="159385"/>
                  </a:lnTo>
                  <a:lnTo>
                    <a:pt x="222250" y="115570"/>
                  </a:lnTo>
                  <a:lnTo>
                    <a:pt x="200025" y="102235"/>
                  </a:lnTo>
                  <a:lnTo>
                    <a:pt x="47625" y="1270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318" name="Google Shape;1318;p16"/>
            <p:cNvSpPr/>
            <p:nvPr/>
          </p:nvSpPr>
          <p:spPr>
            <a:xfrm>
              <a:off x="6396990" y="1779904"/>
              <a:ext cx="222250" cy="159385"/>
            </a:xfrm>
            <a:custGeom>
              <a:avLst/>
              <a:gdLst/>
              <a:ahLst/>
              <a:cxnLst/>
              <a:rect l="l" t="t" r="r" b="b"/>
              <a:pathLst>
                <a:path w="222250" h="159385" extrusionOk="0">
                  <a:moveTo>
                    <a:pt x="26035" y="0"/>
                  </a:moveTo>
                  <a:lnTo>
                    <a:pt x="0" y="43180"/>
                  </a:lnTo>
                  <a:lnTo>
                    <a:pt x="22225" y="56515"/>
                  </a:lnTo>
                  <a:lnTo>
                    <a:pt x="174625" y="146050"/>
                  </a:lnTo>
                  <a:lnTo>
                    <a:pt x="196215" y="159385"/>
                  </a:lnTo>
                  <a:lnTo>
                    <a:pt x="222250" y="115570"/>
                  </a:lnTo>
                  <a:lnTo>
                    <a:pt x="200025" y="102235"/>
                  </a:lnTo>
                  <a:lnTo>
                    <a:pt x="47625" y="1270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319" name="Google Shape;1319;p16"/>
            <p:cNvSpPr/>
            <p:nvPr/>
          </p:nvSpPr>
          <p:spPr>
            <a:xfrm>
              <a:off x="7031990" y="2141854"/>
              <a:ext cx="222250" cy="159385"/>
            </a:xfrm>
            <a:custGeom>
              <a:avLst/>
              <a:gdLst/>
              <a:ahLst/>
              <a:cxnLst/>
              <a:rect l="l" t="t" r="r" b="b"/>
              <a:pathLst>
                <a:path w="222250" h="159385" extrusionOk="0">
                  <a:moveTo>
                    <a:pt x="47625" y="12700"/>
                  </a:moveTo>
                  <a:lnTo>
                    <a:pt x="26035" y="0"/>
                  </a:lnTo>
                  <a:lnTo>
                    <a:pt x="0" y="43180"/>
                  </a:lnTo>
                  <a:lnTo>
                    <a:pt x="22225" y="56515"/>
                  </a:lnTo>
                  <a:lnTo>
                    <a:pt x="174625" y="146050"/>
                  </a:lnTo>
                  <a:lnTo>
                    <a:pt x="196215" y="159385"/>
                  </a:lnTo>
                  <a:lnTo>
                    <a:pt x="222250" y="115570"/>
                  </a:lnTo>
                  <a:lnTo>
                    <a:pt x="200025" y="10223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320" name="Google Shape;1320;p16"/>
            <p:cNvSpPr/>
            <p:nvPr/>
          </p:nvSpPr>
          <p:spPr>
            <a:xfrm>
              <a:off x="7666990" y="2503804"/>
              <a:ext cx="222250" cy="159385"/>
            </a:xfrm>
            <a:custGeom>
              <a:avLst/>
              <a:gdLst/>
              <a:ahLst/>
              <a:cxnLst/>
              <a:rect l="l" t="t" r="r" b="b"/>
              <a:pathLst>
                <a:path w="222250" h="159385" extrusionOk="0">
                  <a:moveTo>
                    <a:pt x="26035" y="0"/>
                  </a:moveTo>
                  <a:lnTo>
                    <a:pt x="0" y="43180"/>
                  </a:lnTo>
                  <a:lnTo>
                    <a:pt x="22225" y="56515"/>
                  </a:lnTo>
                  <a:lnTo>
                    <a:pt x="174625" y="146050"/>
                  </a:lnTo>
                  <a:lnTo>
                    <a:pt x="196215" y="159385"/>
                  </a:lnTo>
                  <a:lnTo>
                    <a:pt x="222250" y="115570"/>
                  </a:lnTo>
                  <a:lnTo>
                    <a:pt x="200025" y="102235"/>
                  </a:lnTo>
                  <a:lnTo>
                    <a:pt x="47625" y="1270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321" name="Google Shape;1321;p16"/>
            <p:cNvSpPr/>
            <p:nvPr/>
          </p:nvSpPr>
          <p:spPr>
            <a:xfrm>
              <a:off x="8301990" y="2865754"/>
              <a:ext cx="222250" cy="159385"/>
            </a:xfrm>
            <a:custGeom>
              <a:avLst/>
              <a:gdLst/>
              <a:ahLst/>
              <a:cxnLst/>
              <a:rect l="l" t="t" r="r" b="b"/>
              <a:pathLst>
                <a:path w="222250" h="159385" extrusionOk="0">
                  <a:moveTo>
                    <a:pt x="47625" y="12700"/>
                  </a:moveTo>
                  <a:lnTo>
                    <a:pt x="26035" y="0"/>
                  </a:lnTo>
                  <a:lnTo>
                    <a:pt x="0" y="43180"/>
                  </a:lnTo>
                  <a:lnTo>
                    <a:pt x="22225" y="56515"/>
                  </a:lnTo>
                  <a:lnTo>
                    <a:pt x="174625" y="146050"/>
                  </a:lnTo>
                  <a:lnTo>
                    <a:pt x="196215" y="159385"/>
                  </a:lnTo>
                  <a:lnTo>
                    <a:pt x="222250" y="115570"/>
                  </a:lnTo>
                  <a:lnTo>
                    <a:pt x="200025" y="10223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322" name="Google Shape;1322;p16"/>
            <p:cNvSpPr/>
            <p:nvPr/>
          </p:nvSpPr>
          <p:spPr>
            <a:xfrm>
              <a:off x="8936990" y="3227704"/>
              <a:ext cx="222250" cy="159385"/>
            </a:xfrm>
            <a:custGeom>
              <a:avLst/>
              <a:gdLst/>
              <a:ahLst/>
              <a:cxnLst/>
              <a:rect l="l" t="t" r="r" b="b"/>
              <a:pathLst>
                <a:path w="222250" h="159385" extrusionOk="0">
                  <a:moveTo>
                    <a:pt x="47625" y="12700"/>
                  </a:moveTo>
                  <a:lnTo>
                    <a:pt x="26035" y="0"/>
                  </a:lnTo>
                  <a:lnTo>
                    <a:pt x="0" y="43180"/>
                  </a:lnTo>
                  <a:lnTo>
                    <a:pt x="22225" y="56515"/>
                  </a:lnTo>
                  <a:lnTo>
                    <a:pt x="174625" y="146050"/>
                  </a:lnTo>
                  <a:lnTo>
                    <a:pt x="196215" y="159385"/>
                  </a:lnTo>
                  <a:lnTo>
                    <a:pt x="222250" y="115570"/>
                  </a:lnTo>
                  <a:lnTo>
                    <a:pt x="200025" y="10223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323" name="Google Shape;1323;p16"/>
            <p:cNvSpPr/>
            <p:nvPr/>
          </p:nvSpPr>
          <p:spPr>
            <a:xfrm>
              <a:off x="9571990" y="3589654"/>
              <a:ext cx="222250" cy="159385"/>
            </a:xfrm>
            <a:custGeom>
              <a:avLst/>
              <a:gdLst/>
              <a:ahLst/>
              <a:cxnLst/>
              <a:rect l="l" t="t" r="r" b="b"/>
              <a:pathLst>
                <a:path w="222250" h="159385" extrusionOk="0">
                  <a:moveTo>
                    <a:pt x="47625" y="12700"/>
                  </a:moveTo>
                  <a:lnTo>
                    <a:pt x="26035" y="0"/>
                  </a:lnTo>
                  <a:lnTo>
                    <a:pt x="0" y="43180"/>
                  </a:lnTo>
                  <a:lnTo>
                    <a:pt x="22225" y="56515"/>
                  </a:lnTo>
                  <a:lnTo>
                    <a:pt x="174625" y="146050"/>
                  </a:lnTo>
                  <a:lnTo>
                    <a:pt x="196215" y="159385"/>
                  </a:lnTo>
                  <a:lnTo>
                    <a:pt x="222250" y="115570"/>
                  </a:lnTo>
                  <a:lnTo>
                    <a:pt x="200025" y="10223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324" name="Google Shape;1324;p16"/>
            <p:cNvSpPr/>
            <p:nvPr/>
          </p:nvSpPr>
          <p:spPr>
            <a:xfrm>
              <a:off x="10206990" y="3951604"/>
              <a:ext cx="222250" cy="159385"/>
            </a:xfrm>
            <a:custGeom>
              <a:avLst/>
              <a:gdLst/>
              <a:ahLst/>
              <a:cxnLst/>
              <a:rect l="l" t="t" r="r" b="b"/>
              <a:pathLst>
                <a:path w="222250" h="159385" extrusionOk="0">
                  <a:moveTo>
                    <a:pt x="47625" y="12700"/>
                  </a:moveTo>
                  <a:lnTo>
                    <a:pt x="26035" y="0"/>
                  </a:lnTo>
                  <a:lnTo>
                    <a:pt x="0" y="43180"/>
                  </a:lnTo>
                  <a:lnTo>
                    <a:pt x="22225" y="56515"/>
                  </a:lnTo>
                  <a:lnTo>
                    <a:pt x="174625" y="146050"/>
                  </a:lnTo>
                  <a:lnTo>
                    <a:pt x="196215" y="159385"/>
                  </a:lnTo>
                  <a:lnTo>
                    <a:pt x="222250" y="115570"/>
                  </a:lnTo>
                  <a:lnTo>
                    <a:pt x="200025" y="10223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325" name="Google Shape;1325;p16"/>
            <p:cNvSpPr/>
            <p:nvPr/>
          </p:nvSpPr>
          <p:spPr>
            <a:xfrm>
              <a:off x="10841990" y="4313554"/>
              <a:ext cx="222250" cy="159385"/>
            </a:xfrm>
            <a:custGeom>
              <a:avLst/>
              <a:gdLst/>
              <a:ahLst/>
              <a:cxnLst/>
              <a:rect l="l" t="t" r="r" b="b"/>
              <a:pathLst>
                <a:path w="222250" h="159385" extrusionOk="0">
                  <a:moveTo>
                    <a:pt x="174625" y="146050"/>
                  </a:moveTo>
                  <a:lnTo>
                    <a:pt x="196215" y="159385"/>
                  </a:lnTo>
                  <a:lnTo>
                    <a:pt x="222250" y="115570"/>
                  </a:lnTo>
                  <a:lnTo>
                    <a:pt x="200025" y="102235"/>
                  </a:lnTo>
                  <a:lnTo>
                    <a:pt x="47625" y="12700"/>
                  </a:lnTo>
                  <a:lnTo>
                    <a:pt x="26035" y="0"/>
                  </a:lnTo>
                  <a:lnTo>
                    <a:pt x="0" y="43180"/>
                  </a:lnTo>
                  <a:lnTo>
                    <a:pt x="22225"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326" name="Google Shape;1326;p16"/>
            <p:cNvSpPr/>
            <p:nvPr/>
          </p:nvSpPr>
          <p:spPr>
            <a:xfrm>
              <a:off x="11476990" y="4675504"/>
              <a:ext cx="222250" cy="159385"/>
            </a:xfrm>
            <a:custGeom>
              <a:avLst/>
              <a:gdLst/>
              <a:ahLst/>
              <a:cxnLst/>
              <a:rect l="l" t="t" r="r" b="b"/>
              <a:pathLst>
                <a:path w="222250" h="159385" extrusionOk="0">
                  <a:moveTo>
                    <a:pt x="174625" y="146050"/>
                  </a:moveTo>
                  <a:lnTo>
                    <a:pt x="196215" y="159385"/>
                  </a:lnTo>
                  <a:lnTo>
                    <a:pt x="222250" y="115570"/>
                  </a:lnTo>
                  <a:lnTo>
                    <a:pt x="200025" y="102235"/>
                  </a:lnTo>
                  <a:lnTo>
                    <a:pt x="47625" y="12700"/>
                  </a:lnTo>
                  <a:lnTo>
                    <a:pt x="26035" y="0"/>
                  </a:lnTo>
                  <a:lnTo>
                    <a:pt x="0" y="43180"/>
                  </a:lnTo>
                  <a:lnTo>
                    <a:pt x="22225"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327" name="Google Shape;1327;p16"/>
            <p:cNvSpPr/>
            <p:nvPr/>
          </p:nvSpPr>
          <p:spPr>
            <a:xfrm>
              <a:off x="12111990" y="5037454"/>
              <a:ext cx="80009" cy="90804"/>
            </a:xfrm>
            <a:custGeom>
              <a:avLst/>
              <a:gdLst/>
              <a:ahLst/>
              <a:cxnLst/>
              <a:rect l="l" t="t" r="r" b="b"/>
              <a:pathLst>
                <a:path w="80009" h="90804" extrusionOk="0">
                  <a:moveTo>
                    <a:pt x="26035" y="0"/>
                  </a:moveTo>
                  <a:lnTo>
                    <a:pt x="0" y="43180"/>
                  </a:lnTo>
                  <a:lnTo>
                    <a:pt x="22225" y="56515"/>
                  </a:lnTo>
                  <a:lnTo>
                    <a:pt x="80010" y="90805"/>
                  </a:lnTo>
                  <a:lnTo>
                    <a:pt x="80010" y="31750"/>
                  </a:lnTo>
                  <a:lnTo>
                    <a:pt x="47625" y="1270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328" name="Google Shape;1328;p16"/>
            <p:cNvSpPr/>
            <p:nvPr/>
          </p:nvSpPr>
          <p:spPr>
            <a:xfrm>
              <a:off x="3749040" y="0"/>
              <a:ext cx="218439" cy="113664"/>
            </a:xfrm>
            <a:custGeom>
              <a:avLst/>
              <a:gdLst/>
              <a:ahLst/>
              <a:cxnLst/>
              <a:rect l="l" t="t" r="r" b="b"/>
              <a:pathLst>
                <a:path w="218439" h="113664" extrusionOk="0">
                  <a:moveTo>
                    <a:pt x="175895" y="104140"/>
                  </a:moveTo>
                  <a:lnTo>
                    <a:pt x="199390" y="113665"/>
                  </a:lnTo>
                  <a:lnTo>
                    <a:pt x="218440" y="66675"/>
                  </a:lnTo>
                  <a:lnTo>
                    <a:pt x="194945" y="57150"/>
                  </a:lnTo>
                  <a:lnTo>
                    <a:pt x="54610" y="0"/>
                  </a:lnTo>
                  <a:lnTo>
                    <a:pt x="13335" y="0"/>
                  </a:lnTo>
                  <a:lnTo>
                    <a:pt x="0" y="32385"/>
                  </a:lnTo>
                  <a:lnTo>
                    <a:pt x="23495" y="4191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329" name="Google Shape;1329;p16"/>
            <p:cNvSpPr/>
            <p:nvPr/>
          </p:nvSpPr>
          <p:spPr>
            <a:xfrm>
              <a:off x="4384040" y="347345"/>
              <a:ext cx="218439" cy="128270"/>
            </a:xfrm>
            <a:custGeom>
              <a:avLst/>
              <a:gdLst/>
              <a:ahLst/>
              <a:cxnLst/>
              <a:rect l="l" t="t" r="r" b="b"/>
              <a:pathLst>
                <a:path w="218439" h="128270" extrusionOk="0">
                  <a:moveTo>
                    <a:pt x="19050" y="0"/>
                  </a:moveTo>
                  <a:lnTo>
                    <a:pt x="0" y="46990"/>
                  </a:lnTo>
                  <a:lnTo>
                    <a:pt x="23495" y="56515"/>
                  </a:lnTo>
                  <a:lnTo>
                    <a:pt x="175895" y="118745"/>
                  </a:lnTo>
                  <a:lnTo>
                    <a:pt x="199390" y="128270"/>
                  </a:lnTo>
                  <a:lnTo>
                    <a:pt x="218440" y="81280"/>
                  </a:lnTo>
                  <a:lnTo>
                    <a:pt x="194945" y="71755"/>
                  </a:lnTo>
                  <a:lnTo>
                    <a:pt x="42545" y="952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330" name="Google Shape;1330;p16"/>
            <p:cNvSpPr/>
            <p:nvPr/>
          </p:nvSpPr>
          <p:spPr>
            <a:xfrm>
              <a:off x="5019040" y="709294"/>
              <a:ext cx="218439" cy="128269"/>
            </a:xfrm>
            <a:custGeom>
              <a:avLst/>
              <a:gdLst/>
              <a:ahLst/>
              <a:cxnLst/>
              <a:rect l="l" t="t" r="r" b="b"/>
              <a:pathLst>
                <a:path w="218439" h="128269" extrusionOk="0">
                  <a:moveTo>
                    <a:pt x="19050" y="0"/>
                  </a:moveTo>
                  <a:lnTo>
                    <a:pt x="0" y="46990"/>
                  </a:lnTo>
                  <a:lnTo>
                    <a:pt x="23495" y="56515"/>
                  </a:lnTo>
                  <a:lnTo>
                    <a:pt x="175895" y="118745"/>
                  </a:lnTo>
                  <a:lnTo>
                    <a:pt x="199390" y="128270"/>
                  </a:lnTo>
                  <a:lnTo>
                    <a:pt x="218440" y="81280"/>
                  </a:lnTo>
                  <a:lnTo>
                    <a:pt x="194945" y="71755"/>
                  </a:lnTo>
                  <a:lnTo>
                    <a:pt x="42545" y="952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331" name="Google Shape;1331;p16"/>
            <p:cNvSpPr/>
            <p:nvPr/>
          </p:nvSpPr>
          <p:spPr>
            <a:xfrm>
              <a:off x="5654040" y="1071244"/>
              <a:ext cx="218439" cy="128269"/>
            </a:xfrm>
            <a:custGeom>
              <a:avLst/>
              <a:gdLst/>
              <a:ahLst/>
              <a:cxnLst/>
              <a:rect l="l" t="t" r="r" b="b"/>
              <a:pathLst>
                <a:path w="218439" h="128269" extrusionOk="0">
                  <a:moveTo>
                    <a:pt x="19050" y="0"/>
                  </a:moveTo>
                  <a:lnTo>
                    <a:pt x="0" y="46990"/>
                  </a:lnTo>
                  <a:lnTo>
                    <a:pt x="23495" y="56515"/>
                  </a:lnTo>
                  <a:lnTo>
                    <a:pt x="175895" y="118745"/>
                  </a:lnTo>
                  <a:lnTo>
                    <a:pt x="199390" y="128270"/>
                  </a:lnTo>
                  <a:lnTo>
                    <a:pt x="218440" y="81280"/>
                  </a:lnTo>
                  <a:lnTo>
                    <a:pt x="194945" y="71755"/>
                  </a:lnTo>
                  <a:lnTo>
                    <a:pt x="42545" y="952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332" name="Google Shape;1332;p16"/>
            <p:cNvSpPr/>
            <p:nvPr/>
          </p:nvSpPr>
          <p:spPr>
            <a:xfrm>
              <a:off x="6289040" y="1433194"/>
              <a:ext cx="218440" cy="128269"/>
            </a:xfrm>
            <a:custGeom>
              <a:avLst/>
              <a:gdLst/>
              <a:ahLst/>
              <a:cxnLst/>
              <a:rect l="l" t="t" r="r" b="b"/>
              <a:pathLst>
                <a:path w="218440" h="128269" extrusionOk="0">
                  <a:moveTo>
                    <a:pt x="42545" y="9525"/>
                  </a:moveTo>
                  <a:lnTo>
                    <a:pt x="19050" y="0"/>
                  </a:lnTo>
                  <a:lnTo>
                    <a:pt x="0" y="46990"/>
                  </a:lnTo>
                  <a:lnTo>
                    <a:pt x="23495" y="56515"/>
                  </a:lnTo>
                  <a:lnTo>
                    <a:pt x="175895" y="118745"/>
                  </a:lnTo>
                  <a:lnTo>
                    <a:pt x="199390" y="128270"/>
                  </a:lnTo>
                  <a:lnTo>
                    <a:pt x="218440" y="81280"/>
                  </a:lnTo>
                  <a:lnTo>
                    <a:pt x="194945" y="7175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333" name="Google Shape;1333;p16"/>
            <p:cNvSpPr/>
            <p:nvPr/>
          </p:nvSpPr>
          <p:spPr>
            <a:xfrm>
              <a:off x="6924040" y="1795145"/>
              <a:ext cx="218440" cy="128269"/>
            </a:xfrm>
            <a:custGeom>
              <a:avLst/>
              <a:gdLst/>
              <a:ahLst/>
              <a:cxnLst/>
              <a:rect l="l" t="t" r="r" b="b"/>
              <a:pathLst>
                <a:path w="218440" h="128269" extrusionOk="0">
                  <a:moveTo>
                    <a:pt x="175895" y="118745"/>
                  </a:moveTo>
                  <a:lnTo>
                    <a:pt x="199390" y="128270"/>
                  </a:lnTo>
                  <a:lnTo>
                    <a:pt x="218440" y="81280"/>
                  </a:lnTo>
                  <a:lnTo>
                    <a:pt x="194945" y="71755"/>
                  </a:lnTo>
                  <a:lnTo>
                    <a:pt x="42545" y="9525"/>
                  </a:lnTo>
                  <a:lnTo>
                    <a:pt x="19050" y="0"/>
                  </a:lnTo>
                  <a:lnTo>
                    <a:pt x="0" y="46990"/>
                  </a:lnTo>
                  <a:lnTo>
                    <a:pt x="23495"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334" name="Google Shape;1334;p16"/>
            <p:cNvSpPr/>
            <p:nvPr/>
          </p:nvSpPr>
          <p:spPr>
            <a:xfrm>
              <a:off x="7559040" y="2157095"/>
              <a:ext cx="218440" cy="128269"/>
            </a:xfrm>
            <a:custGeom>
              <a:avLst/>
              <a:gdLst/>
              <a:ahLst/>
              <a:cxnLst/>
              <a:rect l="l" t="t" r="r" b="b"/>
              <a:pathLst>
                <a:path w="218440" h="128269" extrusionOk="0">
                  <a:moveTo>
                    <a:pt x="175895" y="118745"/>
                  </a:moveTo>
                  <a:lnTo>
                    <a:pt x="199390" y="128270"/>
                  </a:lnTo>
                  <a:lnTo>
                    <a:pt x="218440" y="81280"/>
                  </a:lnTo>
                  <a:lnTo>
                    <a:pt x="194945" y="71755"/>
                  </a:lnTo>
                  <a:lnTo>
                    <a:pt x="42545" y="9525"/>
                  </a:lnTo>
                  <a:lnTo>
                    <a:pt x="19050" y="0"/>
                  </a:lnTo>
                  <a:lnTo>
                    <a:pt x="0" y="46990"/>
                  </a:lnTo>
                  <a:lnTo>
                    <a:pt x="23495"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335" name="Google Shape;1335;p16"/>
            <p:cNvSpPr/>
            <p:nvPr/>
          </p:nvSpPr>
          <p:spPr>
            <a:xfrm>
              <a:off x="8194040" y="2519045"/>
              <a:ext cx="218440" cy="128269"/>
            </a:xfrm>
            <a:custGeom>
              <a:avLst/>
              <a:gdLst/>
              <a:ahLst/>
              <a:cxnLst/>
              <a:rect l="l" t="t" r="r" b="b"/>
              <a:pathLst>
                <a:path w="218440" h="128269" extrusionOk="0">
                  <a:moveTo>
                    <a:pt x="175895" y="118745"/>
                  </a:moveTo>
                  <a:lnTo>
                    <a:pt x="199390" y="128270"/>
                  </a:lnTo>
                  <a:lnTo>
                    <a:pt x="218440" y="81280"/>
                  </a:lnTo>
                  <a:lnTo>
                    <a:pt x="194945" y="71755"/>
                  </a:lnTo>
                  <a:lnTo>
                    <a:pt x="42545" y="9525"/>
                  </a:lnTo>
                  <a:lnTo>
                    <a:pt x="19050" y="0"/>
                  </a:lnTo>
                  <a:lnTo>
                    <a:pt x="0" y="46990"/>
                  </a:lnTo>
                  <a:lnTo>
                    <a:pt x="23495"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336" name="Google Shape;1336;p16"/>
            <p:cNvSpPr/>
            <p:nvPr/>
          </p:nvSpPr>
          <p:spPr>
            <a:xfrm>
              <a:off x="8829040" y="2880995"/>
              <a:ext cx="218440" cy="128269"/>
            </a:xfrm>
            <a:custGeom>
              <a:avLst/>
              <a:gdLst/>
              <a:ahLst/>
              <a:cxnLst/>
              <a:rect l="l" t="t" r="r" b="b"/>
              <a:pathLst>
                <a:path w="218440" h="128269" extrusionOk="0">
                  <a:moveTo>
                    <a:pt x="42545" y="9525"/>
                  </a:moveTo>
                  <a:lnTo>
                    <a:pt x="19050" y="0"/>
                  </a:lnTo>
                  <a:lnTo>
                    <a:pt x="0" y="46990"/>
                  </a:lnTo>
                  <a:lnTo>
                    <a:pt x="23495" y="56515"/>
                  </a:lnTo>
                  <a:lnTo>
                    <a:pt x="175895" y="118745"/>
                  </a:lnTo>
                  <a:lnTo>
                    <a:pt x="199390" y="128270"/>
                  </a:lnTo>
                  <a:lnTo>
                    <a:pt x="218440" y="81280"/>
                  </a:lnTo>
                  <a:lnTo>
                    <a:pt x="194945" y="7175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337" name="Google Shape;1337;p16"/>
            <p:cNvSpPr/>
            <p:nvPr/>
          </p:nvSpPr>
          <p:spPr>
            <a:xfrm>
              <a:off x="9464040" y="3242945"/>
              <a:ext cx="218440" cy="128270"/>
            </a:xfrm>
            <a:custGeom>
              <a:avLst/>
              <a:gdLst/>
              <a:ahLst/>
              <a:cxnLst/>
              <a:rect l="l" t="t" r="r" b="b"/>
              <a:pathLst>
                <a:path w="218440" h="128270" extrusionOk="0">
                  <a:moveTo>
                    <a:pt x="175895" y="118745"/>
                  </a:moveTo>
                  <a:lnTo>
                    <a:pt x="199390" y="128270"/>
                  </a:lnTo>
                  <a:lnTo>
                    <a:pt x="218440" y="81280"/>
                  </a:lnTo>
                  <a:lnTo>
                    <a:pt x="194945" y="71755"/>
                  </a:lnTo>
                  <a:lnTo>
                    <a:pt x="42545" y="9525"/>
                  </a:lnTo>
                  <a:lnTo>
                    <a:pt x="19050" y="0"/>
                  </a:lnTo>
                  <a:lnTo>
                    <a:pt x="0" y="46990"/>
                  </a:lnTo>
                  <a:lnTo>
                    <a:pt x="23495"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338" name="Google Shape;1338;p16"/>
            <p:cNvSpPr/>
            <p:nvPr/>
          </p:nvSpPr>
          <p:spPr>
            <a:xfrm>
              <a:off x="10099040" y="3604895"/>
              <a:ext cx="218440" cy="128270"/>
            </a:xfrm>
            <a:custGeom>
              <a:avLst/>
              <a:gdLst/>
              <a:ahLst/>
              <a:cxnLst/>
              <a:rect l="l" t="t" r="r" b="b"/>
              <a:pathLst>
                <a:path w="218440" h="128270" extrusionOk="0">
                  <a:moveTo>
                    <a:pt x="175895" y="118745"/>
                  </a:moveTo>
                  <a:lnTo>
                    <a:pt x="199390" y="128270"/>
                  </a:lnTo>
                  <a:lnTo>
                    <a:pt x="218440" y="81280"/>
                  </a:lnTo>
                  <a:lnTo>
                    <a:pt x="194945" y="71755"/>
                  </a:lnTo>
                  <a:lnTo>
                    <a:pt x="42545" y="9525"/>
                  </a:lnTo>
                  <a:lnTo>
                    <a:pt x="19050" y="0"/>
                  </a:lnTo>
                  <a:lnTo>
                    <a:pt x="0" y="46990"/>
                  </a:lnTo>
                  <a:lnTo>
                    <a:pt x="23495"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339" name="Google Shape;1339;p16"/>
            <p:cNvSpPr/>
            <p:nvPr/>
          </p:nvSpPr>
          <p:spPr>
            <a:xfrm>
              <a:off x="10734040" y="3966845"/>
              <a:ext cx="218440" cy="128270"/>
            </a:xfrm>
            <a:custGeom>
              <a:avLst/>
              <a:gdLst/>
              <a:ahLst/>
              <a:cxnLst/>
              <a:rect l="l" t="t" r="r" b="b"/>
              <a:pathLst>
                <a:path w="218440" h="128270" extrusionOk="0">
                  <a:moveTo>
                    <a:pt x="175895" y="118745"/>
                  </a:moveTo>
                  <a:lnTo>
                    <a:pt x="199390" y="128270"/>
                  </a:lnTo>
                  <a:lnTo>
                    <a:pt x="218440" y="81280"/>
                  </a:lnTo>
                  <a:lnTo>
                    <a:pt x="194945" y="71755"/>
                  </a:lnTo>
                  <a:lnTo>
                    <a:pt x="42545" y="9525"/>
                  </a:lnTo>
                  <a:lnTo>
                    <a:pt x="19050" y="0"/>
                  </a:lnTo>
                  <a:lnTo>
                    <a:pt x="0" y="46990"/>
                  </a:lnTo>
                  <a:lnTo>
                    <a:pt x="23495"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340" name="Google Shape;1340;p16"/>
            <p:cNvSpPr/>
            <p:nvPr/>
          </p:nvSpPr>
          <p:spPr>
            <a:xfrm>
              <a:off x="11369040" y="4328795"/>
              <a:ext cx="218440" cy="128270"/>
            </a:xfrm>
            <a:custGeom>
              <a:avLst/>
              <a:gdLst/>
              <a:ahLst/>
              <a:cxnLst/>
              <a:rect l="l" t="t" r="r" b="b"/>
              <a:pathLst>
                <a:path w="218440" h="128270" extrusionOk="0">
                  <a:moveTo>
                    <a:pt x="175895" y="118745"/>
                  </a:moveTo>
                  <a:lnTo>
                    <a:pt x="199390" y="128270"/>
                  </a:lnTo>
                  <a:lnTo>
                    <a:pt x="218440" y="81280"/>
                  </a:lnTo>
                  <a:lnTo>
                    <a:pt x="194945" y="71755"/>
                  </a:lnTo>
                  <a:lnTo>
                    <a:pt x="42545" y="9525"/>
                  </a:lnTo>
                  <a:lnTo>
                    <a:pt x="19050" y="0"/>
                  </a:lnTo>
                  <a:lnTo>
                    <a:pt x="0" y="46990"/>
                  </a:lnTo>
                  <a:lnTo>
                    <a:pt x="23495"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341" name="Google Shape;1341;p16"/>
            <p:cNvSpPr/>
            <p:nvPr/>
          </p:nvSpPr>
          <p:spPr>
            <a:xfrm>
              <a:off x="12004040" y="4690745"/>
              <a:ext cx="187959" cy="123825"/>
            </a:xfrm>
            <a:custGeom>
              <a:avLst/>
              <a:gdLst/>
              <a:ahLst/>
              <a:cxnLst/>
              <a:rect l="l" t="t" r="r" b="b"/>
              <a:pathLst>
                <a:path w="187959" h="123825" extrusionOk="0">
                  <a:moveTo>
                    <a:pt x="19050" y="0"/>
                  </a:moveTo>
                  <a:lnTo>
                    <a:pt x="0" y="46990"/>
                  </a:lnTo>
                  <a:lnTo>
                    <a:pt x="23495" y="56515"/>
                  </a:lnTo>
                  <a:lnTo>
                    <a:pt x="175895" y="118745"/>
                  </a:lnTo>
                  <a:lnTo>
                    <a:pt x="187960" y="123825"/>
                  </a:lnTo>
                  <a:lnTo>
                    <a:pt x="187960" y="68580"/>
                  </a:lnTo>
                  <a:lnTo>
                    <a:pt x="42545" y="952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342" name="Google Shape;1342;p16"/>
            <p:cNvSpPr/>
            <p:nvPr/>
          </p:nvSpPr>
          <p:spPr>
            <a:xfrm>
              <a:off x="4319270" y="3810"/>
              <a:ext cx="212725" cy="92075"/>
            </a:xfrm>
            <a:custGeom>
              <a:avLst/>
              <a:gdLst/>
              <a:ahLst/>
              <a:cxnLst/>
              <a:rect l="l" t="t" r="r" b="b"/>
              <a:pathLst>
                <a:path w="212725" h="92075" extrusionOk="0">
                  <a:moveTo>
                    <a:pt x="177165" y="86360"/>
                  </a:moveTo>
                  <a:lnTo>
                    <a:pt x="201930" y="92075"/>
                  </a:lnTo>
                  <a:lnTo>
                    <a:pt x="212725" y="41910"/>
                  </a:lnTo>
                  <a:lnTo>
                    <a:pt x="187325" y="36830"/>
                  </a:lnTo>
                  <a:lnTo>
                    <a:pt x="34925" y="5080"/>
                  </a:lnTo>
                  <a:lnTo>
                    <a:pt x="10160" y="0"/>
                  </a:lnTo>
                  <a:lnTo>
                    <a:pt x="0" y="49530"/>
                  </a:lnTo>
                  <a:lnTo>
                    <a:pt x="24765" y="5461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343" name="Google Shape;1343;p16"/>
            <p:cNvSpPr/>
            <p:nvPr/>
          </p:nvSpPr>
          <p:spPr>
            <a:xfrm>
              <a:off x="4954270" y="365759"/>
              <a:ext cx="212725" cy="92075"/>
            </a:xfrm>
            <a:custGeom>
              <a:avLst/>
              <a:gdLst/>
              <a:ahLst/>
              <a:cxnLst/>
              <a:rect l="l" t="t" r="r" b="b"/>
              <a:pathLst>
                <a:path w="212725" h="92075" extrusionOk="0">
                  <a:moveTo>
                    <a:pt x="10160" y="0"/>
                  </a:moveTo>
                  <a:lnTo>
                    <a:pt x="0" y="49530"/>
                  </a:lnTo>
                  <a:lnTo>
                    <a:pt x="24765" y="54610"/>
                  </a:lnTo>
                  <a:lnTo>
                    <a:pt x="177165" y="86360"/>
                  </a:lnTo>
                  <a:lnTo>
                    <a:pt x="201930" y="92075"/>
                  </a:lnTo>
                  <a:lnTo>
                    <a:pt x="212725" y="41910"/>
                  </a:lnTo>
                  <a:lnTo>
                    <a:pt x="187325" y="36830"/>
                  </a:lnTo>
                  <a:lnTo>
                    <a:pt x="34925" y="50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344" name="Google Shape;1344;p16"/>
            <p:cNvSpPr/>
            <p:nvPr/>
          </p:nvSpPr>
          <p:spPr>
            <a:xfrm>
              <a:off x="5589270" y="727709"/>
              <a:ext cx="212725" cy="92075"/>
            </a:xfrm>
            <a:custGeom>
              <a:avLst/>
              <a:gdLst/>
              <a:ahLst/>
              <a:cxnLst/>
              <a:rect l="l" t="t" r="r" b="b"/>
              <a:pathLst>
                <a:path w="212725" h="92075" extrusionOk="0">
                  <a:moveTo>
                    <a:pt x="34925" y="5080"/>
                  </a:moveTo>
                  <a:lnTo>
                    <a:pt x="10160" y="0"/>
                  </a:lnTo>
                  <a:lnTo>
                    <a:pt x="0" y="49530"/>
                  </a:lnTo>
                  <a:lnTo>
                    <a:pt x="24765" y="54610"/>
                  </a:lnTo>
                  <a:lnTo>
                    <a:pt x="177165" y="86360"/>
                  </a:lnTo>
                  <a:lnTo>
                    <a:pt x="201930" y="92075"/>
                  </a:lnTo>
                  <a:lnTo>
                    <a:pt x="212725" y="41910"/>
                  </a:lnTo>
                  <a:lnTo>
                    <a:pt x="187325" y="3683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345" name="Google Shape;1345;p16"/>
            <p:cNvSpPr/>
            <p:nvPr/>
          </p:nvSpPr>
          <p:spPr>
            <a:xfrm>
              <a:off x="6224270" y="1089660"/>
              <a:ext cx="212725" cy="92075"/>
            </a:xfrm>
            <a:custGeom>
              <a:avLst/>
              <a:gdLst/>
              <a:ahLst/>
              <a:cxnLst/>
              <a:rect l="l" t="t" r="r" b="b"/>
              <a:pathLst>
                <a:path w="212725" h="92075" extrusionOk="0">
                  <a:moveTo>
                    <a:pt x="201930" y="92075"/>
                  </a:moveTo>
                  <a:lnTo>
                    <a:pt x="212725" y="41910"/>
                  </a:lnTo>
                  <a:lnTo>
                    <a:pt x="187325" y="36830"/>
                  </a:lnTo>
                  <a:lnTo>
                    <a:pt x="34925" y="5080"/>
                  </a:lnTo>
                  <a:lnTo>
                    <a:pt x="10160" y="0"/>
                  </a:lnTo>
                  <a:lnTo>
                    <a:pt x="0" y="49530"/>
                  </a:lnTo>
                  <a:lnTo>
                    <a:pt x="24765" y="54610"/>
                  </a:lnTo>
                  <a:lnTo>
                    <a:pt x="177165" y="8636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346" name="Google Shape;1346;p16"/>
            <p:cNvSpPr/>
            <p:nvPr/>
          </p:nvSpPr>
          <p:spPr>
            <a:xfrm>
              <a:off x="6859269" y="1451610"/>
              <a:ext cx="212725" cy="92075"/>
            </a:xfrm>
            <a:custGeom>
              <a:avLst/>
              <a:gdLst/>
              <a:ahLst/>
              <a:cxnLst/>
              <a:rect l="l" t="t" r="r" b="b"/>
              <a:pathLst>
                <a:path w="212725" h="92075" extrusionOk="0">
                  <a:moveTo>
                    <a:pt x="201930" y="92075"/>
                  </a:moveTo>
                  <a:lnTo>
                    <a:pt x="212725" y="41910"/>
                  </a:lnTo>
                  <a:lnTo>
                    <a:pt x="187325" y="36830"/>
                  </a:lnTo>
                  <a:lnTo>
                    <a:pt x="34925" y="5080"/>
                  </a:lnTo>
                  <a:lnTo>
                    <a:pt x="10161" y="0"/>
                  </a:lnTo>
                  <a:lnTo>
                    <a:pt x="0" y="49530"/>
                  </a:lnTo>
                  <a:lnTo>
                    <a:pt x="24765" y="54610"/>
                  </a:lnTo>
                  <a:lnTo>
                    <a:pt x="177165" y="8636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347" name="Google Shape;1347;p16"/>
            <p:cNvSpPr/>
            <p:nvPr/>
          </p:nvSpPr>
          <p:spPr>
            <a:xfrm>
              <a:off x="7494269" y="1813560"/>
              <a:ext cx="212725" cy="92075"/>
            </a:xfrm>
            <a:custGeom>
              <a:avLst/>
              <a:gdLst/>
              <a:ahLst/>
              <a:cxnLst/>
              <a:rect l="l" t="t" r="r" b="b"/>
              <a:pathLst>
                <a:path w="212725" h="92075" extrusionOk="0">
                  <a:moveTo>
                    <a:pt x="201930" y="92075"/>
                  </a:moveTo>
                  <a:lnTo>
                    <a:pt x="212725" y="41910"/>
                  </a:lnTo>
                  <a:lnTo>
                    <a:pt x="187325" y="36830"/>
                  </a:lnTo>
                  <a:lnTo>
                    <a:pt x="34925" y="5080"/>
                  </a:lnTo>
                  <a:lnTo>
                    <a:pt x="10161" y="0"/>
                  </a:lnTo>
                  <a:lnTo>
                    <a:pt x="0" y="49530"/>
                  </a:lnTo>
                  <a:lnTo>
                    <a:pt x="24765" y="54610"/>
                  </a:lnTo>
                  <a:lnTo>
                    <a:pt x="177165" y="8636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348" name="Google Shape;1348;p16"/>
            <p:cNvSpPr/>
            <p:nvPr/>
          </p:nvSpPr>
          <p:spPr>
            <a:xfrm>
              <a:off x="8129269" y="2175510"/>
              <a:ext cx="212725" cy="92075"/>
            </a:xfrm>
            <a:custGeom>
              <a:avLst/>
              <a:gdLst/>
              <a:ahLst/>
              <a:cxnLst/>
              <a:rect l="l" t="t" r="r" b="b"/>
              <a:pathLst>
                <a:path w="212725" h="92075" extrusionOk="0">
                  <a:moveTo>
                    <a:pt x="201930" y="92075"/>
                  </a:moveTo>
                  <a:lnTo>
                    <a:pt x="212725" y="41910"/>
                  </a:lnTo>
                  <a:lnTo>
                    <a:pt x="187325" y="36830"/>
                  </a:lnTo>
                  <a:lnTo>
                    <a:pt x="34925" y="5080"/>
                  </a:lnTo>
                  <a:lnTo>
                    <a:pt x="10161" y="0"/>
                  </a:lnTo>
                  <a:lnTo>
                    <a:pt x="0" y="49530"/>
                  </a:lnTo>
                  <a:lnTo>
                    <a:pt x="24765" y="54610"/>
                  </a:lnTo>
                  <a:lnTo>
                    <a:pt x="177165" y="8636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349" name="Google Shape;1349;p16"/>
            <p:cNvSpPr/>
            <p:nvPr/>
          </p:nvSpPr>
          <p:spPr>
            <a:xfrm>
              <a:off x="8764269" y="2537460"/>
              <a:ext cx="212725" cy="92075"/>
            </a:xfrm>
            <a:custGeom>
              <a:avLst/>
              <a:gdLst/>
              <a:ahLst/>
              <a:cxnLst/>
              <a:rect l="l" t="t" r="r" b="b"/>
              <a:pathLst>
                <a:path w="212725" h="92075" extrusionOk="0">
                  <a:moveTo>
                    <a:pt x="34925" y="5080"/>
                  </a:moveTo>
                  <a:lnTo>
                    <a:pt x="10161" y="0"/>
                  </a:lnTo>
                  <a:lnTo>
                    <a:pt x="0" y="49530"/>
                  </a:lnTo>
                  <a:lnTo>
                    <a:pt x="24765" y="54610"/>
                  </a:lnTo>
                  <a:lnTo>
                    <a:pt x="177165" y="86360"/>
                  </a:lnTo>
                  <a:lnTo>
                    <a:pt x="201930" y="92075"/>
                  </a:lnTo>
                  <a:lnTo>
                    <a:pt x="212725" y="41910"/>
                  </a:lnTo>
                  <a:lnTo>
                    <a:pt x="187325" y="3683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350" name="Google Shape;1350;p16"/>
            <p:cNvSpPr/>
            <p:nvPr/>
          </p:nvSpPr>
          <p:spPr>
            <a:xfrm>
              <a:off x="9399269" y="2899410"/>
              <a:ext cx="212725" cy="92075"/>
            </a:xfrm>
            <a:custGeom>
              <a:avLst/>
              <a:gdLst/>
              <a:ahLst/>
              <a:cxnLst/>
              <a:rect l="l" t="t" r="r" b="b"/>
              <a:pathLst>
                <a:path w="212725" h="92075" extrusionOk="0">
                  <a:moveTo>
                    <a:pt x="201930" y="92075"/>
                  </a:moveTo>
                  <a:lnTo>
                    <a:pt x="212725" y="41910"/>
                  </a:lnTo>
                  <a:lnTo>
                    <a:pt x="187325" y="36830"/>
                  </a:lnTo>
                  <a:lnTo>
                    <a:pt x="34925" y="5080"/>
                  </a:lnTo>
                  <a:lnTo>
                    <a:pt x="10161" y="0"/>
                  </a:lnTo>
                  <a:lnTo>
                    <a:pt x="0" y="49530"/>
                  </a:lnTo>
                  <a:lnTo>
                    <a:pt x="24765" y="54610"/>
                  </a:lnTo>
                  <a:lnTo>
                    <a:pt x="177165" y="8636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351" name="Google Shape;1351;p16"/>
            <p:cNvSpPr/>
            <p:nvPr/>
          </p:nvSpPr>
          <p:spPr>
            <a:xfrm>
              <a:off x="10034269" y="3261359"/>
              <a:ext cx="212725" cy="92075"/>
            </a:xfrm>
            <a:custGeom>
              <a:avLst/>
              <a:gdLst/>
              <a:ahLst/>
              <a:cxnLst/>
              <a:rect l="l" t="t" r="r" b="b"/>
              <a:pathLst>
                <a:path w="212725" h="92075" extrusionOk="0">
                  <a:moveTo>
                    <a:pt x="201930" y="92075"/>
                  </a:moveTo>
                  <a:lnTo>
                    <a:pt x="212725" y="41910"/>
                  </a:lnTo>
                  <a:lnTo>
                    <a:pt x="187325" y="36830"/>
                  </a:lnTo>
                  <a:lnTo>
                    <a:pt x="34925" y="5080"/>
                  </a:lnTo>
                  <a:lnTo>
                    <a:pt x="10161" y="0"/>
                  </a:lnTo>
                  <a:lnTo>
                    <a:pt x="0" y="49530"/>
                  </a:lnTo>
                  <a:lnTo>
                    <a:pt x="24765" y="54610"/>
                  </a:lnTo>
                  <a:lnTo>
                    <a:pt x="177165" y="8636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352" name="Google Shape;1352;p16"/>
            <p:cNvSpPr/>
            <p:nvPr/>
          </p:nvSpPr>
          <p:spPr>
            <a:xfrm>
              <a:off x="10669269" y="3623309"/>
              <a:ext cx="212725" cy="92075"/>
            </a:xfrm>
            <a:custGeom>
              <a:avLst/>
              <a:gdLst/>
              <a:ahLst/>
              <a:cxnLst/>
              <a:rect l="l" t="t" r="r" b="b"/>
              <a:pathLst>
                <a:path w="212725" h="92075" extrusionOk="0">
                  <a:moveTo>
                    <a:pt x="201930" y="92075"/>
                  </a:moveTo>
                  <a:lnTo>
                    <a:pt x="212725" y="41910"/>
                  </a:lnTo>
                  <a:lnTo>
                    <a:pt x="187325" y="36830"/>
                  </a:lnTo>
                  <a:lnTo>
                    <a:pt x="34925" y="5080"/>
                  </a:lnTo>
                  <a:lnTo>
                    <a:pt x="10161" y="0"/>
                  </a:lnTo>
                  <a:lnTo>
                    <a:pt x="0" y="49530"/>
                  </a:lnTo>
                  <a:lnTo>
                    <a:pt x="24765" y="54610"/>
                  </a:lnTo>
                  <a:lnTo>
                    <a:pt x="177165" y="8636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353" name="Google Shape;1353;p16"/>
            <p:cNvSpPr/>
            <p:nvPr/>
          </p:nvSpPr>
          <p:spPr>
            <a:xfrm>
              <a:off x="11304269" y="3985259"/>
              <a:ext cx="212725" cy="92075"/>
            </a:xfrm>
            <a:custGeom>
              <a:avLst/>
              <a:gdLst/>
              <a:ahLst/>
              <a:cxnLst/>
              <a:rect l="l" t="t" r="r" b="b"/>
              <a:pathLst>
                <a:path w="212725" h="92075" extrusionOk="0">
                  <a:moveTo>
                    <a:pt x="177165" y="86360"/>
                  </a:moveTo>
                  <a:lnTo>
                    <a:pt x="201930" y="92075"/>
                  </a:lnTo>
                  <a:lnTo>
                    <a:pt x="212725" y="41910"/>
                  </a:lnTo>
                  <a:lnTo>
                    <a:pt x="187325" y="36830"/>
                  </a:lnTo>
                  <a:lnTo>
                    <a:pt x="34925" y="5080"/>
                  </a:lnTo>
                  <a:lnTo>
                    <a:pt x="10161" y="0"/>
                  </a:lnTo>
                  <a:lnTo>
                    <a:pt x="0" y="49530"/>
                  </a:lnTo>
                  <a:lnTo>
                    <a:pt x="24765" y="5461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354" name="Google Shape;1354;p16"/>
            <p:cNvSpPr/>
            <p:nvPr/>
          </p:nvSpPr>
          <p:spPr>
            <a:xfrm>
              <a:off x="11939269" y="4347209"/>
              <a:ext cx="212725" cy="92075"/>
            </a:xfrm>
            <a:custGeom>
              <a:avLst/>
              <a:gdLst/>
              <a:ahLst/>
              <a:cxnLst/>
              <a:rect l="l" t="t" r="r" b="b"/>
              <a:pathLst>
                <a:path w="212725" h="92075" extrusionOk="0">
                  <a:moveTo>
                    <a:pt x="201930" y="92075"/>
                  </a:moveTo>
                  <a:lnTo>
                    <a:pt x="212725" y="41910"/>
                  </a:lnTo>
                  <a:lnTo>
                    <a:pt x="187325" y="36830"/>
                  </a:lnTo>
                  <a:lnTo>
                    <a:pt x="34925" y="5080"/>
                  </a:lnTo>
                  <a:lnTo>
                    <a:pt x="10161" y="0"/>
                  </a:lnTo>
                  <a:lnTo>
                    <a:pt x="0" y="49530"/>
                  </a:lnTo>
                  <a:lnTo>
                    <a:pt x="24765" y="54610"/>
                  </a:lnTo>
                  <a:lnTo>
                    <a:pt x="177165" y="8636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355" name="Google Shape;1355;p16"/>
            <p:cNvSpPr/>
            <p:nvPr/>
          </p:nvSpPr>
          <p:spPr>
            <a:xfrm>
              <a:off x="4935854" y="24129"/>
              <a:ext cx="203200" cy="50800"/>
            </a:xfrm>
            <a:custGeom>
              <a:avLst/>
              <a:gdLst/>
              <a:ahLst/>
              <a:cxnLst/>
              <a:rect l="l" t="t" r="r" b="b"/>
              <a:pathLst>
                <a:path w="203200" h="50800" extrusionOk="0">
                  <a:moveTo>
                    <a:pt x="177800" y="50800"/>
                  </a:moveTo>
                  <a:lnTo>
                    <a:pt x="203200" y="50800"/>
                  </a:lnTo>
                  <a:lnTo>
                    <a:pt x="203200" y="0"/>
                  </a:lnTo>
                  <a:lnTo>
                    <a:pt x="177800" y="0"/>
                  </a:lnTo>
                  <a:lnTo>
                    <a:pt x="25400" y="0"/>
                  </a:lnTo>
                  <a:lnTo>
                    <a:pt x="0" y="0"/>
                  </a:lnTo>
                  <a:lnTo>
                    <a:pt x="0" y="50800"/>
                  </a:lnTo>
                  <a:lnTo>
                    <a:pt x="25400" y="5080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356" name="Google Shape;1356;p16"/>
            <p:cNvSpPr/>
            <p:nvPr/>
          </p:nvSpPr>
          <p:spPr>
            <a:xfrm>
              <a:off x="5570854" y="386079"/>
              <a:ext cx="203200" cy="50800"/>
            </a:xfrm>
            <a:custGeom>
              <a:avLst/>
              <a:gdLst/>
              <a:ahLst/>
              <a:cxnLst/>
              <a:rect l="l" t="t" r="r" b="b"/>
              <a:pathLst>
                <a:path w="203200" h="50800" extrusionOk="0">
                  <a:moveTo>
                    <a:pt x="177800" y="50800"/>
                  </a:moveTo>
                  <a:lnTo>
                    <a:pt x="203200" y="50800"/>
                  </a:lnTo>
                  <a:lnTo>
                    <a:pt x="203200" y="0"/>
                  </a:lnTo>
                  <a:lnTo>
                    <a:pt x="177800" y="0"/>
                  </a:lnTo>
                  <a:lnTo>
                    <a:pt x="25400" y="0"/>
                  </a:lnTo>
                  <a:lnTo>
                    <a:pt x="0" y="0"/>
                  </a:lnTo>
                  <a:lnTo>
                    <a:pt x="0" y="50800"/>
                  </a:lnTo>
                  <a:lnTo>
                    <a:pt x="25400" y="5080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357" name="Google Shape;1357;p16"/>
            <p:cNvSpPr/>
            <p:nvPr/>
          </p:nvSpPr>
          <p:spPr>
            <a:xfrm>
              <a:off x="6205854" y="748030"/>
              <a:ext cx="203200" cy="50800"/>
            </a:xfrm>
            <a:custGeom>
              <a:avLst/>
              <a:gdLst/>
              <a:ahLst/>
              <a:cxnLst/>
              <a:rect l="l" t="t" r="r" b="b"/>
              <a:pathLst>
                <a:path w="203200" h="50800" extrusionOk="0">
                  <a:moveTo>
                    <a:pt x="177800" y="50800"/>
                  </a:moveTo>
                  <a:lnTo>
                    <a:pt x="203200" y="50800"/>
                  </a:lnTo>
                  <a:lnTo>
                    <a:pt x="203200" y="0"/>
                  </a:lnTo>
                  <a:lnTo>
                    <a:pt x="177800" y="0"/>
                  </a:lnTo>
                  <a:lnTo>
                    <a:pt x="25400" y="0"/>
                  </a:lnTo>
                  <a:lnTo>
                    <a:pt x="0" y="0"/>
                  </a:lnTo>
                  <a:lnTo>
                    <a:pt x="0" y="50800"/>
                  </a:lnTo>
                  <a:lnTo>
                    <a:pt x="25400" y="5080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358" name="Google Shape;1358;p16"/>
            <p:cNvSpPr/>
            <p:nvPr/>
          </p:nvSpPr>
          <p:spPr>
            <a:xfrm>
              <a:off x="6840855" y="1109980"/>
              <a:ext cx="203200" cy="50800"/>
            </a:xfrm>
            <a:custGeom>
              <a:avLst/>
              <a:gdLst/>
              <a:ahLst/>
              <a:cxnLst/>
              <a:rect l="l" t="t" r="r" b="b"/>
              <a:pathLst>
                <a:path w="203200" h="50800" extrusionOk="0">
                  <a:moveTo>
                    <a:pt x="177800" y="50800"/>
                  </a:moveTo>
                  <a:lnTo>
                    <a:pt x="203200" y="50800"/>
                  </a:lnTo>
                  <a:lnTo>
                    <a:pt x="203200" y="0"/>
                  </a:lnTo>
                  <a:lnTo>
                    <a:pt x="177800" y="0"/>
                  </a:lnTo>
                  <a:lnTo>
                    <a:pt x="25400" y="0"/>
                  </a:lnTo>
                  <a:lnTo>
                    <a:pt x="0" y="0"/>
                  </a:lnTo>
                  <a:lnTo>
                    <a:pt x="0" y="50800"/>
                  </a:lnTo>
                  <a:lnTo>
                    <a:pt x="25400" y="5080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359" name="Google Shape;1359;p16"/>
            <p:cNvSpPr/>
            <p:nvPr/>
          </p:nvSpPr>
          <p:spPr>
            <a:xfrm>
              <a:off x="7475855" y="1471930"/>
              <a:ext cx="203200" cy="50800"/>
            </a:xfrm>
            <a:custGeom>
              <a:avLst/>
              <a:gdLst/>
              <a:ahLst/>
              <a:cxnLst/>
              <a:rect l="l" t="t" r="r" b="b"/>
              <a:pathLst>
                <a:path w="203200" h="50800" extrusionOk="0">
                  <a:moveTo>
                    <a:pt x="177800" y="50800"/>
                  </a:moveTo>
                  <a:lnTo>
                    <a:pt x="203200" y="50800"/>
                  </a:lnTo>
                  <a:lnTo>
                    <a:pt x="203200" y="0"/>
                  </a:lnTo>
                  <a:lnTo>
                    <a:pt x="177800" y="0"/>
                  </a:lnTo>
                  <a:lnTo>
                    <a:pt x="25400" y="0"/>
                  </a:lnTo>
                  <a:lnTo>
                    <a:pt x="0" y="0"/>
                  </a:lnTo>
                  <a:lnTo>
                    <a:pt x="0" y="50800"/>
                  </a:lnTo>
                  <a:lnTo>
                    <a:pt x="25400" y="5080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360" name="Google Shape;1360;p16"/>
            <p:cNvSpPr/>
            <p:nvPr/>
          </p:nvSpPr>
          <p:spPr>
            <a:xfrm>
              <a:off x="8110855" y="1833879"/>
              <a:ext cx="203200" cy="50800"/>
            </a:xfrm>
            <a:custGeom>
              <a:avLst/>
              <a:gdLst/>
              <a:ahLst/>
              <a:cxnLst/>
              <a:rect l="l" t="t" r="r" b="b"/>
              <a:pathLst>
                <a:path w="203200" h="50800" extrusionOk="0">
                  <a:moveTo>
                    <a:pt x="177800" y="50800"/>
                  </a:moveTo>
                  <a:lnTo>
                    <a:pt x="203200" y="50800"/>
                  </a:lnTo>
                  <a:lnTo>
                    <a:pt x="203200" y="0"/>
                  </a:lnTo>
                  <a:lnTo>
                    <a:pt x="177800" y="0"/>
                  </a:lnTo>
                  <a:lnTo>
                    <a:pt x="25400" y="0"/>
                  </a:lnTo>
                  <a:lnTo>
                    <a:pt x="0" y="0"/>
                  </a:lnTo>
                  <a:lnTo>
                    <a:pt x="0" y="50800"/>
                  </a:lnTo>
                  <a:lnTo>
                    <a:pt x="25400" y="5080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361" name="Google Shape;1361;p16"/>
            <p:cNvSpPr/>
            <p:nvPr/>
          </p:nvSpPr>
          <p:spPr>
            <a:xfrm>
              <a:off x="8745855" y="2195829"/>
              <a:ext cx="203200" cy="50800"/>
            </a:xfrm>
            <a:custGeom>
              <a:avLst/>
              <a:gdLst/>
              <a:ahLst/>
              <a:cxnLst/>
              <a:rect l="l" t="t" r="r" b="b"/>
              <a:pathLst>
                <a:path w="203200" h="50800" extrusionOk="0">
                  <a:moveTo>
                    <a:pt x="0" y="50800"/>
                  </a:moveTo>
                  <a:lnTo>
                    <a:pt x="25400" y="50800"/>
                  </a:lnTo>
                  <a:lnTo>
                    <a:pt x="177800" y="50800"/>
                  </a:lnTo>
                  <a:lnTo>
                    <a:pt x="203200" y="50800"/>
                  </a:lnTo>
                  <a:lnTo>
                    <a:pt x="203200" y="0"/>
                  </a:lnTo>
                  <a:lnTo>
                    <a:pt x="177800" y="0"/>
                  </a:lnTo>
                  <a:lnTo>
                    <a:pt x="25400" y="0"/>
                  </a:lnTo>
                  <a:lnTo>
                    <a:pt x="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362" name="Google Shape;1362;p16"/>
            <p:cNvSpPr/>
            <p:nvPr/>
          </p:nvSpPr>
          <p:spPr>
            <a:xfrm>
              <a:off x="9380855" y="2557779"/>
              <a:ext cx="203200" cy="50800"/>
            </a:xfrm>
            <a:custGeom>
              <a:avLst/>
              <a:gdLst/>
              <a:ahLst/>
              <a:cxnLst/>
              <a:rect l="l" t="t" r="r" b="b"/>
              <a:pathLst>
                <a:path w="203200" h="50800" extrusionOk="0">
                  <a:moveTo>
                    <a:pt x="0" y="50800"/>
                  </a:moveTo>
                  <a:lnTo>
                    <a:pt x="25400" y="50800"/>
                  </a:lnTo>
                  <a:lnTo>
                    <a:pt x="177800" y="50800"/>
                  </a:lnTo>
                  <a:lnTo>
                    <a:pt x="203200" y="50800"/>
                  </a:lnTo>
                  <a:lnTo>
                    <a:pt x="203200" y="0"/>
                  </a:lnTo>
                  <a:lnTo>
                    <a:pt x="177800" y="0"/>
                  </a:lnTo>
                  <a:lnTo>
                    <a:pt x="25400" y="0"/>
                  </a:lnTo>
                  <a:lnTo>
                    <a:pt x="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363" name="Google Shape;1363;p16"/>
            <p:cNvSpPr/>
            <p:nvPr/>
          </p:nvSpPr>
          <p:spPr>
            <a:xfrm>
              <a:off x="10015855" y="2919729"/>
              <a:ext cx="203200" cy="50800"/>
            </a:xfrm>
            <a:custGeom>
              <a:avLst/>
              <a:gdLst/>
              <a:ahLst/>
              <a:cxnLst/>
              <a:rect l="l" t="t" r="r" b="b"/>
              <a:pathLst>
                <a:path w="203200" h="50800" extrusionOk="0">
                  <a:moveTo>
                    <a:pt x="0" y="50800"/>
                  </a:moveTo>
                  <a:lnTo>
                    <a:pt x="25400" y="50800"/>
                  </a:lnTo>
                  <a:lnTo>
                    <a:pt x="177800" y="50800"/>
                  </a:lnTo>
                  <a:lnTo>
                    <a:pt x="203200" y="50800"/>
                  </a:lnTo>
                  <a:lnTo>
                    <a:pt x="203200" y="0"/>
                  </a:lnTo>
                  <a:lnTo>
                    <a:pt x="177800" y="0"/>
                  </a:lnTo>
                  <a:lnTo>
                    <a:pt x="25400" y="0"/>
                  </a:lnTo>
                  <a:lnTo>
                    <a:pt x="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364" name="Google Shape;1364;p16"/>
            <p:cNvSpPr/>
            <p:nvPr/>
          </p:nvSpPr>
          <p:spPr>
            <a:xfrm>
              <a:off x="10650855" y="3281679"/>
              <a:ext cx="203200" cy="50800"/>
            </a:xfrm>
            <a:custGeom>
              <a:avLst/>
              <a:gdLst/>
              <a:ahLst/>
              <a:cxnLst/>
              <a:rect l="l" t="t" r="r" b="b"/>
              <a:pathLst>
                <a:path w="203200" h="50800" extrusionOk="0">
                  <a:moveTo>
                    <a:pt x="0" y="50800"/>
                  </a:moveTo>
                  <a:lnTo>
                    <a:pt x="25400" y="50800"/>
                  </a:lnTo>
                  <a:lnTo>
                    <a:pt x="177800" y="50800"/>
                  </a:lnTo>
                  <a:lnTo>
                    <a:pt x="203200" y="50800"/>
                  </a:lnTo>
                  <a:lnTo>
                    <a:pt x="203200" y="0"/>
                  </a:lnTo>
                  <a:lnTo>
                    <a:pt x="177800" y="0"/>
                  </a:lnTo>
                  <a:lnTo>
                    <a:pt x="25400" y="0"/>
                  </a:lnTo>
                  <a:lnTo>
                    <a:pt x="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365" name="Google Shape;1365;p16"/>
            <p:cNvSpPr/>
            <p:nvPr/>
          </p:nvSpPr>
          <p:spPr>
            <a:xfrm>
              <a:off x="11285855" y="3643629"/>
              <a:ext cx="203200" cy="50800"/>
            </a:xfrm>
            <a:custGeom>
              <a:avLst/>
              <a:gdLst/>
              <a:ahLst/>
              <a:cxnLst/>
              <a:rect l="l" t="t" r="r" b="b"/>
              <a:pathLst>
                <a:path w="203200" h="50800" extrusionOk="0">
                  <a:moveTo>
                    <a:pt x="0" y="50800"/>
                  </a:moveTo>
                  <a:lnTo>
                    <a:pt x="25400" y="50800"/>
                  </a:lnTo>
                  <a:lnTo>
                    <a:pt x="177800" y="50800"/>
                  </a:lnTo>
                  <a:lnTo>
                    <a:pt x="203200" y="50800"/>
                  </a:lnTo>
                  <a:lnTo>
                    <a:pt x="203200" y="0"/>
                  </a:lnTo>
                  <a:lnTo>
                    <a:pt x="177800" y="0"/>
                  </a:lnTo>
                  <a:lnTo>
                    <a:pt x="25400" y="0"/>
                  </a:lnTo>
                  <a:lnTo>
                    <a:pt x="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366" name="Google Shape;1366;p16"/>
            <p:cNvSpPr/>
            <p:nvPr/>
          </p:nvSpPr>
          <p:spPr>
            <a:xfrm>
              <a:off x="11920855" y="4005579"/>
              <a:ext cx="203200" cy="50800"/>
            </a:xfrm>
            <a:custGeom>
              <a:avLst/>
              <a:gdLst/>
              <a:ahLst/>
              <a:cxnLst/>
              <a:rect l="l" t="t" r="r" b="b"/>
              <a:pathLst>
                <a:path w="203200" h="50800" extrusionOk="0">
                  <a:moveTo>
                    <a:pt x="177800" y="50800"/>
                  </a:moveTo>
                  <a:lnTo>
                    <a:pt x="203200" y="50800"/>
                  </a:lnTo>
                  <a:lnTo>
                    <a:pt x="203200" y="0"/>
                  </a:lnTo>
                  <a:lnTo>
                    <a:pt x="177800" y="0"/>
                  </a:lnTo>
                  <a:lnTo>
                    <a:pt x="25400" y="0"/>
                  </a:lnTo>
                  <a:lnTo>
                    <a:pt x="0" y="0"/>
                  </a:lnTo>
                  <a:lnTo>
                    <a:pt x="0" y="50800"/>
                  </a:lnTo>
                  <a:lnTo>
                    <a:pt x="25400" y="5080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367" name="Google Shape;1367;p16"/>
            <p:cNvSpPr/>
            <p:nvPr/>
          </p:nvSpPr>
          <p:spPr>
            <a:xfrm>
              <a:off x="5588634" y="3810"/>
              <a:ext cx="212090" cy="91439"/>
            </a:xfrm>
            <a:custGeom>
              <a:avLst/>
              <a:gdLst/>
              <a:ahLst/>
              <a:cxnLst/>
              <a:rect l="l" t="t" r="r" b="b"/>
              <a:pathLst>
                <a:path w="212090" h="91439" extrusionOk="0">
                  <a:moveTo>
                    <a:pt x="34925" y="86360"/>
                  </a:moveTo>
                  <a:lnTo>
                    <a:pt x="187325" y="55245"/>
                  </a:lnTo>
                  <a:lnTo>
                    <a:pt x="212090" y="50165"/>
                  </a:lnTo>
                  <a:lnTo>
                    <a:pt x="201930" y="0"/>
                  </a:lnTo>
                  <a:lnTo>
                    <a:pt x="177165" y="5080"/>
                  </a:lnTo>
                  <a:lnTo>
                    <a:pt x="24765" y="36830"/>
                  </a:lnTo>
                  <a:lnTo>
                    <a:pt x="0" y="41910"/>
                  </a:lnTo>
                  <a:lnTo>
                    <a:pt x="10160" y="914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368" name="Google Shape;1368;p16"/>
            <p:cNvSpPr/>
            <p:nvPr/>
          </p:nvSpPr>
          <p:spPr>
            <a:xfrm>
              <a:off x="6223634" y="365759"/>
              <a:ext cx="212090" cy="91440"/>
            </a:xfrm>
            <a:custGeom>
              <a:avLst/>
              <a:gdLst/>
              <a:ahLst/>
              <a:cxnLst/>
              <a:rect l="l" t="t" r="r" b="b"/>
              <a:pathLst>
                <a:path w="212090" h="91440" extrusionOk="0">
                  <a:moveTo>
                    <a:pt x="34925" y="86360"/>
                  </a:moveTo>
                  <a:lnTo>
                    <a:pt x="187325" y="55245"/>
                  </a:lnTo>
                  <a:lnTo>
                    <a:pt x="212090" y="50165"/>
                  </a:lnTo>
                  <a:lnTo>
                    <a:pt x="201930" y="0"/>
                  </a:lnTo>
                  <a:lnTo>
                    <a:pt x="177165" y="5080"/>
                  </a:lnTo>
                  <a:lnTo>
                    <a:pt x="24765" y="36830"/>
                  </a:lnTo>
                  <a:lnTo>
                    <a:pt x="0" y="41910"/>
                  </a:lnTo>
                  <a:lnTo>
                    <a:pt x="10160" y="914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369" name="Google Shape;1369;p16"/>
            <p:cNvSpPr/>
            <p:nvPr/>
          </p:nvSpPr>
          <p:spPr>
            <a:xfrm>
              <a:off x="6858634" y="727709"/>
              <a:ext cx="212090" cy="91440"/>
            </a:xfrm>
            <a:custGeom>
              <a:avLst/>
              <a:gdLst/>
              <a:ahLst/>
              <a:cxnLst/>
              <a:rect l="l" t="t" r="r" b="b"/>
              <a:pathLst>
                <a:path w="212090" h="91440" extrusionOk="0">
                  <a:moveTo>
                    <a:pt x="34925" y="86360"/>
                  </a:moveTo>
                  <a:lnTo>
                    <a:pt x="187325" y="55245"/>
                  </a:lnTo>
                  <a:lnTo>
                    <a:pt x="212090" y="50165"/>
                  </a:lnTo>
                  <a:lnTo>
                    <a:pt x="201930" y="0"/>
                  </a:lnTo>
                  <a:lnTo>
                    <a:pt x="177165" y="5080"/>
                  </a:lnTo>
                  <a:lnTo>
                    <a:pt x="24765" y="36830"/>
                  </a:lnTo>
                  <a:lnTo>
                    <a:pt x="0" y="41910"/>
                  </a:lnTo>
                  <a:lnTo>
                    <a:pt x="10160" y="914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370" name="Google Shape;1370;p16"/>
            <p:cNvSpPr/>
            <p:nvPr/>
          </p:nvSpPr>
          <p:spPr>
            <a:xfrm>
              <a:off x="7493634" y="1089660"/>
              <a:ext cx="212090" cy="91439"/>
            </a:xfrm>
            <a:custGeom>
              <a:avLst/>
              <a:gdLst/>
              <a:ahLst/>
              <a:cxnLst/>
              <a:rect l="l" t="t" r="r" b="b"/>
              <a:pathLst>
                <a:path w="212090" h="91439" extrusionOk="0">
                  <a:moveTo>
                    <a:pt x="34925" y="86360"/>
                  </a:moveTo>
                  <a:lnTo>
                    <a:pt x="187325" y="55245"/>
                  </a:lnTo>
                  <a:lnTo>
                    <a:pt x="212090" y="50165"/>
                  </a:lnTo>
                  <a:lnTo>
                    <a:pt x="201930" y="0"/>
                  </a:lnTo>
                  <a:lnTo>
                    <a:pt x="177165" y="5080"/>
                  </a:lnTo>
                  <a:lnTo>
                    <a:pt x="24765" y="36830"/>
                  </a:lnTo>
                  <a:lnTo>
                    <a:pt x="0" y="41910"/>
                  </a:lnTo>
                  <a:lnTo>
                    <a:pt x="10160" y="914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371" name="Google Shape;1371;p16"/>
            <p:cNvSpPr/>
            <p:nvPr/>
          </p:nvSpPr>
          <p:spPr>
            <a:xfrm>
              <a:off x="8128634" y="1451610"/>
              <a:ext cx="212090" cy="91439"/>
            </a:xfrm>
            <a:custGeom>
              <a:avLst/>
              <a:gdLst/>
              <a:ahLst/>
              <a:cxnLst/>
              <a:rect l="l" t="t" r="r" b="b"/>
              <a:pathLst>
                <a:path w="212090" h="91439" extrusionOk="0">
                  <a:moveTo>
                    <a:pt x="34925" y="86360"/>
                  </a:moveTo>
                  <a:lnTo>
                    <a:pt x="187325" y="55245"/>
                  </a:lnTo>
                  <a:lnTo>
                    <a:pt x="212090" y="50165"/>
                  </a:lnTo>
                  <a:lnTo>
                    <a:pt x="201930" y="0"/>
                  </a:lnTo>
                  <a:lnTo>
                    <a:pt x="177165" y="5080"/>
                  </a:lnTo>
                  <a:lnTo>
                    <a:pt x="24765" y="36830"/>
                  </a:lnTo>
                  <a:lnTo>
                    <a:pt x="0" y="41910"/>
                  </a:lnTo>
                  <a:lnTo>
                    <a:pt x="10160" y="914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372" name="Google Shape;1372;p16"/>
            <p:cNvSpPr/>
            <p:nvPr/>
          </p:nvSpPr>
          <p:spPr>
            <a:xfrm>
              <a:off x="8763634" y="1813560"/>
              <a:ext cx="212090" cy="91439"/>
            </a:xfrm>
            <a:custGeom>
              <a:avLst/>
              <a:gdLst/>
              <a:ahLst/>
              <a:cxnLst/>
              <a:rect l="l" t="t" r="r" b="b"/>
              <a:pathLst>
                <a:path w="212090" h="91439" extrusionOk="0">
                  <a:moveTo>
                    <a:pt x="177165" y="5080"/>
                  </a:moveTo>
                  <a:lnTo>
                    <a:pt x="24765" y="36830"/>
                  </a:lnTo>
                  <a:lnTo>
                    <a:pt x="0" y="41910"/>
                  </a:lnTo>
                  <a:lnTo>
                    <a:pt x="10160" y="91440"/>
                  </a:lnTo>
                  <a:lnTo>
                    <a:pt x="34925" y="86360"/>
                  </a:lnTo>
                  <a:lnTo>
                    <a:pt x="187325" y="55245"/>
                  </a:lnTo>
                  <a:lnTo>
                    <a:pt x="212090" y="50165"/>
                  </a:lnTo>
                  <a:lnTo>
                    <a:pt x="20193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373" name="Google Shape;1373;p16"/>
            <p:cNvSpPr/>
            <p:nvPr/>
          </p:nvSpPr>
          <p:spPr>
            <a:xfrm>
              <a:off x="9398634" y="2175510"/>
              <a:ext cx="212090" cy="91439"/>
            </a:xfrm>
            <a:custGeom>
              <a:avLst/>
              <a:gdLst/>
              <a:ahLst/>
              <a:cxnLst/>
              <a:rect l="l" t="t" r="r" b="b"/>
              <a:pathLst>
                <a:path w="212090" h="91439" extrusionOk="0">
                  <a:moveTo>
                    <a:pt x="0" y="41910"/>
                  </a:moveTo>
                  <a:lnTo>
                    <a:pt x="10160" y="91440"/>
                  </a:lnTo>
                  <a:lnTo>
                    <a:pt x="34925" y="86360"/>
                  </a:lnTo>
                  <a:lnTo>
                    <a:pt x="187325" y="55245"/>
                  </a:lnTo>
                  <a:lnTo>
                    <a:pt x="212090" y="50165"/>
                  </a:lnTo>
                  <a:lnTo>
                    <a:pt x="201930" y="0"/>
                  </a:lnTo>
                  <a:lnTo>
                    <a:pt x="177165" y="5080"/>
                  </a:lnTo>
                  <a:lnTo>
                    <a:pt x="24765" y="3683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374" name="Google Shape;1374;p16"/>
            <p:cNvSpPr/>
            <p:nvPr/>
          </p:nvSpPr>
          <p:spPr>
            <a:xfrm>
              <a:off x="10033634" y="2537460"/>
              <a:ext cx="212090" cy="91439"/>
            </a:xfrm>
            <a:custGeom>
              <a:avLst/>
              <a:gdLst/>
              <a:ahLst/>
              <a:cxnLst/>
              <a:rect l="l" t="t" r="r" b="b"/>
              <a:pathLst>
                <a:path w="212090" h="91439" extrusionOk="0">
                  <a:moveTo>
                    <a:pt x="0" y="41910"/>
                  </a:moveTo>
                  <a:lnTo>
                    <a:pt x="10160" y="91440"/>
                  </a:lnTo>
                  <a:lnTo>
                    <a:pt x="34925" y="86360"/>
                  </a:lnTo>
                  <a:lnTo>
                    <a:pt x="187325" y="55245"/>
                  </a:lnTo>
                  <a:lnTo>
                    <a:pt x="212090" y="50165"/>
                  </a:lnTo>
                  <a:lnTo>
                    <a:pt x="201930" y="0"/>
                  </a:lnTo>
                  <a:lnTo>
                    <a:pt x="177165" y="5080"/>
                  </a:lnTo>
                  <a:lnTo>
                    <a:pt x="24765" y="3683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375" name="Google Shape;1375;p16"/>
            <p:cNvSpPr/>
            <p:nvPr/>
          </p:nvSpPr>
          <p:spPr>
            <a:xfrm>
              <a:off x="10668634" y="2899410"/>
              <a:ext cx="212090" cy="91439"/>
            </a:xfrm>
            <a:custGeom>
              <a:avLst/>
              <a:gdLst/>
              <a:ahLst/>
              <a:cxnLst/>
              <a:rect l="l" t="t" r="r" b="b"/>
              <a:pathLst>
                <a:path w="212090" h="91439" extrusionOk="0">
                  <a:moveTo>
                    <a:pt x="0" y="41910"/>
                  </a:moveTo>
                  <a:lnTo>
                    <a:pt x="10160" y="91440"/>
                  </a:lnTo>
                  <a:lnTo>
                    <a:pt x="34925" y="86360"/>
                  </a:lnTo>
                  <a:lnTo>
                    <a:pt x="187325" y="55245"/>
                  </a:lnTo>
                  <a:lnTo>
                    <a:pt x="212090" y="50165"/>
                  </a:lnTo>
                  <a:lnTo>
                    <a:pt x="201930" y="0"/>
                  </a:lnTo>
                  <a:lnTo>
                    <a:pt x="177165" y="5080"/>
                  </a:lnTo>
                  <a:lnTo>
                    <a:pt x="24765" y="3683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376" name="Google Shape;1376;p16"/>
            <p:cNvSpPr/>
            <p:nvPr/>
          </p:nvSpPr>
          <p:spPr>
            <a:xfrm>
              <a:off x="11303634" y="3261359"/>
              <a:ext cx="212090" cy="91440"/>
            </a:xfrm>
            <a:custGeom>
              <a:avLst/>
              <a:gdLst/>
              <a:ahLst/>
              <a:cxnLst/>
              <a:rect l="l" t="t" r="r" b="b"/>
              <a:pathLst>
                <a:path w="212090" h="91440" extrusionOk="0">
                  <a:moveTo>
                    <a:pt x="34925" y="86360"/>
                  </a:moveTo>
                  <a:lnTo>
                    <a:pt x="187325" y="55245"/>
                  </a:lnTo>
                  <a:lnTo>
                    <a:pt x="212090" y="50165"/>
                  </a:lnTo>
                  <a:lnTo>
                    <a:pt x="201930" y="0"/>
                  </a:lnTo>
                  <a:lnTo>
                    <a:pt x="177165" y="5080"/>
                  </a:lnTo>
                  <a:lnTo>
                    <a:pt x="24765" y="36830"/>
                  </a:lnTo>
                  <a:lnTo>
                    <a:pt x="0" y="41910"/>
                  </a:lnTo>
                  <a:lnTo>
                    <a:pt x="10160" y="914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377" name="Google Shape;1377;p16"/>
            <p:cNvSpPr/>
            <p:nvPr/>
          </p:nvSpPr>
          <p:spPr>
            <a:xfrm>
              <a:off x="11938634" y="3623309"/>
              <a:ext cx="212090" cy="91440"/>
            </a:xfrm>
            <a:custGeom>
              <a:avLst/>
              <a:gdLst/>
              <a:ahLst/>
              <a:cxnLst/>
              <a:rect l="l" t="t" r="r" b="b"/>
              <a:pathLst>
                <a:path w="212090" h="91440" extrusionOk="0">
                  <a:moveTo>
                    <a:pt x="177165" y="5080"/>
                  </a:moveTo>
                  <a:lnTo>
                    <a:pt x="24765" y="36830"/>
                  </a:lnTo>
                  <a:lnTo>
                    <a:pt x="0" y="41910"/>
                  </a:lnTo>
                  <a:lnTo>
                    <a:pt x="10160" y="91440"/>
                  </a:lnTo>
                  <a:lnTo>
                    <a:pt x="34925" y="86360"/>
                  </a:lnTo>
                  <a:lnTo>
                    <a:pt x="187325" y="55245"/>
                  </a:lnTo>
                  <a:lnTo>
                    <a:pt x="212090" y="50165"/>
                  </a:lnTo>
                  <a:lnTo>
                    <a:pt x="20193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378" name="Google Shape;1378;p16"/>
            <p:cNvSpPr/>
            <p:nvPr/>
          </p:nvSpPr>
          <p:spPr>
            <a:xfrm>
              <a:off x="6287134" y="0"/>
              <a:ext cx="218440" cy="113664"/>
            </a:xfrm>
            <a:custGeom>
              <a:avLst/>
              <a:gdLst/>
              <a:ahLst/>
              <a:cxnLst/>
              <a:rect l="l" t="t" r="r" b="b"/>
              <a:pathLst>
                <a:path w="218440" h="113664" extrusionOk="0">
                  <a:moveTo>
                    <a:pt x="42545" y="104140"/>
                  </a:moveTo>
                  <a:lnTo>
                    <a:pt x="194945" y="42545"/>
                  </a:lnTo>
                  <a:lnTo>
                    <a:pt x="218440" y="33020"/>
                  </a:lnTo>
                  <a:lnTo>
                    <a:pt x="205740" y="0"/>
                  </a:lnTo>
                  <a:lnTo>
                    <a:pt x="164465" y="0"/>
                  </a:lnTo>
                  <a:lnTo>
                    <a:pt x="23495" y="57150"/>
                  </a:lnTo>
                  <a:lnTo>
                    <a:pt x="0" y="66675"/>
                  </a:lnTo>
                  <a:lnTo>
                    <a:pt x="19050" y="11366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379" name="Google Shape;1379;p16"/>
            <p:cNvSpPr/>
            <p:nvPr/>
          </p:nvSpPr>
          <p:spPr>
            <a:xfrm>
              <a:off x="6922134" y="347979"/>
              <a:ext cx="218440" cy="127635"/>
            </a:xfrm>
            <a:custGeom>
              <a:avLst/>
              <a:gdLst/>
              <a:ahLst/>
              <a:cxnLst/>
              <a:rect l="l" t="t" r="r" b="b"/>
              <a:pathLst>
                <a:path w="218440" h="127635" extrusionOk="0">
                  <a:moveTo>
                    <a:pt x="42545" y="118110"/>
                  </a:moveTo>
                  <a:lnTo>
                    <a:pt x="194945" y="56515"/>
                  </a:lnTo>
                  <a:lnTo>
                    <a:pt x="218440" y="46990"/>
                  </a:lnTo>
                  <a:lnTo>
                    <a:pt x="199390" y="0"/>
                  </a:lnTo>
                  <a:lnTo>
                    <a:pt x="175895" y="9525"/>
                  </a:lnTo>
                  <a:lnTo>
                    <a:pt x="23495" y="71120"/>
                  </a:lnTo>
                  <a:lnTo>
                    <a:pt x="0" y="80645"/>
                  </a:lnTo>
                  <a:lnTo>
                    <a:pt x="19050" y="12763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380" name="Google Shape;1380;p16"/>
            <p:cNvSpPr/>
            <p:nvPr/>
          </p:nvSpPr>
          <p:spPr>
            <a:xfrm>
              <a:off x="7557134" y="709930"/>
              <a:ext cx="218440" cy="127634"/>
            </a:xfrm>
            <a:custGeom>
              <a:avLst/>
              <a:gdLst/>
              <a:ahLst/>
              <a:cxnLst/>
              <a:rect l="l" t="t" r="r" b="b"/>
              <a:pathLst>
                <a:path w="218440" h="127634" extrusionOk="0">
                  <a:moveTo>
                    <a:pt x="42545" y="118110"/>
                  </a:moveTo>
                  <a:lnTo>
                    <a:pt x="194945" y="56515"/>
                  </a:lnTo>
                  <a:lnTo>
                    <a:pt x="218440" y="46990"/>
                  </a:lnTo>
                  <a:lnTo>
                    <a:pt x="199390" y="0"/>
                  </a:lnTo>
                  <a:lnTo>
                    <a:pt x="175895" y="9525"/>
                  </a:lnTo>
                  <a:lnTo>
                    <a:pt x="23495" y="71120"/>
                  </a:lnTo>
                  <a:lnTo>
                    <a:pt x="0" y="80645"/>
                  </a:lnTo>
                  <a:lnTo>
                    <a:pt x="19050" y="12763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381" name="Google Shape;1381;p16"/>
            <p:cNvSpPr/>
            <p:nvPr/>
          </p:nvSpPr>
          <p:spPr>
            <a:xfrm>
              <a:off x="8192134" y="1071880"/>
              <a:ext cx="218440" cy="127634"/>
            </a:xfrm>
            <a:custGeom>
              <a:avLst/>
              <a:gdLst/>
              <a:ahLst/>
              <a:cxnLst/>
              <a:rect l="l" t="t" r="r" b="b"/>
              <a:pathLst>
                <a:path w="218440" h="127634" extrusionOk="0">
                  <a:moveTo>
                    <a:pt x="42545" y="118110"/>
                  </a:moveTo>
                  <a:lnTo>
                    <a:pt x="194945" y="56515"/>
                  </a:lnTo>
                  <a:lnTo>
                    <a:pt x="218440" y="46990"/>
                  </a:lnTo>
                  <a:lnTo>
                    <a:pt x="199390" y="0"/>
                  </a:lnTo>
                  <a:lnTo>
                    <a:pt x="175895" y="9525"/>
                  </a:lnTo>
                  <a:lnTo>
                    <a:pt x="23495" y="71120"/>
                  </a:lnTo>
                  <a:lnTo>
                    <a:pt x="0" y="80645"/>
                  </a:lnTo>
                  <a:lnTo>
                    <a:pt x="19050" y="12763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382" name="Google Shape;1382;p16"/>
            <p:cNvSpPr/>
            <p:nvPr/>
          </p:nvSpPr>
          <p:spPr>
            <a:xfrm>
              <a:off x="8827134" y="1433830"/>
              <a:ext cx="218440" cy="127634"/>
            </a:xfrm>
            <a:custGeom>
              <a:avLst/>
              <a:gdLst/>
              <a:ahLst/>
              <a:cxnLst/>
              <a:rect l="l" t="t" r="r" b="b"/>
              <a:pathLst>
                <a:path w="218440" h="127634" extrusionOk="0">
                  <a:moveTo>
                    <a:pt x="19050" y="127635"/>
                  </a:moveTo>
                  <a:lnTo>
                    <a:pt x="42545" y="118110"/>
                  </a:lnTo>
                  <a:lnTo>
                    <a:pt x="194945" y="56515"/>
                  </a:lnTo>
                  <a:lnTo>
                    <a:pt x="218440" y="46990"/>
                  </a:lnTo>
                  <a:lnTo>
                    <a:pt x="199390" y="0"/>
                  </a:lnTo>
                  <a:lnTo>
                    <a:pt x="175895" y="9525"/>
                  </a:lnTo>
                  <a:lnTo>
                    <a:pt x="23495" y="71120"/>
                  </a:lnTo>
                  <a:lnTo>
                    <a:pt x="0" y="8064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383" name="Google Shape;1383;p16"/>
            <p:cNvSpPr/>
            <p:nvPr/>
          </p:nvSpPr>
          <p:spPr>
            <a:xfrm>
              <a:off x="9462134" y="1795779"/>
              <a:ext cx="218440" cy="127635"/>
            </a:xfrm>
            <a:custGeom>
              <a:avLst/>
              <a:gdLst/>
              <a:ahLst/>
              <a:cxnLst/>
              <a:rect l="l" t="t" r="r" b="b"/>
              <a:pathLst>
                <a:path w="218440" h="127635" extrusionOk="0">
                  <a:moveTo>
                    <a:pt x="0" y="80645"/>
                  </a:moveTo>
                  <a:lnTo>
                    <a:pt x="19050" y="127635"/>
                  </a:lnTo>
                  <a:lnTo>
                    <a:pt x="42545" y="118110"/>
                  </a:lnTo>
                  <a:lnTo>
                    <a:pt x="194945" y="56515"/>
                  </a:lnTo>
                  <a:lnTo>
                    <a:pt x="218440" y="46990"/>
                  </a:lnTo>
                  <a:lnTo>
                    <a:pt x="199390" y="0"/>
                  </a:lnTo>
                  <a:lnTo>
                    <a:pt x="175895" y="9525"/>
                  </a:lnTo>
                  <a:lnTo>
                    <a:pt x="23495" y="7112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384" name="Google Shape;1384;p16"/>
            <p:cNvSpPr/>
            <p:nvPr/>
          </p:nvSpPr>
          <p:spPr>
            <a:xfrm>
              <a:off x="10097134" y="2157729"/>
              <a:ext cx="218440" cy="127635"/>
            </a:xfrm>
            <a:custGeom>
              <a:avLst/>
              <a:gdLst/>
              <a:ahLst/>
              <a:cxnLst/>
              <a:rect l="l" t="t" r="r" b="b"/>
              <a:pathLst>
                <a:path w="218440" h="127635" extrusionOk="0">
                  <a:moveTo>
                    <a:pt x="0" y="80645"/>
                  </a:moveTo>
                  <a:lnTo>
                    <a:pt x="19050" y="127635"/>
                  </a:lnTo>
                  <a:lnTo>
                    <a:pt x="42545" y="118110"/>
                  </a:lnTo>
                  <a:lnTo>
                    <a:pt x="194945" y="56515"/>
                  </a:lnTo>
                  <a:lnTo>
                    <a:pt x="218440" y="46990"/>
                  </a:lnTo>
                  <a:lnTo>
                    <a:pt x="199390" y="0"/>
                  </a:lnTo>
                  <a:lnTo>
                    <a:pt x="175895" y="9525"/>
                  </a:lnTo>
                  <a:lnTo>
                    <a:pt x="23495" y="7112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385" name="Google Shape;1385;p16"/>
            <p:cNvSpPr/>
            <p:nvPr/>
          </p:nvSpPr>
          <p:spPr>
            <a:xfrm>
              <a:off x="10732134" y="2519679"/>
              <a:ext cx="218440" cy="127635"/>
            </a:xfrm>
            <a:custGeom>
              <a:avLst/>
              <a:gdLst/>
              <a:ahLst/>
              <a:cxnLst/>
              <a:rect l="l" t="t" r="r" b="b"/>
              <a:pathLst>
                <a:path w="218440" h="127635" extrusionOk="0">
                  <a:moveTo>
                    <a:pt x="0" y="80645"/>
                  </a:moveTo>
                  <a:lnTo>
                    <a:pt x="19050" y="127635"/>
                  </a:lnTo>
                  <a:lnTo>
                    <a:pt x="42545" y="118110"/>
                  </a:lnTo>
                  <a:lnTo>
                    <a:pt x="194945" y="56515"/>
                  </a:lnTo>
                  <a:lnTo>
                    <a:pt x="218440" y="46990"/>
                  </a:lnTo>
                  <a:lnTo>
                    <a:pt x="199390" y="0"/>
                  </a:lnTo>
                  <a:lnTo>
                    <a:pt x="175895" y="9525"/>
                  </a:lnTo>
                  <a:lnTo>
                    <a:pt x="23495" y="7112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386" name="Google Shape;1386;p16"/>
            <p:cNvSpPr/>
            <p:nvPr/>
          </p:nvSpPr>
          <p:spPr>
            <a:xfrm>
              <a:off x="11367134" y="2881629"/>
              <a:ext cx="218440" cy="127635"/>
            </a:xfrm>
            <a:custGeom>
              <a:avLst/>
              <a:gdLst/>
              <a:ahLst/>
              <a:cxnLst/>
              <a:rect l="l" t="t" r="r" b="b"/>
              <a:pathLst>
                <a:path w="218440" h="127635" extrusionOk="0">
                  <a:moveTo>
                    <a:pt x="0" y="80645"/>
                  </a:moveTo>
                  <a:lnTo>
                    <a:pt x="19050" y="127635"/>
                  </a:lnTo>
                  <a:lnTo>
                    <a:pt x="42545" y="118110"/>
                  </a:lnTo>
                  <a:lnTo>
                    <a:pt x="194945" y="56515"/>
                  </a:lnTo>
                  <a:lnTo>
                    <a:pt x="218440" y="46990"/>
                  </a:lnTo>
                  <a:lnTo>
                    <a:pt x="199390" y="0"/>
                  </a:lnTo>
                  <a:lnTo>
                    <a:pt x="175895" y="9525"/>
                  </a:lnTo>
                  <a:lnTo>
                    <a:pt x="23495" y="7112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387" name="Google Shape;1387;p16"/>
            <p:cNvSpPr/>
            <p:nvPr/>
          </p:nvSpPr>
          <p:spPr>
            <a:xfrm>
              <a:off x="12002134" y="3247389"/>
              <a:ext cx="189865" cy="123825"/>
            </a:xfrm>
            <a:custGeom>
              <a:avLst/>
              <a:gdLst/>
              <a:ahLst/>
              <a:cxnLst/>
              <a:rect l="l" t="t" r="r" b="b"/>
              <a:pathLst>
                <a:path w="189865" h="123825" extrusionOk="0">
                  <a:moveTo>
                    <a:pt x="23495" y="67310"/>
                  </a:moveTo>
                  <a:lnTo>
                    <a:pt x="0" y="76835"/>
                  </a:lnTo>
                  <a:lnTo>
                    <a:pt x="19050" y="123825"/>
                  </a:lnTo>
                  <a:lnTo>
                    <a:pt x="42545" y="114300"/>
                  </a:lnTo>
                  <a:lnTo>
                    <a:pt x="189865" y="54610"/>
                  </a:lnTo>
                  <a:lnTo>
                    <a:pt x="189865" y="0"/>
                  </a:lnTo>
                  <a:lnTo>
                    <a:pt x="175895" y="57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388" name="Google Shape;1388;p16"/>
            <p:cNvSpPr/>
            <p:nvPr/>
          </p:nvSpPr>
          <p:spPr>
            <a:xfrm>
              <a:off x="7029450" y="0"/>
              <a:ext cx="222250" cy="128904"/>
            </a:xfrm>
            <a:custGeom>
              <a:avLst/>
              <a:gdLst/>
              <a:ahLst/>
              <a:cxnLst/>
              <a:rect l="l" t="t" r="r" b="b"/>
              <a:pathLst>
                <a:path w="222250" h="128904" extrusionOk="0">
                  <a:moveTo>
                    <a:pt x="47625" y="116205"/>
                  </a:moveTo>
                  <a:lnTo>
                    <a:pt x="200025" y="26670"/>
                  </a:lnTo>
                  <a:lnTo>
                    <a:pt x="222250" y="13970"/>
                  </a:lnTo>
                  <a:lnTo>
                    <a:pt x="213995" y="0"/>
                  </a:lnTo>
                  <a:lnTo>
                    <a:pt x="145415" y="0"/>
                  </a:lnTo>
                  <a:lnTo>
                    <a:pt x="22225" y="72390"/>
                  </a:lnTo>
                  <a:lnTo>
                    <a:pt x="0" y="85090"/>
                  </a:lnTo>
                  <a:lnTo>
                    <a:pt x="26035" y="12890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389" name="Google Shape;1389;p16"/>
            <p:cNvSpPr/>
            <p:nvPr/>
          </p:nvSpPr>
          <p:spPr>
            <a:xfrm>
              <a:off x="7664450" y="332104"/>
              <a:ext cx="222250" cy="158750"/>
            </a:xfrm>
            <a:custGeom>
              <a:avLst/>
              <a:gdLst/>
              <a:ahLst/>
              <a:cxnLst/>
              <a:rect l="l" t="t" r="r" b="b"/>
              <a:pathLst>
                <a:path w="222250" h="158750" extrusionOk="0">
                  <a:moveTo>
                    <a:pt x="47625" y="146050"/>
                  </a:moveTo>
                  <a:lnTo>
                    <a:pt x="200025" y="56515"/>
                  </a:lnTo>
                  <a:lnTo>
                    <a:pt x="222250" y="43815"/>
                  </a:lnTo>
                  <a:lnTo>
                    <a:pt x="196215" y="0"/>
                  </a:lnTo>
                  <a:lnTo>
                    <a:pt x="174625" y="12700"/>
                  </a:lnTo>
                  <a:lnTo>
                    <a:pt x="22225" y="102235"/>
                  </a:lnTo>
                  <a:lnTo>
                    <a:pt x="0" y="114935"/>
                  </a:lnTo>
                  <a:lnTo>
                    <a:pt x="26035" y="15875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390" name="Google Shape;1390;p16"/>
            <p:cNvSpPr/>
            <p:nvPr/>
          </p:nvSpPr>
          <p:spPr>
            <a:xfrm>
              <a:off x="8299450" y="694055"/>
              <a:ext cx="222250" cy="158750"/>
            </a:xfrm>
            <a:custGeom>
              <a:avLst/>
              <a:gdLst/>
              <a:ahLst/>
              <a:cxnLst/>
              <a:rect l="l" t="t" r="r" b="b"/>
              <a:pathLst>
                <a:path w="222250" h="158750" extrusionOk="0">
                  <a:moveTo>
                    <a:pt x="47625" y="146050"/>
                  </a:moveTo>
                  <a:lnTo>
                    <a:pt x="200025" y="56515"/>
                  </a:lnTo>
                  <a:lnTo>
                    <a:pt x="222250" y="43815"/>
                  </a:lnTo>
                  <a:lnTo>
                    <a:pt x="196215" y="0"/>
                  </a:lnTo>
                  <a:lnTo>
                    <a:pt x="174625" y="12700"/>
                  </a:lnTo>
                  <a:lnTo>
                    <a:pt x="22225" y="102235"/>
                  </a:lnTo>
                  <a:lnTo>
                    <a:pt x="0" y="114935"/>
                  </a:lnTo>
                  <a:lnTo>
                    <a:pt x="26035" y="15875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391" name="Google Shape;1391;p16"/>
            <p:cNvSpPr/>
            <p:nvPr/>
          </p:nvSpPr>
          <p:spPr>
            <a:xfrm>
              <a:off x="8934450" y="1056005"/>
              <a:ext cx="222250" cy="158750"/>
            </a:xfrm>
            <a:custGeom>
              <a:avLst/>
              <a:gdLst/>
              <a:ahLst/>
              <a:cxnLst/>
              <a:rect l="l" t="t" r="r" b="b"/>
              <a:pathLst>
                <a:path w="222250" h="158750" extrusionOk="0">
                  <a:moveTo>
                    <a:pt x="47625" y="146050"/>
                  </a:moveTo>
                  <a:lnTo>
                    <a:pt x="200025" y="56515"/>
                  </a:lnTo>
                  <a:lnTo>
                    <a:pt x="222250" y="43815"/>
                  </a:lnTo>
                  <a:lnTo>
                    <a:pt x="196215" y="0"/>
                  </a:lnTo>
                  <a:lnTo>
                    <a:pt x="174625" y="12700"/>
                  </a:lnTo>
                  <a:lnTo>
                    <a:pt x="22225" y="102235"/>
                  </a:lnTo>
                  <a:lnTo>
                    <a:pt x="0" y="114935"/>
                  </a:lnTo>
                  <a:lnTo>
                    <a:pt x="26035" y="15875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392" name="Google Shape;1392;p16"/>
            <p:cNvSpPr/>
            <p:nvPr/>
          </p:nvSpPr>
          <p:spPr>
            <a:xfrm>
              <a:off x="9569450" y="1417955"/>
              <a:ext cx="222250" cy="158750"/>
            </a:xfrm>
            <a:custGeom>
              <a:avLst/>
              <a:gdLst/>
              <a:ahLst/>
              <a:cxnLst/>
              <a:rect l="l" t="t" r="r" b="b"/>
              <a:pathLst>
                <a:path w="222250" h="158750" extrusionOk="0">
                  <a:moveTo>
                    <a:pt x="174625" y="12700"/>
                  </a:moveTo>
                  <a:lnTo>
                    <a:pt x="22225" y="102235"/>
                  </a:lnTo>
                  <a:lnTo>
                    <a:pt x="0" y="114935"/>
                  </a:lnTo>
                  <a:lnTo>
                    <a:pt x="26035" y="158750"/>
                  </a:lnTo>
                  <a:lnTo>
                    <a:pt x="47625" y="146050"/>
                  </a:lnTo>
                  <a:lnTo>
                    <a:pt x="200025" y="56515"/>
                  </a:lnTo>
                  <a:lnTo>
                    <a:pt x="222250" y="43815"/>
                  </a:lnTo>
                  <a:lnTo>
                    <a:pt x="19621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393" name="Google Shape;1393;p16"/>
            <p:cNvSpPr/>
            <p:nvPr/>
          </p:nvSpPr>
          <p:spPr>
            <a:xfrm>
              <a:off x="10204450" y="1779904"/>
              <a:ext cx="222250" cy="158750"/>
            </a:xfrm>
            <a:custGeom>
              <a:avLst/>
              <a:gdLst/>
              <a:ahLst/>
              <a:cxnLst/>
              <a:rect l="l" t="t" r="r" b="b"/>
              <a:pathLst>
                <a:path w="222250" h="158750" extrusionOk="0">
                  <a:moveTo>
                    <a:pt x="174625" y="12700"/>
                  </a:moveTo>
                  <a:lnTo>
                    <a:pt x="22225" y="102235"/>
                  </a:lnTo>
                  <a:lnTo>
                    <a:pt x="0" y="114935"/>
                  </a:lnTo>
                  <a:lnTo>
                    <a:pt x="26035" y="158750"/>
                  </a:lnTo>
                  <a:lnTo>
                    <a:pt x="47625" y="146050"/>
                  </a:lnTo>
                  <a:lnTo>
                    <a:pt x="200025" y="56515"/>
                  </a:lnTo>
                  <a:lnTo>
                    <a:pt x="222250" y="43815"/>
                  </a:lnTo>
                  <a:lnTo>
                    <a:pt x="19621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394" name="Google Shape;1394;p16"/>
            <p:cNvSpPr/>
            <p:nvPr/>
          </p:nvSpPr>
          <p:spPr>
            <a:xfrm>
              <a:off x="10839450" y="2141854"/>
              <a:ext cx="222250" cy="158750"/>
            </a:xfrm>
            <a:custGeom>
              <a:avLst/>
              <a:gdLst/>
              <a:ahLst/>
              <a:cxnLst/>
              <a:rect l="l" t="t" r="r" b="b"/>
              <a:pathLst>
                <a:path w="222250" h="158750" extrusionOk="0">
                  <a:moveTo>
                    <a:pt x="0" y="114935"/>
                  </a:moveTo>
                  <a:lnTo>
                    <a:pt x="26035" y="158750"/>
                  </a:lnTo>
                  <a:lnTo>
                    <a:pt x="47625" y="146050"/>
                  </a:lnTo>
                  <a:lnTo>
                    <a:pt x="200025" y="56515"/>
                  </a:lnTo>
                  <a:lnTo>
                    <a:pt x="222250" y="43815"/>
                  </a:lnTo>
                  <a:lnTo>
                    <a:pt x="196215" y="0"/>
                  </a:lnTo>
                  <a:lnTo>
                    <a:pt x="174625" y="12700"/>
                  </a:lnTo>
                  <a:lnTo>
                    <a:pt x="22225" y="10223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395" name="Google Shape;1395;p16"/>
            <p:cNvSpPr/>
            <p:nvPr/>
          </p:nvSpPr>
          <p:spPr>
            <a:xfrm>
              <a:off x="11474450" y="2503804"/>
              <a:ext cx="222250" cy="158750"/>
            </a:xfrm>
            <a:custGeom>
              <a:avLst/>
              <a:gdLst/>
              <a:ahLst/>
              <a:cxnLst/>
              <a:rect l="l" t="t" r="r" b="b"/>
              <a:pathLst>
                <a:path w="222250" h="158750" extrusionOk="0">
                  <a:moveTo>
                    <a:pt x="0" y="114935"/>
                  </a:moveTo>
                  <a:lnTo>
                    <a:pt x="26035" y="158750"/>
                  </a:lnTo>
                  <a:lnTo>
                    <a:pt x="47625" y="146050"/>
                  </a:lnTo>
                  <a:lnTo>
                    <a:pt x="200025" y="56515"/>
                  </a:lnTo>
                  <a:lnTo>
                    <a:pt x="222250" y="43815"/>
                  </a:lnTo>
                  <a:lnTo>
                    <a:pt x="196215" y="0"/>
                  </a:lnTo>
                  <a:lnTo>
                    <a:pt x="174625" y="12700"/>
                  </a:lnTo>
                  <a:lnTo>
                    <a:pt x="22225" y="10223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396" name="Google Shape;1396;p16"/>
            <p:cNvSpPr/>
            <p:nvPr/>
          </p:nvSpPr>
          <p:spPr>
            <a:xfrm>
              <a:off x="12109450" y="2932429"/>
              <a:ext cx="82550" cy="92075"/>
            </a:xfrm>
            <a:custGeom>
              <a:avLst/>
              <a:gdLst/>
              <a:ahLst/>
              <a:cxnLst/>
              <a:rect l="l" t="t" r="r" b="b"/>
              <a:pathLst>
                <a:path w="82550" h="92075" extrusionOk="0">
                  <a:moveTo>
                    <a:pt x="0" y="48260"/>
                  </a:moveTo>
                  <a:lnTo>
                    <a:pt x="26035" y="92075"/>
                  </a:lnTo>
                  <a:lnTo>
                    <a:pt x="47625" y="79375"/>
                  </a:lnTo>
                  <a:lnTo>
                    <a:pt x="82550" y="59055"/>
                  </a:lnTo>
                  <a:lnTo>
                    <a:pt x="82550" y="0"/>
                  </a:lnTo>
                  <a:lnTo>
                    <a:pt x="22225" y="3556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397" name="Google Shape;1397;p16"/>
            <p:cNvSpPr/>
            <p:nvPr/>
          </p:nvSpPr>
          <p:spPr>
            <a:xfrm>
              <a:off x="7810500" y="0"/>
              <a:ext cx="220980" cy="142239"/>
            </a:xfrm>
            <a:custGeom>
              <a:avLst/>
              <a:gdLst/>
              <a:ahLst/>
              <a:cxnLst/>
              <a:rect l="l" t="t" r="r" b="b"/>
              <a:pathLst>
                <a:path w="220980" h="142239" extrusionOk="0">
                  <a:moveTo>
                    <a:pt x="50800" y="127000"/>
                  </a:moveTo>
                  <a:lnTo>
                    <a:pt x="203200" y="13335"/>
                  </a:lnTo>
                  <a:lnTo>
                    <a:pt x="220980" y="0"/>
                  </a:lnTo>
                  <a:lnTo>
                    <a:pt x="135890" y="0"/>
                  </a:lnTo>
                  <a:lnTo>
                    <a:pt x="20320" y="86360"/>
                  </a:lnTo>
                  <a:lnTo>
                    <a:pt x="0" y="100965"/>
                  </a:lnTo>
                  <a:lnTo>
                    <a:pt x="30480" y="1422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398" name="Google Shape;1398;p16"/>
            <p:cNvSpPr/>
            <p:nvPr/>
          </p:nvSpPr>
          <p:spPr>
            <a:xfrm>
              <a:off x="8445500" y="319404"/>
              <a:ext cx="223519" cy="184785"/>
            </a:xfrm>
            <a:custGeom>
              <a:avLst/>
              <a:gdLst/>
              <a:ahLst/>
              <a:cxnLst/>
              <a:rect l="l" t="t" r="r" b="b"/>
              <a:pathLst>
                <a:path w="223519" h="184785" extrusionOk="0">
                  <a:moveTo>
                    <a:pt x="50800" y="169545"/>
                  </a:moveTo>
                  <a:lnTo>
                    <a:pt x="203200" y="55880"/>
                  </a:lnTo>
                  <a:lnTo>
                    <a:pt x="223520" y="40640"/>
                  </a:lnTo>
                  <a:lnTo>
                    <a:pt x="193040" y="0"/>
                  </a:lnTo>
                  <a:lnTo>
                    <a:pt x="172720" y="15240"/>
                  </a:lnTo>
                  <a:lnTo>
                    <a:pt x="20320" y="128905"/>
                  </a:lnTo>
                  <a:lnTo>
                    <a:pt x="0" y="143510"/>
                  </a:lnTo>
                  <a:lnTo>
                    <a:pt x="30480" y="18478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399" name="Google Shape;1399;p16"/>
            <p:cNvSpPr/>
            <p:nvPr/>
          </p:nvSpPr>
          <p:spPr>
            <a:xfrm>
              <a:off x="9080500" y="681355"/>
              <a:ext cx="223519" cy="184784"/>
            </a:xfrm>
            <a:custGeom>
              <a:avLst/>
              <a:gdLst/>
              <a:ahLst/>
              <a:cxnLst/>
              <a:rect l="l" t="t" r="r" b="b"/>
              <a:pathLst>
                <a:path w="223519" h="184784" extrusionOk="0">
                  <a:moveTo>
                    <a:pt x="50800" y="169545"/>
                  </a:moveTo>
                  <a:lnTo>
                    <a:pt x="203200" y="55880"/>
                  </a:lnTo>
                  <a:lnTo>
                    <a:pt x="223520" y="40640"/>
                  </a:lnTo>
                  <a:lnTo>
                    <a:pt x="193040" y="0"/>
                  </a:lnTo>
                  <a:lnTo>
                    <a:pt x="172720" y="15240"/>
                  </a:lnTo>
                  <a:lnTo>
                    <a:pt x="20320" y="128905"/>
                  </a:lnTo>
                  <a:lnTo>
                    <a:pt x="0" y="143510"/>
                  </a:lnTo>
                  <a:lnTo>
                    <a:pt x="30480" y="18478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400" name="Google Shape;1400;p16"/>
            <p:cNvSpPr/>
            <p:nvPr/>
          </p:nvSpPr>
          <p:spPr>
            <a:xfrm>
              <a:off x="9715500" y="1043305"/>
              <a:ext cx="223519" cy="184784"/>
            </a:xfrm>
            <a:custGeom>
              <a:avLst/>
              <a:gdLst/>
              <a:ahLst/>
              <a:cxnLst/>
              <a:rect l="l" t="t" r="r" b="b"/>
              <a:pathLst>
                <a:path w="223519" h="184784" extrusionOk="0">
                  <a:moveTo>
                    <a:pt x="50800" y="169545"/>
                  </a:moveTo>
                  <a:lnTo>
                    <a:pt x="203200" y="55880"/>
                  </a:lnTo>
                  <a:lnTo>
                    <a:pt x="223520" y="40640"/>
                  </a:lnTo>
                  <a:lnTo>
                    <a:pt x="193040" y="0"/>
                  </a:lnTo>
                  <a:lnTo>
                    <a:pt x="172720" y="15240"/>
                  </a:lnTo>
                  <a:lnTo>
                    <a:pt x="20320" y="128905"/>
                  </a:lnTo>
                  <a:lnTo>
                    <a:pt x="0" y="143510"/>
                  </a:lnTo>
                  <a:lnTo>
                    <a:pt x="30480" y="18478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401" name="Google Shape;1401;p16"/>
            <p:cNvSpPr/>
            <p:nvPr/>
          </p:nvSpPr>
          <p:spPr>
            <a:xfrm>
              <a:off x="10350500" y="1405255"/>
              <a:ext cx="223519" cy="184784"/>
            </a:xfrm>
            <a:custGeom>
              <a:avLst/>
              <a:gdLst/>
              <a:ahLst/>
              <a:cxnLst/>
              <a:rect l="l" t="t" r="r" b="b"/>
              <a:pathLst>
                <a:path w="223519" h="184784" extrusionOk="0">
                  <a:moveTo>
                    <a:pt x="0" y="143510"/>
                  </a:moveTo>
                  <a:lnTo>
                    <a:pt x="30480" y="184785"/>
                  </a:lnTo>
                  <a:lnTo>
                    <a:pt x="50800" y="169545"/>
                  </a:lnTo>
                  <a:lnTo>
                    <a:pt x="203200" y="55880"/>
                  </a:lnTo>
                  <a:lnTo>
                    <a:pt x="223520" y="40640"/>
                  </a:lnTo>
                  <a:lnTo>
                    <a:pt x="193040" y="0"/>
                  </a:lnTo>
                  <a:lnTo>
                    <a:pt x="172720" y="15240"/>
                  </a:lnTo>
                  <a:lnTo>
                    <a:pt x="20320" y="12890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402" name="Google Shape;1402;p16"/>
            <p:cNvSpPr/>
            <p:nvPr/>
          </p:nvSpPr>
          <p:spPr>
            <a:xfrm>
              <a:off x="10985500" y="1767204"/>
              <a:ext cx="223519" cy="184785"/>
            </a:xfrm>
            <a:custGeom>
              <a:avLst/>
              <a:gdLst/>
              <a:ahLst/>
              <a:cxnLst/>
              <a:rect l="l" t="t" r="r" b="b"/>
              <a:pathLst>
                <a:path w="223519" h="184785" extrusionOk="0">
                  <a:moveTo>
                    <a:pt x="20320" y="128905"/>
                  </a:moveTo>
                  <a:lnTo>
                    <a:pt x="0" y="143510"/>
                  </a:lnTo>
                  <a:lnTo>
                    <a:pt x="30480" y="184785"/>
                  </a:lnTo>
                  <a:lnTo>
                    <a:pt x="50800" y="169545"/>
                  </a:lnTo>
                  <a:lnTo>
                    <a:pt x="203200" y="55880"/>
                  </a:lnTo>
                  <a:lnTo>
                    <a:pt x="223520" y="40640"/>
                  </a:lnTo>
                  <a:lnTo>
                    <a:pt x="193040" y="0"/>
                  </a:lnTo>
                  <a:lnTo>
                    <a:pt x="172720" y="152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403" name="Google Shape;1403;p16"/>
            <p:cNvSpPr/>
            <p:nvPr/>
          </p:nvSpPr>
          <p:spPr>
            <a:xfrm>
              <a:off x="11620500" y="2129154"/>
              <a:ext cx="223519" cy="184785"/>
            </a:xfrm>
            <a:custGeom>
              <a:avLst/>
              <a:gdLst/>
              <a:ahLst/>
              <a:cxnLst/>
              <a:rect l="l" t="t" r="r" b="b"/>
              <a:pathLst>
                <a:path w="223519" h="184785" extrusionOk="0">
                  <a:moveTo>
                    <a:pt x="172720" y="15240"/>
                  </a:moveTo>
                  <a:lnTo>
                    <a:pt x="20320" y="128905"/>
                  </a:lnTo>
                  <a:lnTo>
                    <a:pt x="0" y="143510"/>
                  </a:lnTo>
                  <a:lnTo>
                    <a:pt x="30480" y="184785"/>
                  </a:lnTo>
                  <a:lnTo>
                    <a:pt x="50800" y="169545"/>
                  </a:lnTo>
                  <a:lnTo>
                    <a:pt x="203200" y="55880"/>
                  </a:lnTo>
                  <a:lnTo>
                    <a:pt x="223520" y="40640"/>
                  </a:lnTo>
                  <a:lnTo>
                    <a:pt x="19304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404" name="Google Shape;1404;p16"/>
            <p:cNvSpPr/>
            <p:nvPr/>
          </p:nvSpPr>
          <p:spPr>
            <a:xfrm>
              <a:off x="8623934" y="0"/>
              <a:ext cx="207009" cy="152400"/>
            </a:xfrm>
            <a:custGeom>
              <a:avLst/>
              <a:gdLst/>
              <a:ahLst/>
              <a:cxnLst/>
              <a:rect l="l" t="t" r="r" b="b"/>
              <a:pathLst>
                <a:path w="207009" h="152400" extrusionOk="0">
                  <a:moveTo>
                    <a:pt x="52705" y="135255"/>
                  </a:moveTo>
                  <a:lnTo>
                    <a:pt x="205105" y="1905"/>
                  </a:lnTo>
                  <a:lnTo>
                    <a:pt x="207010" y="0"/>
                  </a:lnTo>
                  <a:lnTo>
                    <a:pt x="130175" y="0"/>
                  </a:lnTo>
                  <a:lnTo>
                    <a:pt x="19050" y="97155"/>
                  </a:lnTo>
                  <a:lnTo>
                    <a:pt x="0" y="113665"/>
                  </a:lnTo>
                  <a:lnTo>
                    <a:pt x="33020" y="15240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405" name="Google Shape;1405;p16"/>
            <p:cNvSpPr/>
            <p:nvPr/>
          </p:nvSpPr>
          <p:spPr>
            <a:xfrm>
              <a:off x="9258934" y="309245"/>
              <a:ext cx="224155" cy="205104"/>
            </a:xfrm>
            <a:custGeom>
              <a:avLst/>
              <a:gdLst/>
              <a:ahLst/>
              <a:cxnLst/>
              <a:rect l="l" t="t" r="r" b="b"/>
              <a:pathLst>
                <a:path w="224155" h="205104" extrusionOk="0">
                  <a:moveTo>
                    <a:pt x="52705" y="187960"/>
                  </a:moveTo>
                  <a:lnTo>
                    <a:pt x="205105" y="54610"/>
                  </a:lnTo>
                  <a:lnTo>
                    <a:pt x="224155" y="38100"/>
                  </a:lnTo>
                  <a:lnTo>
                    <a:pt x="190500" y="0"/>
                  </a:lnTo>
                  <a:lnTo>
                    <a:pt x="171450" y="16510"/>
                  </a:lnTo>
                  <a:lnTo>
                    <a:pt x="19050" y="149860"/>
                  </a:lnTo>
                  <a:lnTo>
                    <a:pt x="0" y="166370"/>
                  </a:lnTo>
                  <a:lnTo>
                    <a:pt x="33020" y="20510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406" name="Google Shape;1406;p16"/>
            <p:cNvSpPr/>
            <p:nvPr/>
          </p:nvSpPr>
          <p:spPr>
            <a:xfrm>
              <a:off x="9893934" y="671194"/>
              <a:ext cx="224155" cy="205105"/>
            </a:xfrm>
            <a:custGeom>
              <a:avLst/>
              <a:gdLst/>
              <a:ahLst/>
              <a:cxnLst/>
              <a:rect l="l" t="t" r="r" b="b"/>
              <a:pathLst>
                <a:path w="224155" h="205105" extrusionOk="0">
                  <a:moveTo>
                    <a:pt x="52705" y="187960"/>
                  </a:moveTo>
                  <a:lnTo>
                    <a:pt x="205105" y="54610"/>
                  </a:lnTo>
                  <a:lnTo>
                    <a:pt x="224155" y="38100"/>
                  </a:lnTo>
                  <a:lnTo>
                    <a:pt x="190500" y="0"/>
                  </a:lnTo>
                  <a:lnTo>
                    <a:pt x="171450" y="16510"/>
                  </a:lnTo>
                  <a:lnTo>
                    <a:pt x="19050" y="149860"/>
                  </a:lnTo>
                  <a:lnTo>
                    <a:pt x="0" y="166370"/>
                  </a:lnTo>
                  <a:lnTo>
                    <a:pt x="33020" y="20510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407" name="Google Shape;1407;p16"/>
            <p:cNvSpPr/>
            <p:nvPr/>
          </p:nvSpPr>
          <p:spPr>
            <a:xfrm>
              <a:off x="10528934" y="1033144"/>
              <a:ext cx="224155" cy="205105"/>
            </a:xfrm>
            <a:custGeom>
              <a:avLst/>
              <a:gdLst/>
              <a:ahLst/>
              <a:cxnLst/>
              <a:rect l="l" t="t" r="r" b="b"/>
              <a:pathLst>
                <a:path w="224155" h="205105" extrusionOk="0">
                  <a:moveTo>
                    <a:pt x="52705" y="187960"/>
                  </a:moveTo>
                  <a:lnTo>
                    <a:pt x="205105" y="54610"/>
                  </a:lnTo>
                  <a:lnTo>
                    <a:pt x="224155" y="38100"/>
                  </a:lnTo>
                  <a:lnTo>
                    <a:pt x="190500" y="0"/>
                  </a:lnTo>
                  <a:lnTo>
                    <a:pt x="171450" y="16510"/>
                  </a:lnTo>
                  <a:lnTo>
                    <a:pt x="19050" y="149860"/>
                  </a:lnTo>
                  <a:lnTo>
                    <a:pt x="0" y="166370"/>
                  </a:lnTo>
                  <a:lnTo>
                    <a:pt x="33020" y="20510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408" name="Google Shape;1408;p16"/>
            <p:cNvSpPr/>
            <p:nvPr/>
          </p:nvSpPr>
          <p:spPr>
            <a:xfrm>
              <a:off x="11163934" y="1395094"/>
              <a:ext cx="224155" cy="205105"/>
            </a:xfrm>
            <a:custGeom>
              <a:avLst/>
              <a:gdLst/>
              <a:ahLst/>
              <a:cxnLst/>
              <a:rect l="l" t="t" r="r" b="b"/>
              <a:pathLst>
                <a:path w="224155" h="205105" extrusionOk="0">
                  <a:moveTo>
                    <a:pt x="171450" y="16510"/>
                  </a:moveTo>
                  <a:lnTo>
                    <a:pt x="19050" y="149860"/>
                  </a:lnTo>
                  <a:lnTo>
                    <a:pt x="0" y="166370"/>
                  </a:lnTo>
                  <a:lnTo>
                    <a:pt x="33020" y="205105"/>
                  </a:lnTo>
                  <a:lnTo>
                    <a:pt x="52705" y="187960"/>
                  </a:lnTo>
                  <a:lnTo>
                    <a:pt x="205105" y="54610"/>
                  </a:lnTo>
                  <a:lnTo>
                    <a:pt x="224155" y="38100"/>
                  </a:lnTo>
                  <a:lnTo>
                    <a:pt x="19050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409" name="Google Shape;1409;p16"/>
            <p:cNvSpPr/>
            <p:nvPr/>
          </p:nvSpPr>
          <p:spPr>
            <a:xfrm>
              <a:off x="11798934" y="1757045"/>
              <a:ext cx="224155" cy="205104"/>
            </a:xfrm>
            <a:custGeom>
              <a:avLst/>
              <a:gdLst/>
              <a:ahLst/>
              <a:cxnLst/>
              <a:rect l="l" t="t" r="r" b="b"/>
              <a:pathLst>
                <a:path w="224155" h="205104" extrusionOk="0">
                  <a:moveTo>
                    <a:pt x="224155" y="38100"/>
                  </a:moveTo>
                  <a:lnTo>
                    <a:pt x="190500" y="0"/>
                  </a:lnTo>
                  <a:lnTo>
                    <a:pt x="171450" y="16510"/>
                  </a:lnTo>
                  <a:lnTo>
                    <a:pt x="19050" y="149860"/>
                  </a:lnTo>
                  <a:lnTo>
                    <a:pt x="0" y="166370"/>
                  </a:lnTo>
                  <a:lnTo>
                    <a:pt x="33020" y="205105"/>
                  </a:lnTo>
                  <a:lnTo>
                    <a:pt x="52705" y="187960"/>
                  </a:lnTo>
                  <a:lnTo>
                    <a:pt x="205105" y="5461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410" name="Google Shape;1410;p16"/>
            <p:cNvSpPr/>
            <p:nvPr/>
          </p:nvSpPr>
          <p:spPr>
            <a:xfrm>
              <a:off x="9462134" y="0"/>
              <a:ext cx="199390" cy="159385"/>
            </a:xfrm>
            <a:custGeom>
              <a:avLst/>
              <a:gdLst/>
              <a:ahLst/>
              <a:cxnLst/>
              <a:rect l="l" t="t" r="r" b="b"/>
              <a:pathLst>
                <a:path w="199390" h="159385" extrusionOk="0">
                  <a:moveTo>
                    <a:pt x="53340" y="141605"/>
                  </a:moveTo>
                  <a:lnTo>
                    <a:pt x="199390" y="0"/>
                  </a:lnTo>
                  <a:lnTo>
                    <a:pt x="126365" y="0"/>
                  </a:lnTo>
                  <a:lnTo>
                    <a:pt x="17780" y="105410"/>
                  </a:lnTo>
                  <a:lnTo>
                    <a:pt x="0" y="123190"/>
                  </a:lnTo>
                  <a:lnTo>
                    <a:pt x="34925" y="15938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411" name="Google Shape;1411;p16"/>
            <p:cNvSpPr/>
            <p:nvPr/>
          </p:nvSpPr>
          <p:spPr>
            <a:xfrm>
              <a:off x="10097134" y="301625"/>
              <a:ext cx="224155" cy="219709"/>
            </a:xfrm>
            <a:custGeom>
              <a:avLst/>
              <a:gdLst/>
              <a:ahLst/>
              <a:cxnLst/>
              <a:rect l="l" t="t" r="r" b="b"/>
              <a:pathLst>
                <a:path w="224155" h="219709" extrusionOk="0">
                  <a:moveTo>
                    <a:pt x="53340" y="201930"/>
                  </a:moveTo>
                  <a:lnTo>
                    <a:pt x="205740" y="53975"/>
                  </a:lnTo>
                  <a:lnTo>
                    <a:pt x="224155" y="36830"/>
                  </a:lnTo>
                  <a:lnTo>
                    <a:pt x="188595" y="0"/>
                  </a:lnTo>
                  <a:lnTo>
                    <a:pt x="170180" y="17780"/>
                  </a:lnTo>
                  <a:lnTo>
                    <a:pt x="17780" y="165735"/>
                  </a:lnTo>
                  <a:lnTo>
                    <a:pt x="0" y="183515"/>
                  </a:lnTo>
                  <a:lnTo>
                    <a:pt x="34925" y="21971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412" name="Google Shape;1412;p16"/>
            <p:cNvSpPr/>
            <p:nvPr/>
          </p:nvSpPr>
          <p:spPr>
            <a:xfrm>
              <a:off x="10732134" y="663575"/>
              <a:ext cx="224155" cy="219710"/>
            </a:xfrm>
            <a:custGeom>
              <a:avLst/>
              <a:gdLst/>
              <a:ahLst/>
              <a:cxnLst/>
              <a:rect l="l" t="t" r="r" b="b"/>
              <a:pathLst>
                <a:path w="224155" h="219710" extrusionOk="0">
                  <a:moveTo>
                    <a:pt x="53340" y="201930"/>
                  </a:moveTo>
                  <a:lnTo>
                    <a:pt x="205740" y="53975"/>
                  </a:lnTo>
                  <a:lnTo>
                    <a:pt x="224155" y="36830"/>
                  </a:lnTo>
                  <a:lnTo>
                    <a:pt x="188595" y="0"/>
                  </a:lnTo>
                  <a:lnTo>
                    <a:pt x="170180" y="17780"/>
                  </a:lnTo>
                  <a:lnTo>
                    <a:pt x="17780" y="165735"/>
                  </a:lnTo>
                  <a:lnTo>
                    <a:pt x="0" y="183515"/>
                  </a:lnTo>
                  <a:lnTo>
                    <a:pt x="34925" y="21971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413" name="Google Shape;1413;p16"/>
            <p:cNvSpPr/>
            <p:nvPr/>
          </p:nvSpPr>
          <p:spPr>
            <a:xfrm>
              <a:off x="11367134" y="1025525"/>
              <a:ext cx="224155" cy="219710"/>
            </a:xfrm>
            <a:custGeom>
              <a:avLst/>
              <a:gdLst/>
              <a:ahLst/>
              <a:cxnLst/>
              <a:rect l="l" t="t" r="r" b="b"/>
              <a:pathLst>
                <a:path w="224155" h="219710" extrusionOk="0">
                  <a:moveTo>
                    <a:pt x="34925" y="219710"/>
                  </a:moveTo>
                  <a:lnTo>
                    <a:pt x="53340" y="201930"/>
                  </a:lnTo>
                  <a:lnTo>
                    <a:pt x="205740" y="53975"/>
                  </a:lnTo>
                  <a:lnTo>
                    <a:pt x="224155" y="36830"/>
                  </a:lnTo>
                  <a:lnTo>
                    <a:pt x="188595" y="0"/>
                  </a:lnTo>
                  <a:lnTo>
                    <a:pt x="170180" y="17780"/>
                  </a:lnTo>
                  <a:lnTo>
                    <a:pt x="17780" y="165735"/>
                  </a:lnTo>
                  <a:lnTo>
                    <a:pt x="0" y="183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414" name="Google Shape;1414;p16"/>
            <p:cNvSpPr/>
            <p:nvPr/>
          </p:nvSpPr>
          <p:spPr>
            <a:xfrm>
              <a:off x="12002134" y="1387475"/>
              <a:ext cx="189865" cy="219710"/>
            </a:xfrm>
            <a:custGeom>
              <a:avLst/>
              <a:gdLst/>
              <a:ahLst/>
              <a:cxnLst/>
              <a:rect l="l" t="t" r="r" b="b"/>
              <a:pathLst>
                <a:path w="189865" h="219710" extrusionOk="0">
                  <a:moveTo>
                    <a:pt x="170180" y="17780"/>
                  </a:moveTo>
                  <a:lnTo>
                    <a:pt x="17780" y="165735"/>
                  </a:lnTo>
                  <a:lnTo>
                    <a:pt x="0" y="183515"/>
                  </a:lnTo>
                  <a:lnTo>
                    <a:pt x="34925" y="219710"/>
                  </a:lnTo>
                  <a:lnTo>
                    <a:pt x="53340" y="201930"/>
                  </a:lnTo>
                  <a:lnTo>
                    <a:pt x="189865" y="69850"/>
                  </a:lnTo>
                  <a:lnTo>
                    <a:pt x="189865" y="1270"/>
                  </a:lnTo>
                  <a:lnTo>
                    <a:pt x="18859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415" name="Google Shape;1415;p16"/>
            <p:cNvSpPr/>
            <p:nvPr/>
          </p:nvSpPr>
          <p:spPr>
            <a:xfrm>
              <a:off x="10316844" y="0"/>
              <a:ext cx="195580" cy="163829"/>
            </a:xfrm>
            <a:custGeom>
              <a:avLst/>
              <a:gdLst/>
              <a:ahLst/>
              <a:cxnLst/>
              <a:rect l="l" t="t" r="r" b="b"/>
              <a:pathLst>
                <a:path w="195580" h="163829" extrusionOk="0">
                  <a:moveTo>
                    <a:pt x="53975" y="145415"/>
                  </a:moveTo>
                  <a:lnTo>
                    <a:pt x="195580" y="0"/>
                  </a:lnTo>
                  <a:lnTo>
                    <a:pt x="125095" y="0"/>
                  </a:lnTo>
                  <a:lnTo>
                    <a:pt x="17780" y="109855"/>
                  </a:lnTo>
                  <a:lnTo>
                    <a:pt x="0" y="128270"/>
                  </a:lnTo>
                  <a:lnTo>
                    <a:pt x="36195" y="16383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416" name="Google Shape;1416;p16"/>
            <p:cNvSpPr/>
            <p:nvPr/>
          </p:nvSpPr>
          <p:spPr>
            <a:xfrm>
              <a:off x="10951844" y="297179"/>
              <a:ext cx="224155" cy="228600"/>
            </a:xfrm>
            <a:custGeom>
              <a:avLst/>
              <a:gdLst/>
              <a:ahLst/>
              <a:cxnLst/>
              <a:rect l="l" t="t" r="r" b="b"/>
              <a:pathLst>
                <a:path w="224155" h="228600" extrusionOk="0">
                  <a:moveTo>
                    <a:pt x="53975" y="210185"/>
                  </a:moveTo>
                  <a:lnTo>
                    <a:pt x="206375" y="53975"/>
                  </a:lnTo>
                  <a:lnTo>
                    <a:pt x="224155" y="35560"/>
                  </a:lnTo>
                  <a:lnTo>
                    <a:pt x="187961" y="0"/>
                  </a:lnTo>
                  <a:lnTo>
                    <a:pt x="170180" y="18415"/>
                  </a:lnTo>
                  <a:lnTo>
                    <a:pt x="17780" y="174625"/>
                  </a:lnTo>
                  <a:lnTo>
                    <a:pt x="0" y="193040"/>
                  </a:lnTo>
                  <a:lnTo>
                    <a:pt x="36195" y="22860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417" name="Google Shape;1417;p16"/>
            <p:cNvSpPr/>
            <p:nvPr/>
          </p:nvSpPr>
          <p:spPr>
            <a:xfrm>
              <a:off x="11586844" y="659130"/>
              <a:ext cx="224155" cy="228600"/>
            </a:xfrm>
            <a:custGeom>
              <a:avLst/>
              <a:gdLst/>
              <a:ahLst/>
              <a:cxnLst/>
              <a:rect l="l" t="t" r="r" b="b"/>
              <a:pathLst>
                <a:path w="224155" h="228600" extrusionOk="0">
                  <a:moveTo>
                    <a:pt x="53975" y="210185"/>
                  </a:moveTo>
                  <a:lnTo>
                    <a:pt x="206375" y="53975"/>
                  </a:lnTo>
                  <a:lnTo>
                    <a:pt x="224155" y="35560"/>
                  </a:lnTo>
                  <a:lnTo>
                    <a:pt x="187961" y="0"/>
                  </a:lnTo>
                  <a:lnTo>
                    <a:pt x="170180" y="18415"/>
                  </a:lnTo>
                  <a:lnTo>
                    <a:pt x="17780" y="174625"/>
                  </a:lnTo>
                  <a:lnTo>
                    <a:pt x="0" y="193040"/>
                  </a:lnTo>
                  <a:lnTo>
                    <a:pt x="36195" y="22860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418" name="Google Shape;1418;p16"/>
            <p:cNvSpPr/>
            <p:nvPr/>
          </p:nvSpPr>
          <p:spPr>
            <a:xfrm>
              <a:off x="11179175" y="0"/>
              <a:ext cx="194944" cy="165100"/>
            </a:xfrm>
            <a:custGeom>
              <a:avLst/>
              <a:gdLst/>
              <a:ahLst/>
              <a:cxnLst/>
              <a:rect l="l" t="t" r="r" b="b"/>
              <a:pathLst>
                <a:path w="194944" h="165100" extrusionOk="0">
                  <a:moveTo>
                    <a:pt x="54610" y="146685"/>
                  </a:moveTo>
                  <a:lnTo>
                    <a:pt x="194945" y="0"/>
                  </a:lnTo>
                  <a:lnTo>
                    <a:pt x="124460" y="0"/>
                  </a:lnTo>
                  <a:lnTo>
                    <a:pt x="17780" y="111125"/>
                  </a:lnTo>
                  <a:lnTo>
                    <a:pt x="0" y="129540"/>
                  </a:lnTo>
                  <a:lnTo>
                    <a:pt x="36830" y="16510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419" name="Google Shape;1419;p16"/>
            <p:cNvSpPr/>
            <p:nvPr/>
          </p:nvSpPr>
          <p:spPr>
            <a:xfrm>
              <a:off x="11814175" y="296545"/>
              <a:ext cx="224155" cy="230504"/>
            </a:xfrm>
            <a:custGeom>
              <a:avLst/>
              <a:gdLst/>
              <a:ahLst/>
              <a:cxnLst/>
              <a:rect l="l" t="t" r="r" b="b"/>
              <a:pathLst>
                <a:path w="224155" h="230504" extrusionOk="0">
                  <a:moveTo>
                    <a:pt x="54610" y="212090"/>
                  </a:moveTo>
                  <a:lnTo>
                    <a:pt x="207010" y="53340"/>
                  </a:lnTo>
                  <a:lnTo>
                    <a:pt x="224155" y="34925"/>
                  </a:lnTo>
                  <a:lnTo>
                    <a:pt x="187960" y="0"/>
                  </a:lnTo>
                  <a:lnTo>
                    <a:pt x="170180" y="17780"/>
                  </a:lnTo>
                  <a:lnTo>
                    <a:pt x="17780" y="176530"/>
                  </a:lnTo>
                  <a:lnTo>
                    <a:pt x="0" y="194945"/>
                  </a:lnTo>
                  <a:lnTo>
                    <a:pt x="36830" y="23050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420" name="Google Shape;1420;p16"/>
            <p:cNvSpPr/>
            <p:nvPr/>
          </p:nvSpPr>
          <p:spPr>
            <a:xfrm>
              <a:off x="12040869" y="0"/>
              <a:ext cx="151130" cy="162560"/>
            </a:xfrm>
            <a:custGeom>
              <a:avLst/>
              <a:gdLst/>
              <a:ahLst/>
              <a:cxnLst/>
              <a:rect l="l" t="t" r="r" b="b"/>
              <a:pathLst>
                <a:path w="151130" h="162560" extrusionOk="0">
                  <a:moveTo>
                    <a:pt x="125095" y="0"/>
                  </a:moveTo>
                  <a:lnTo>
                    <a:pt x="17780" y="109220"/>
                  </a:lnTo>
                  <a:lnTo>
                    <a:pt x="0" y="127000"/>
                  </a:lnTo>
                  <a:lnTo>
                    <a:pt x="36195" y="162560"/>
                  </a:lnTo>
                  <a:lnTo>
                    <a:pt x="53975" y="144780"/>
                  </a:lnTo>
                  <a:lnTo>
                    <a:pt x="151130" y="45720"/>
                  </a:lnTo>
                  <a:lnTo>
                    <a:pt x="15113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grpSp>
      <p:sp>
        <p:nvSpPr>
          <p:cNvPr id="1421" name="Google Shape;1421;p16"/>
          <p:cNvSpPr/>
          <p:nvPr/>
        </p:nvSpPr>
        <p:spPr>
          <a:xfrm>
            <a:off x="0" y="0"/>
            <a:ext cx="6592800" cy="6867200"/>
          </a:xfrm>
          <a:prstGeom prst="rect">
            <a:avLst/>
          </a:prstGeom>
          <a:solidFill>
            <a:schemeClr val="dk2"/>
          </a:solidFill>
          <a:ln>
            <a:noFill/>
          </a:ln>
        </p:spPr>
        <p:txBody>
          <a:bodyPr spcFirstLastPara="1" wrap="square" lIns="121900" tIns="121900" rIns="121900" bIns="121900"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sp>
        <p:nvSpPr>
          <p:cNvPr id="1422" name="Google Shape;1422;p16"/>
          <p:cNvSpPr/>
          <p:nvPr/>
        </p:nvSpPr>
        <p:spPr>
          <a:xfrm>
            <a:off x="5437234" y="1475433"/>
            <a:ext cx="1539167" cy="5391667"/>
          </a:xfrm>
          <a:custGeom>
            <a:avLst/>
            <a:gdLst/>
            <a:ahLst/>
            <a:cxnLst/>
            <a:rect l="l" t="t" r="r" b="b"/>
            <a:pathLst>
              <a:path w="46175" h="161750" extrusionOk="0">
                <a:moveTo>
                  <a:pt x="10655" y="0"/>
                </a:moveTo>
                <a:lnTo>
                  <a:pt x="30874" y="24044"/>
                </a:lnTo>
                <a:lnTo>
                  <a:pt x="22404" y="35246"/>
                </a:lnTo>
                <a:lnTo>
                  <a:pt x="16940" y="45082"/>
                </a:lnTo>
                <a:lnTo>
                  <a:pt x="25410" y="59290"/>
                </a:lnTo>
                <a:lnTo>
                  <a:pt x="46175" y="103826"/>
                </a:lnTo>
                <a:lnTo>
                  <a:pt x="38251" y="161477"/>
                </a:lnTo>
                <a:lnTo>
                  <a:pt x="19399" y="161750"/>
                </a:lnTo>
                <a:lnTo>
                  <a:pt x="0" y="160111"/>
                </a:lnTo>
                <a:close/>
              </a:path>
            </a:pathLst>
          </a:custGeom>
          <a:solidFill>
            <a:schemeClr val="dk2"/>
          </a:solidFill>
          <a:ln>
            <a:noFill/>
          </a:ln>
        </p:spPr>
      </p:sp>
      <p:sp>
        <p:nvSpPr>
          <p:cNvPr id="1423" name="Google Shape;1423;p16"/>
          <p:cNvSpPr txBox="1">
            <a:spLocks noGrp="1"/>
          </p:cNvSpPr>
          <p:nvPr>
            <p:ph type="sldNum" idx="12"/>
          </p:nvPr>
        </p:nvSpPr>
        <p:spPr>
          <a:xfrm>
            <a:off x="10978812" y="5993647"/>
            <a:ext cx="731600" cy="524800"/>
          </a:xfrm>
          <a:prstGeom prst="rect">
            <a:avLst/>
          </a:prstGeom>
        </p:spPr>
        <p:txBody>
          <a:bodyPr spcFirstLastPara="1" wrap="square" lIns="91425" tIns="91425" rIns="0" bIns="0" anchor="b" anchorCtr="0">
            <a:noAutofit/>
          </a:bodyPr>
          <a:lstStyle>
            <a:lvl1pPr lvl="0" algn="r" rtl="0">
              <a:buNone/>
              <a:defRPr sz="667">
                <a:solidFill>
                  <a:schemeClr val="lt1"/>
                </a:solidFill>
                <a:latin typeface="Inter"/>
                <a:ea typeface="Inter"/>
                <a:cs typeface="Inter"/>
                <a:sym typeface="Inter"/>
              </a:defRPr>
            </a:lvl1pPr>
            <a:lvl2pPr lvl="1" algn="r" rtl="0">
              <a:buNone/>
              <a:defRPr sz="667">
                <a:solidFill>
                  <a:schemeClr val="lt1"/>
                </a:solidFill>
                <a:latin typeface="Inter"/>
                <a:ea typeface="Inter"/>
                <a:cs typeface="Inter"/>
                <a:sym typeface="Inter"/>
              </a:defRPr>
            </a:lvl2pPr>
            <a:lvl3pPr lvl="2" algn="r" rtl="0">
              <a:buNone/>
              <a:defRPr sz="667">
                <a:solidFill>
                  <a:schemeClr val="lt1"/>
                </a:solidFill>
                <a:latin typeface="Inter"/>
                <a:ea typeface="Inter"/>
                <a:cs typeface="Inter"/>
                <a:sym typeface="Inter"/>
              </a:defRPr>
            </a:lvl3pPr>
            <a:lvl4pPr lvl="3" algn="r" rtl="0">
              <a:buNone/>
              <a:defRPr sz="667">
                <a:solidFill>
                  <a:schemeClr val="lt1"/>
                </a:solidFill>
                <a:latin typeface="Inter"/>
                <a:ea typeface="Inter"/>
                <a:cs typeface="Inter"/>
                <a:sym typeface="Inter"/>
              </a:defRPr>
            </a:lvl4pPr>
            <a:lvl5pPr lvl="4" algn="r" rtl="0">
              <a:buNone/>
              <a:defRPr sz="667">
                <a:solidFill>
                  <a:schemeClr val="lt1"/>
                </a:solidFill>
                <a:latin typeface="Inter"/>
                <a:ea typeface="Inter"/>
                <a:cs typeface="Inter"/>
                <a:sym typeface="Inter"/>
              </a:defRPr>
            </a:lvl5pPr>
            <a:lvl6pPr lvl="5" algn="r" rtl="0">
              <a:buNone/>
              <a:defRPr sz="667">
                <a:solidFill>
                  <a:schemeClr val="lt1"/>
                </a:solidFill>
                <a:latin typeface="Inter"/>
                <a:ea typeface="Inter"/>
                <a:cs typeface="Inter"/>
                <a:sym typeface="Inter"/>
              </a:defRPr>
            </a:lvl6pPr>
            <a:lvl7pPr lvl="6" algn="r" rtl="0">
              <a:buNone/>
              <a:defRPr sz="667">
                <a:solidFill>
                  <a:schemeClr val="lt1"/>
                </a:solidFill>
                <a:latin typeface="Inter"/>
                <a:ea typeface="Inter"/>
                <a:cs typeface="Inter"/>
                <a:sym typeface="Inter"/>
              </a:defRPr>
            </a:lvl7pPr>
            <a:lvl8pPr lvl="7" algn="r" rtl="0">
              <a:buNone/>
              <a:defRPr sz="667">
                <a:solidFill>
                  <a:schemeClr val="lt1"/>
                </a:solidFill>
                <a:latin typeface="Inter"/>
                <a:ea typeface="Inter"/>
                <a:cs typeface="Inter"/>
                <a:sym typeface="Inter"/>
              </a:defRPr>
            </a:lvl8pPr>
            <a:lvl9pPr lvl="8" algn="r" rtl="0">
              <a:buNone/>
              <a:defRPr sz="667">
                <a:solidFill>
                  <a:schemeClr val="lt1"/>
                </a:solidFill>
                <a:latin typeface="Inter"/>
                <a:ea typeface="Inter"/>
                <a:cs typeface="Inter"/>
                <a:sym typeface="Inter"/>
              </a:defRPr>
            </a:lvl9pPr>
          </a:lstStyle>
          <a:p>
            <a:fld id="{00000000-1234-1234-1234-123412341234}" type="slidenum">
              <a:rPr lang="en-GB" smtClean="0"/>
              <a:pPr/>
              <a:t>‹#›</a:t>
            </a:fld>
            <a:endParaRPr lang="en-GB"/>
          </a:p>
        </p:txBody>
      </p:sp>
      <p:sp>
        <p:nvSpPr>
          <p:cNvPr id="1424" name="Google Shape;1424;p16"/>
          <p:cNvSpPr txBox="1"/>
          <p:nvPr/>
        </p:nvSpPr>
        <p:spPr>
          <a:xfrm>
            <a:off x="481600" y="6245247"/>
            <a:ext cx="1288400" cy="273200"/>
          </a:xfrm>
          <a:prstGeom prst="rect">
            <a:avLst/>
          </a:prstGeom>
          <a:noFill/>
          <a:ln>
            <a:noFill/>
          </a:ln>
        </p:spPr>
        <p:txBody>
          <a:bodyPr spcFirstLastPara="1" wrap="square" lIns="0" tIns="0" rIns="0" bIns="0" anchor="b" anchorCtr="0">
            <a:noAutofit/>
          </a:bodyPr>
          <a:lstStyle/>
          <a:p>
            <a:pPr marL="0" lvl="0" indent="0" algn="l" rtl="0">
              <a:spcBef>
                <a:spcPts val="0"/>
              </a:spcBef>
              <a:spcAft>
                <a:spcPts val="0"/>
              </a:spcAft>
              <a:buNone/>
            </a:pPr>
            <a:r>
              <a:rPr lang="en-GB" sz="667">
                <a:solidFill>
                  <a:schemeClr val="lt1"/>
                </a:solidFill>
                <a:latin typeface="Inter"/>
                <a:ea typeface="Inter"/>
                <a:cs typeface="Inter"/>
                <a:sym typeface="Inter"/>
              </a:rPr>
              <a:t>Multiverse</a:t>
            </a:r>
            <a:endParaRPr sz="667">
              <a:solidFill>
                <a:schemeClr val="lt1"/>
              </a:solidFill>
              <a:latin typeface="Inter"/>
              <a:ea typeface="Inter"/>
              <a:cs typeface="Inter"/>
              <a:sym typeface="Inter"/>
            </a:endParaRPr>
          </a:p>
        </p:txBody>
      </p:sp>
      <p:sp>
        <p:nvSpPr>
          <p:cNvPr id="1425" name="Google Shape;1425;p16"/>
          <p:cNvSpPr/>
          <p:nvPr/>
        </p:nvSpPr>
        <p:spPr>
          <a:xfrm>
            <a:off x="481601" y="414630"/>
            <a:ext cx="349111" cy="305471"/>
          </a:xfrm>
          <a:custGeom>
            <a:avLst/>
            <a:gdLst/>
            <a:ahLst/>
            <a:cxnLst/>
            <a:rect l="l" t="t" r="r" b="b"/>
            <a:pathLst>
              <a:path w="1586865" h="1388506" extrusionOk="0">
                <a:moveTo>
                  <a:pt x="1083683" y="969931"/>
                </a:moveTo>
                <a:lnTo>
                  <a:pt x="1083683" y="579692"/>
                </a:lnTo>
                <a:lnTo>
                  <a:pt x="849297" y="969931"/>
                </a:lnTo>
                <a:lnTo>
                  <a:pt x="848892" y="969931"/>
                </a:lnTo>
                <a:cubicBezTo>
                  <a:pt x="848892" y="969931"/>
                  <a:pt x="848892" y="969931"/>
                  <a:pt x="848892" y="969931"/>
                </a:cubicBezTo>
                <a:lnTo>
                  <a:pt x="738783" y="969931"/>
                </a:lnTo>
                <a:lnTo>
                  <a:pt x="738783" y="577668"/>
                </a:lnTo>
                <a:lnTo>
                  <a:pt x="549735" y="892612"/>
                </a:lnTo>
                <a:cubicBezTo>
                  <a:pt x="527876" y="929449"/>
                  <a:pt x="510873" y="958191"/>
                  <a:pt x="503992" y="969931"/>
                </a:cubicBezTo>
                <a:lnTo>
                  <a:pt x="393073" y="969931"/>
                </a:lnTo>
                <a:lnTo>
                  <a:pt x="393073" y="418576"/>
                </a:lnTo>
                <a:lnTo>
                  <a:pt x="503992" y="418576"/>
                </a:lnTo>
                <a:lnTo>
                  <a:pt x="502777" y="760643"/>
                </a:lnTo>
                <a:lnTo>
                  <a:pt x="503587" y="782098"/>
                </a:lnTo>
                <a:lnTo>
                  <a:pt x="721781" y="418981"/>
                </a:lnTo>
                <a:lnTo>
                  <a:pt x="721781" y="418981"/>
                </a:lnTo>
                <a:lnTo>
                  <a:pt x="721781" y="418981"/>
                </a:lnTo>
                <a:lnTo>
                  <a:pt x="739188" y="418981"/>
                </a:lnTo>
                <a:lnTo>
                  <a:pt x="847678" y="418981"/>
                </a:lnTo>
                <a:cubicBezTo>
                  <a:pt x="847678" y="418981"/>
                  <a:pt x="848487" y="722995"/>
                  <a:pt x="848892" y="783717"/>
                </a:cubicBezTo>
                <a:lnTo>
                  <a:pt x="1067895" y="418981"/>
                </a:lnTo>
                <a:lnTo>
                  <a:pt x="1067895" y="418981"/>
                </a:lnTo>
                <a:lnTo>
                  <a:pt x="1067895" y="418981"/>
                </a:lnTo>
                <a:lnTo>
                  <a:pt x="1085302" y="418981"/>
                </a:lnTo>
                <a:lnTo>
                  <a:pt x="1193387" y="418981"/>
                </a:lnTo>
                <a:lnTo>
                  <a:pt x="1193387" y="970336"/>
                </a:lnTo>
                <a:lnTo>
                  <a:pt x="1083683" y="970336"/>
                </a:lnTo>
                <a:close/>
                <a:moveTo>
                  <a:pt x="1190149" y="0"/>
                </a:moveTo>
                <a:lnTo>
                  <a:pt x="396716" y="0"/>
                </a:lnTo>
                <a:lnTo>
                  <a:pt x="0" y="694253"/>
                </a:lnTo>
                <a:lnTo>
                  <a:pt x="396716" y="1388507"/>
                </a:lnTo>
                <a:lnTo>
                  <a:pt x="1190149" y="1388507"/>
                </a:lnTo>
                <a:lnTo>
                  <a:pt x="1586865" y="694253"/>
                </a:lnTo>
                <a:lnTo>
                  <a:pt x="1190149" y="0"/>
                </a:lnTo>
                <a:close/>
              </a:path>
            </a:pathLst>
          </a:custGeom>
          <a:solidFill>
            <a:schemeClr val="lt1"/>
          </a:solidFill>
          <a:ln>
            <a:noFill/>
          </a:ln>
        </p:spPr>
        <p:txBody>
          <a:bodyPr spcFirstLastPara="1" wrap="square" lIns="91433" tIns="45700" rIns="91433" bIns="45700"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426" name="Google Shape;1426;p16"/>
          <p:cNvSpPr txBox="1"/>
          <p:nvPr/>
        </p:nvSpPr>
        <p:spPr>
          <a:xfrm>
            <a:off x="5451800" y="6245247"/>
            <a:ext cx="1288400" cy="273200"/>
          </a:xfrm>
          <a:prstGeom prst="rect">
            <a:avLst/>
          </a:prstGeom>
          <a:noFill/>
          <a:ln>
            <a:noFill/>
          </a:ln>
        </p:spPr>
        <p:txBody>
          <a:bodyPr spcFirstLastPara="1" wrap="square" lIns="0" tIns="0" rIns="0" bIns="0" anchor="b" anchorCtr="0">
            <a:noAutofit/>
          </a:bodyPr>
          <a:lstStyle/>
          <a:p>
            <a:pPr marL="0" lvl="0" indent="0" algn="ctr" rtl="0">
              <a:spcBef>
                <a:spcPts val="0"/>
              </a:spcBef>
              <a:spcAft>
                <a:spcPts val="0"/>
              </a:spcAft>
              <a:buNone/>
            </a:pPr>
            <a:r>
              <a:rPr lang="en-GB" sz="667">
                <a:solidFill>
                  <a:schemeClr val="lt1"/>
                </a:solidFill>
                <a:latin typeface="Inter"/>
                <a:ea typeface="Inter"/>
                <a:cs typeface="Inter"/>
                <a:sym typeface="Inter"/>
              </a:rPr>
              <a:t>Private and Confidential</a:t>
            </a:r>
            <a:endParaRPr sz="667">
              <a:solidFill>
                <a:schemeClr val="lt1"/>
              </a:solidFill>
              <a:latin typeface="Inter"/>
              <a:ea typeface="Inter"/>
              <a:cs typeface="Inter"/>
              <a:sym typeface="Inter"/>
            </a:endParaRPr>
          </a:p>
        </p:txBody>
      </p:sp>
      <p:sp>
        <p:nvSpPr>
          <p:cNvPr id="1427" name="Google Shape;1427;p16"/>
          <p:cNvSpPr/>
          <p:nvPr/>
        </p:nvSpPr>
        <p:spPr>
          <a:xfrm>
            <a:off x="6353034" y="1620567"/>
            <a:ext cx="739833" cy="2360367"/>
          </a:xfrm>
          <a:custGeom>
            <a:avLst/>
            <a:gdLst/>
            <a:ahLst/>
            <a:cxnLst/>
            <a:rect l="l" t="t" r="r" b="b"/>
            <a:pathLst>
              <a:path w="22195" h="70811" extrusionOk="0">
                <a:moveTo>
                  <a:pt x="0" y="0"/>
                </a:moveTo>
                <a:lnTo>
                  <a:pt x="22195" y="11978"/>
                </a:lnTo>
                <a:lnTo>
                  <a:pt x="8103" y="26069"/>
                </a:lnTo>
                <a:lnTo>
                  <a:pt x="15149" y="42275"/>
                </a:lnTo>
                <a:lnTo>
                  <a:pt x="9512" y="47207"/>
                </a:lnTo>
                <a:lnTo>
                  <a:pt x="15149" y="66583"/>
                </a:lnTo>
                <a:lnTo>
                  <a:pt x="2114" y="70811"/>
                </a:lnTo>
                <a:close/>
              </a:path>
            </a:pathLst>
          </a:custGeom>
          <a:solidFill>
            <a:schemeClr val="dk2"/>
          </a:solidFill>
          <a:ln>
            <a:noFill/>
          </a:ln>
        </p:spPr>
      </p:sp>
      <p:sp>
        <p:nvSpPr>
          <p:cNvPr id="1428" name="Google Shape;1428;p16"/>
          <p:cNvSpPr txBox="1">
            <a:spLocks noGrp="1"/>
          </p:cNvSpPr>
          <p:nvPr>
            <p:ph type="body" idx="1"/>
          </p:nvPr>
        </p:nvSpPr>
        <p:spPr>
          <a:xfrm>
            <a:off x="481600" y="1825633"/>
            <a:ext cx="5871600" cy="4351200"/>
          </a:xfrm>
          <a:prstGeom prst="rect">
            <a:avLst/>
          </a:prstGeom>
          <a:noFill/>
          <a:ln>
            <a:noFill/>
          </a:ln>
        </p:spPr>
        <p:txBody>
          <a:bodyPr spcFirstLastPara="1" wrap="square" lIns="0" tIns="34275" rIns="68575" bIns="34275" anchor="t" anchorCtr="0">
            <a:noAutofit/>
          </a:bodyPr>
          <a:lstStyle>
            <a:lvl1pPr marL="609585" lvl="0" indent="-406390" algn="l" rtl="0">
              <a:lnSpc>
                <a:spcPct val="125000"/>
              </a:lnSpc>
              <a:spcBef>
                <a:spcPts val="0"/>
              </a:spcBef>
              <a:spcAft>
                <a:spcPts val="0"/>
              </a:spcAft>
              <a:buClr>
                <a:schemeClr val="lt1"/>
              </a:buClr>
              <a:buSzPts val="1200"/>
              <a:buFont typeface="Inter"/>
              <a:buChar char="●"/>
              <a:defRPr>
                <a:solidFill>
                  <a:schemeClr val="lt1"/>
                </a:solidFill>
              </a:defRPr>
            </a:lvl1pPr>
            <a:lvl2pPr marL="1219170" lvl="1" indent="-406390" algn="l" rtl="0">
              <a:lnSpc>
                <a:spcPct val="125000"/>
              </a:lnSpc>
              <a:spcBef>
                <a:spcPts val="1200"/>
              </a:spcBef>
              <a:spcAft>
                <a:spcPts val="0"/>
              </a:spcAft>
              <a:buClr>
                <a:schemeClr val="lt1"/>
              </a:buClr>
              <a:buSzPts val="1200"/>
              <a:buFont typeface="Inter"/>
              <a:buChar char="●"/>
              <a:defRPr>
                <a:solidFill>
                  <a:schemeClr val="lt1"/>
                </a:solidFill>
              </a:defRPr>
            </a:lvl2pPr>
            <a:lvl3pPr marL="1828754" lvl="2" indent="-406390" algn="l" rtl="0">
              <a:lnSpc>
                <a:spcPct val="125000"/>
              </a:lnSpc>
              <a:spcBef>
                <a:spcPts val="1200"/>
              </a:spcBef>
              <a:spcAft>
                <a:spcPts val="0"/>
              </a:spcAft>
              <a:buClr>
                <a:schemeClr val="lt1"/>
              </a:buClr>
              <a:buSzPts val="1200"/>
              <a:buFont typeface="Inter"/>
              <a:buChar char="●"/>
              <a:defRPr>
                <a:solidFill>
                  <a:schemeClr val="lt1"/>
                </a:solidFill>
              </a:defRPr>
            </a:lvl3pPr>
            <a:lvl4pPr marL="2438339" lvl="3" indent="-406390" algn="l" rtl="0">
              <a:lnSpc>
                <a:spcPct val="125000"/>
              </a:lnSpc>
              <a:spcBef>
                <a:spcPts val="1200"/>
              </a:spcBef>
              <a:spcAft>
                <a:spcPts val="0"/>
              </a:spcAft>
              <a:buClr>
                <a:schemeClr val="lt1"/>
              </a:buClr>
              <a:buSzPts val="1200"/>
              <a:buFont typeface="Inter"/>
              <a:buChar char="●"/>
              <a:defRPr>
                <a:solidFill>
                  <a:schemeClr val="lt1"/>
                </a:solidFill>
              </a:defRPr>
            </a:lvl4pPr>
            <a:lvl5pPr marL="3047924" lvl="4" indent="-406390" algn="l" rtl="0">
              <a:lnSpc>
                <a:spcPct val="125000"/>
              </a:lnSpc>
              <a:spcBef>
                <a:spcPts val="1200"/>
              </a:spcBef>
              <a:spcAft>
                <a:spcPts val="0"/>
              </a:spcAft>
              <a:buClr>
                <a:schemeClr val="lt1"/>
              </a:buClr>
              <a:buSzPts val="1200"/>
              <a:buFont typeface="Inter"/>
              <a:buChar char="●"/>
              <a:defRPr>
                <a:solidFill>
                  <a:schemeClr val="lt1"/>
                </a:solidFill>
              </a:defRPr>
            </a:lvl5pPr>
            <a:lvl6pPr marL="3657509" lvl="5" indent="-406390" algn="l" rtl="0">
              <a:lnSpc>
                <a:spcPct val="125000"/>
              </a:lnSpc>
              <a:spcBef>
                <a:spcPts val="1200"/>
              </a:spcBef>
              <a:spcAft>
                <a:spcPts val="0"/>
              </a:spcAft>
              <a:buClr>
                <a:schemeClr val="lt1"/>
              </a:buClr>
              <a:buSzPts val="1200"/>
              <a:buFont typeface="Inter"/>
              <a:buChar char="●"/>
              <a:defRPr>
                <a:solidFill>
                  <a:schemeClr val="lt1"/>
                </a:solidFill>
              </a:defRPr>
            </a:lvl6pPr>
            <a:lvl7pPr marL="4267093" lvl="6" indent="-406390" algn="l" rtl="0">
              <a:lnSpc>
                <a:spcPct val="125000"/>
              </a:lnSpc>
              <a:spcBef>
                <a:spcPts val="1200"/>
              </a:spcBef>
              <a:spcAft>
                <a:spcPts val="0"/>
              </a:spcAft>
              <a:buClr>
                <a:schemeClr val="lt1"/>
              </a:buClr>
              <a:buSzPts val="1200"/>
              <a:buFont typeface="Inter"/>
              <a:buChar char="●"/>
              <a:defRPr>
                <a:solidFill>
                  <a:schemeClr val="lt1"/>
                </a:solidFill>
              </a:defRPr>
            </a:lvl7pPr>
            <a:lvl8pPr marL="4876678" lvl="7" indent="-406390" algn="l" rtl="0">
              <a:lnSpc>
                <a:spcPct val="125000"/>
              </a:lnSpc>
              <a:spcBef>
                <a:spcPts val="1200"/>
              </a:spcBef>
              <a:spcAft>
                <a:spcPts val="0"/>
              </a:spcAft>
              <a:buClr>
                <a:schemeClr val="lt1"/>
              </a:buClr>
              <a:buSzPts val="1200"/>
              <a:buFont typeface="Inter"/>
              <a:buChar char="●"/>
              <a:defRPr>
                <a:solidFill>
                  <a:schemeClr val="lt1"/>
                </a:solidFill>
              </a:defRPr>
            </a:lvl8pPr>
            <a:lvl9pPr marL="5486263" lvl="8" indent="-406390" algn="l" rtl="0">
              <a:lnSpc>
                <a:spcPct val="125000"/>
              </a:lnSpc>
              <a:spcBef>
                <a:spcPts val="1200"/>
              </a:spcBef>
              <a:spcAft>
                <a:spcPts val="1200"/>
              </a:spcAft>
              <a:buClr>
                <a:schemeClr val="lt1"/>
              </a:buClr>
              <a:buSzPts val="1200"/>
              <a:buFont typeface="Inter"/>
              <a:buChar char="●"/>
              <a:defRPr>
                <a:solidFill>
                  <a:schemeClr val="lt1"/>
                </a:solidFill>
              </a:defRPr>
            </a:lvl9pPr>
          </a:lstStyle>
          <a:p>
            <a:endParaRPr/>
          </a:p>
        </p:txBody>
      </p:sp>
      <p:sp>
        <p:nvSpPr>
          <p:cNvPr id="1429" name="Google Shape;1429;p16"/>
          <p:cNvSpPr txBox="1">
            <a:spLocks noGrp="1"/>
          </p:cNvSpPr>
          <p:nvPr>
            <p:ph type="title"/>
          </p:nvPr>
        </p:nvSpPr>
        <p:spPr>
          <a:xfrm>
            <a:off x="951700" y="821700"/>
            <a:ext cx="5587600" cy="524800"/>
          </a:xfrm>
          <a:prstGeom prst="rect">
            <a:avLst/>
          </a:prstGeom>
          <a:noFill/>
          <a:ln>
            <a:noFill/>
          </a:ln>
        </p:spPr>
        <p:txBody>
          <a:bodyPr spcFirstLastPara="1" wrap="square" lIns="0" tIns="0" rIns="68575" bIns="34275" anchor="t" anchorCtr="0">
            <a:noAutofit/>
          </a:bodyPr>
          <a:lstStyle>
            <a:lvl1pPr lvl="0" algn="l" rtl="0">
              <a:lnSpc>
                <a:spcPct val="90000"/>
              </a:lnSpc>
              <a:spcBef>
                <a:spcPts val="0"/>
              </a:spcBef>
              <a:spcAft>
                <a:spcPts val="0"/>
              </a:spcAft>
              <a:buClr>
                <a:schemeClr val="lt1"/>
              </a:buClr>
              <a:buSzPts val="2400"/>
              <a:buFont typeface="Inter Medium"/>
              <a:buNone/>
              <a:defRPr sz="3200">
                <a:solidFill>
                  <a:schemeClr val="lt1"/>
                </a:solidFill>
                <a:latin typeface="Inter Medium"/>
                <a:ea typeface="Inter Medium"/>
                <a:cs typeface="Inter Medium"/>
                <a:sym typeface="Inter Medium"/>
              </a:defRPr>
            </a:lvl1pPr>
            <a:lvl2pPr lvl="1" rtl="0">
              <a:spcBef>
                <a:spcPts val="0"/>
              </a:spcBef>
              <a:spcAft>
                <a:spcPts val="0"/>
              </a:spcAft>
              <a:buClr>
                <a:schemeClr val="lt1"/>
              </a:buClr>
              <a:buSzPts val="1100"/>
              <a:buNone/>
              <a:defRPr b="1">
                <a:solidFill>
                  <a:schemeClr val="lt1"/>
                </a:solidFill>
              </a:defRPr>
            </a:lvl2pPr>
            <a:lvl3pPr lvl="2" rtl="0">
              <a:spcBef>
                <a:spcPts val="0"/>
              </a:spcBef>
              <a:spcAft>
                <a:spcPts val="0"/>
              </a:spcAft>
              <a:buClr>
                <a:schemeClr val="lt1"/>
              </a:buClr>
              <a:buSzPts val="1100"/>
              <a:buNone/>
              <a:defRPr b="1">
                <a:solidFill>
                  <a:schemeClr val="lt1"/>
                </a:solidFill>
              </a:defRPr>
            </a:lvl3pPr>
            <a:lvl4pPr lvl="3" rtl="0">
              <a:spcBef>
                <a:spcPts val="0"/>
              </a:spcBef>
              <a:spcAft>
                <a:spcPts val="0"/>
              </a:spcAft>
              <a:buClr>
                <a:schemeClr val="lt1"/>
              </a:buClr>
              <a:buSzPts val="1100"/>
              <a:buNone/>
              <a:defRPr b="1">
                <a:solidFill>
                  <a:schemeClr val="lt1"/>
                </a:solidFill>
              </a:defRPr>
            </a:lvl4pPr>
            <a:lvl5pPr lvl="4" rtl="0">
              <a:spcBef>
                <a:spcPts val="0"/>
              </a:spcBef>
              <a:spcAft>
                <a:spcPts val="0"/>
              </a:spcAft>
              <a:buClr>
                <a:schemeClr val="lt1"/>
              </a:buClr>
              <a:buSzPts val="1100"/>
              <a:buNone/>
              <a:defRPr b="1">
                <a:solidFill>
                  <a:schemeClr val="lt1"/>
                </a:solidFill>
              </a:defRPr>
            </a:lvl5pPr>
            <a:lvl6pPr lvl="5" rtl="0">
              <a:spcBef>
                <a:spcPts val="0"/>
              </a:spcBef>
              <a:spcAft>
                <a:spcPts val="0"/>
              </a:spcAft>
              <a:buClr>
                <a:schemeClr val="lt1"/>
              </a:buClr>
              <a:buSzPts val="1100"/>
              <a:buNone/>
              <a:defRPr b="1">
                <a:solidFill>
                  <a:schemeClr val="lt1"/>
                </a:solidFill>
              </a:defRPr>
            </a:lvl6pPr>
            <a:lvl7pPr lvl="6" rtl="0">
              <a:spcBef>
                <a:spcPts val="0"/>
              </a:spcBef>
              <a:spcAft>
                <a:spcPts val="0"/>
              </a:spcAft>
              <a:buClr>
                <a:schemeClr val="lt1"/>
              </a:buClr>
              <a:buSzPts val="1100"/>
              <a:buNone/>
              <a:defRPr b="1">
                <a:solidFill>
                  <a:schemeClr val="lt1"/>
                </a:solidFill>
              </a:defRPr>
            </a:lvl7pPr>
            <a:lvl8pPr lvl="7" rtl="0">
              <a:spcBef>
                <a:spcPts val="0"/>
              </a:spcBef>
              <a:spcAft>
                <a:spcPts val="0"/>
              </a:spcAft>
              <a:buClr>
                <a:schemeClr val="lt1"/>
              </a:buClr>
              <a:buSzPts val="1100"/>
              <a:buNone/>
              <a:defRPr b="1">
                <a:solidFill>
                  <a:schemeClr val="lt1"/>
                </a:solidFill>
              </a:defRPr>
            </a:lvl8pPr>
            <a:lvl9pPr lvl="8" rtl="0">
              <a:spcBef>
                <a:spcPts val="0"/>
              </a:spcBef>
              <a:spcAft>
                <a:spcPts val="0"/>
              </a:spcAft>
              <a:buClr>
                <a:schemeClr val="lt1"/>
              </a:buClr>
              <a:buSzPts val="1100"/>
              <a:buNone/>
              <a:defRPr b="1">
                <a:solidFill>
                  <a:schemeClr val="lt1"/>
                </a:solidFill>
              </a:defRPr>
            </a:lvl9pPr>
          </a:lstStyle>
          <a:p>
            <a:endParaRPr/>
          </a:p>
        </p:txBody>
      </p:sp>
      <p:sp>
        <p:nvSpPr>
          <p:cNvPr id="1430" name="Google Shape;1430;p16"/>
          <p:cNvSpPr txBox="1">
            <a:spLocks noGrp="1"/>
          </p:cNvSpPr>
          <p:nvPr>
            <p:ph type="subTitle" idx="2"/>
          </p:nvPr>
        </p:nvSpPr>
        <p:spPr>
          <a:xfrm>
            <a:off x="981833" y="461600"/>
            <a:ext cx="2477200" cy="192000"/>
          </a:xfrm>
          <a:prstGeom prst="rect">
            <a:avLst/>
          </a:prstGeom>
          <a:solidFill>
            <a:schemeClr val="accent4"/>
          </a:solidFill>
          <a:ln w="28575" cap="flat" cmpd="sng">
            <a:solidFill>
              <a:schemeClr val="accent4"/>
            </a:solidFill>
            <a:prstDash val="solid"/>
            <a:round/>
            <a:headEnd type="none" w="sm" len="sm"/>
            <a:tailEnd type="none" w="sm" len="sm"/>
          </a:ln>
        </p:spPr>
        <p:txBody>
          <a:bodyPr spcFirstLastPara="1" wrap="square" lIns="36000" tIns="0" rIns="36000" bIns="0" anchor="ctr" anchorCtr="0">
            <a:noAutofit/>
          </a:bodyPr>
          <a:lstStyle>
            <a:lvl1pPr lvl="0" rtl="0">
              <a:spcBef>
                <a:spcPts val="1067"/>
              </a:spcBef>
              <a:spcAft>
                <a:spcPts val="0"/>
              </a:spcAft>
              <a:buSzPts val="900"/>
              <a:buFont typeface="Inter Medium"/>
              <a:buNone/>
              <a:defRPr sz="1200">
                <a:latin typeface="Inter Medium"/>
                <a:ea typeface="Inter Medium"/>
                <a:cs typeface="Inter Medium"/>
                <a:sym typeface="Inter Medium"/>
              </a:defRPr>
            </a:lvl1pPr>
            <a:lvl2pPr lvl="1" rtl="0">
              <a:spcBef>
                <a:spcPts val="533"/>
              </a:spcBef>
              <a:spcAft>
                <a:spcPts val="0"/>
              </a:spcAft>
              <a:buSzPts val="500"/>
              <a:buNone/>
              <a:defRPr sz="1200"/>
            </a:lvl2pPr>
            <a:lvl3pPr lvl="2" rtl="0">
              <a:spcBef>
                <a:spcPts val="533"/>
              </a:spcBef>
              <a:spcAft>
                <a:spcPts val="0"/>
              </a:spcAft>
              <a:buSzPts val="500"/>
              <a:buNone/>
              <a:defRPr sz="1200"/>
            </a:lvl3pPr>
            <a:lvl4pPr lvl="3" rtl="0">
              <a:spcBef>
                <a:spcPts val="533"/>
              </a:spcBef>
              <a:spcAft>
                <a:spcPts val="0"/>
              </a:spcAft>
              <a:buSzPts val="500"/>
              <a:buNone/>
              <a:defRPr sz="1200"/>
            </a:lvl4pPr>
            <a:lvl5pPr lvl="4" rtl="0">
              <a:spcBef>
                <a:spcPts val="533"/>
              </a:spcBef>
              <a:spcAft>
                <a:spcPts val="0"/>
              </a:spcAft>
              <a:buSzPts val="500"/>
              <a:buNone/>
              <a:defRPr sz="1200"/>
            </a:lvl5pPr>
            <a:lvl6pPr lvl="5" rtl="0">
              <a:spcBef>
                <a:spcPts val="533"/>
              </a:spcBef>
              <a:spcAft>
                <a:spcPts val="0"/>
              </a:spcAft>
              <a:buSzPts val="500"/>
              <a:buNone/>
              <a:defRPr sz="1200"/>
            </a:lvl6pPr>
            <a:lvl7pPr lvl="6" rtl="0">
              <a:spcBef>
                <a:spcPts val="533"/>
              </a:spcBef>
              <a:spcAft>
                <a:spcPts val="0"/>
              </a:spcAft>
              <a:buSzPts val="500"/>
              <a:buNone/>
              <a:defRPr sz="1200"/>
            </a:lvl7pPr>
            <a:lvl8pPr lvl="7" rtl="0">
              <a:spcBef>
                <a:spcPts val="533"/>
              </a:spcBef>
              <a:spcAft>
                <a:spcPts val="0"/>
              </a:spcAft>
              <a:buSzPts val="500"/>
              <a:buNone/>
              <a:defRPr sz="1200"/>
            </a:lvl8pPr>
            <a:lvl9pPr lvl="8" rtl="0">
              <a:spcBef>
                <a:spcPts val="533"/>
              </a:spcBef>
              <a:spcAft>
                <a:spcPts val="0"/>
              </a:spcAft>
              <a:buSzPts val="500"/>
              <a:buNone/>
              <a:defRPr sz="1200"/>
            </a:lvl9pPr>
          </a:lstStyle>
          <a:p>
            <a:endParaRPr/>
          </a:p>
        </p:txBody>
      </p:sp>
    </p:spTree>
    <p:extLst>
      <p:ext uri="{BB962C8B-B14F-4D97-AF65-F5344CB8AC3E}">
        <p14:creationId xmlns:p14="http://schemas.microsoft.com/office/powerpoint/2010/main" val="421159936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Title and Content 1 image Cropped">
  <p:cSld name="Title and Content 1 image Cropped">
    <p:bg>
      <p:bgPr>
        <a:solidFill>
          <a:schemeClr val="lt2"/>
        </a:solidFill>
        <a:effectLst/>
      </p:bgPr>
    </p:bg>
    <p:spTree>
      <p:nvGrpSpPr>
        <p:cNvPr id="1" name="Shape 1431"/>
        <p:cNvGrpSpPr/>
        <p:nvPr/>
      </p:nvGrpSpPr>
      <p:grpSpPr>
        <a:xfrm>
          <a:off x="0" y="0"/>
          <a:ext cx="0" cy="0"/>
          <a:chOff x="0" y="0"/>
          <a:chExt cx="0" cy="0"/>
        </a:xfrm>
      </p:grpSpPr>
      <p:sp>
        <p:nvSpPr>
          <p:cNvPr id="1432" name="Google Shape;1432;p17"/>
          <p:cNvSpPr txBox="1">
            <a:spLocks noGrp="1"/>
          </p:cNvSpPr>
          <p:nvPr>
            <p:ph type="title"/>
          </p:nvPr>
        </p:nvSpPr>
        <p:spPr>
          <a:xfrm>
            <a:off x="951700" y="359997"/>
            <a:ext cx="10515600" cy="975200"/>
          </a:xfrm>
          <a:prstGeom prst="rect">
            <a:avLst/>
          </a:prstGeom>
          <a:noFill/>
          <a:ln>
            <a:noFill/>
          </a:ln>
        </p:spPr>
        <p:txBody>
          <a:bodyPr spcFirstLastPara="1" wrap="square" lIns="0" tIns="0" rIns="68575" bIns="34275" anchor="t" anchorCtr="0">
            <a:noAutofit/>
          </a:bodyPr>
          <a:lstStyle>
            <a:lvl1pPr lvl="0" algn="l" rtl="0">
              <a:lnSpc>
                <a:spcPct val="90000"/>
              </a:lnSpc>
              <a:spcBef>
                <a:spcPts val="0"/>
              </a:spcBef>
              <a:spcAft>
                <a:spcPts val="0"/>
              </a:spcAft>
              <a:buClr>
                <a:schemeClr val="dk1"/>
              </a:buClr>
              <a:buSzPts val="2400"/>
              <a:buFont typeface="Inter Medium"/>
              <a:buNone/>
              <a:defRPr sz="3200">
                <a:latin typeface="Inter Medium"/>
                <a:ea typeface="Inter Medium"/>
                <a:cs typeface="Inter Medium"/>
                <a:sym typeface="Inter Medium"/>
              </a:defRPr>
            </a:lvl1pPr>
            <a:lvl2pPr lvl="1" rtl="0">
              <a:spcBef>
                <a:spcPts val="0"/>
              </a:spcBef>
              <a:spcAft>
                <a:spcPts val="0"/>
              </a:spcAft>
              <a:buSzPts val="1100"/>
              <a:buNone/>
              <a:defRPr b="1"/>
            </a:lvl2pPr>
            <a:lvl3pPr lvl="2" rtl="0">
              <a:spcBef>
                <a:spcPts val="0"/>
              </a:spcBef>
              <a:spcAft>
                <a:spcPts val="0"/>
              </a:spcAft>
              <a:buSzPts val="1100"/>
              <a:buNone/>
              <a:defRPr b="1"/>
            </a:lvl3pPr>
            <a:lvl4pPr lvl="3" rtl="0">
              <a:spcBef>
                <a:spcPts val="0"/>
              </a:spcBef>
              <a:spcAft>
                <a:spcPts val="0"/>
              </a:spcAft>
              <a:buSzPts val="1100"/>
              <a:buNone/>
              <a:defRPr b="1"/>
            </a:lvl4pPr>
            <a:lvl5pPr lvl="4" rtl="0">
              <a:spcBef>
                <a:spcPts val="0"/>
              </a:spcBef>
              <a:spcAft>
                <a:spcPts val="0"/>
              </a:spcAft>
              <a:buSzPts val="1100"/>
              <a:buNone/>
              <a:defRPr b="1"/>
            </a:lvl5pPr>
            <a:lvl6pPr lvl="5" rtl="0">
              <a:spcBef>
                <a:spcPts val="0"/>
              </a:spcBef>
              <a:spcAft>
                <a:spcPts val="0"/>
              </a:spcAft>
              <a:buSzPts val="1100"/>
              <a:buNone/>
              <a:defRPr b="1"/>
            </a:lvl6pPr>
            <a:lvl7pPr lvl="6" rtl="0">
              <a:spcBef>
                <a:spcPts val="0"/>
              </a:spcBef>
              <a:spcAft>
                <a:spcPts val="0"/>
              </a:spcAft>
              <a:buSzPts val="1100"/>
              <a:buNone/>
              <a:defRPr b="1"/>
            </a:lvl7pPr>
            <a:lvl8pPr lvl="7" rtl="0">
              <a:spcBef>
                <a:spcPts val="0"/>
              </a:spcBef>
              <a:spcAft>
                <a:spcPts val="0"/>
              </a:spcAft>
              <a:buSzPts val="1100"/>
              <a:buNone/>
              <a:defRPr b="1"/>
            </a:lvl8pPr>
            <a:lvl9pPr lvl="8" rtl="0">
              <a:spcBef>
                <a:spcPts val="0"/>
              </a:spcBef>
              <a:spcAft>
                <a:spcPts val="0"/>
              </a:spcAft>
              <a:buSzPts val="1100"/>
              <a:buNone/>
              <a:defRPr b="1"/>
            </a:lvl9pPr>
          </a:lstStyle>
          <a:p>
            <a:endParaRPr/>
          </a:p>
        </p:txBody>
      </p:sp>
      <p:sp>
        <p:nvSpPr>
          <p:cNvPr id="1433" name="Google Shape;1433;p17"/>
          <p:cNvSpPr txBox="1">
            <a:spLocks noGrp="1"/>
          </p:cNvSpPr>
          <p:nvPr>
            <p:ph type="sldNum" idx="12"/>
          </p:nvPr>
        </p:nvSpPr>
        <p:spPr>
          <a:xfrm>
            <a:off x="10978812" y="5993647"/>
            <a:ext cx="731600" cy="524800"/>
          </a:xfrm>
          <a:prstGeom prst="rect">
            <a:avLst/>
          </a:prstGeom>
        </p:spPr>
        <p:txBody>
          <a:bodyPr spcFirstLastPara="1" wrap="square" lIns="91425" tIns="91425" rIns="0" bIns="0" anchor="b" anchorCtr="0">
            <a:noAutofit/>
          </a:bodyPr>
          <a:lstStyle>
            <a:lvl1pPr lvl="0" algn="r" rtl="0">
              <a:buNone/>
              <a:defRPr sz="667">
                <a:solidFill>
                  <a:schemeClr val="dk2"/>
                </a:solidFill>
                <a:latin typeface="Inter"/>
                <a:ea typeface="Inter"/>
                <a:cs typeface="Inter"/>
                <a:sym typeface="Inter"/>
              </a:defRPr>
            </a:lvl1pPr>
            <a:lvl2pPr lvl="1" algn="r" rtl="0">
              <a:buNone/>
              <a:defRPr sz="667">
                <a:solidFill>
                  <a:schemeClr val="dk2"/>
                </a:solidFill>
                <a:latin typeface="Inter"/>
                <a:ea typeface="Inter"/>
                <a:cs typeface="Inter"/>
                <a:sym typeface="Inter"/>
              </a:defRPr>
            </a:lvl2pPr>
            <a:lvl3pPr lvl="2" algn="r" rtl="0">
              <a:buNone/>
              <a:defRPr sz="667">
                <a:solidFill>
                  <a:schemeClr val="dk2"/>
                </a:solidFill>
                <a:latin typeface="Inter"/>
                <a:ea typeface="Inter"/>
                <a:cs typeface="Inter"/>
                <a:sym typeface="Inter"/>
              </a:defRPr>
            </a:lvl3pPr>
            <a:lvl4pPr lvl="3" algn="r" rtl="0">
              <a:buNone/>
              <a:defRPr sz="667">
                <a:solidFill>
                  <a:schemeClr val="dk2"/>
                </a:solidFill>
                <a:latin typeface="Inter"/>
                <a:ea typeface="Inter"/>
                <a:cs typeface="Inter"/>
                <a:sym typeface="Inter"/>
              </a:defRPr>
            </a:lvl4pPr>
            <a:lvl5pPr lvl="4" algn="r" rtl="0">
              <a:buNone/>
              <a:defRPr sz="667">
                <a:solidFill>
                  <a:schemeClr val="dk2"/>
                </a:solidFill>
                <a:latin typeface="Inter"/>
                <a:ea typeface="Inter"/>
                <a:cs typeface="Inter"/>
                <a:sym typeface="Inter"/>
              </a:defRPr>
            </a:lvl5pPr>
            <a:lvl6pPr lvl="5" algn="r" rtl="0">
              <a:buNone/>
              <a:defRPr sz="667">
                <a:solidFill>
                  <a:schemeClr val="dk2"/>
                </a:solidFill>
                <a:latin typeface="Inter"/>
                <a:ea typeface="Inter"/>
                <a:cs typeface="Inter"/>
                <a:sym typeface="Inter"/>
              </a:defRPr>
            </a:lvl6pPr>
            <a:lvl7pPr lvl="6" algn="r" rtl="0">
              <a:buNone/>
              <a:defRPr sz="667">
                <a:solidFill>
                  <a:schemeClr val="dk2"/>
                </a:solidFill>
                <a:latin typeface="Inter"/>
                <a:ea typeface="Inter"/>
                <a:cs typeface="Inter"/>
                <a:sym typeface="Inter"/>
              </a:defRPr>
            </a:lvl7pPr>
            <a:lvl8pPr lvl="7" algn="r" rtl="0">
              <a:buNone/>
              <a:defRPr sz="667">
                <a:solidFill>
                  <a:schemeClr val="dk2"/>
                </a:solidFill>
                <a:latin typeface="Inter"/>
                <a:ea typeface="Inter"/>
                <a:cs typeface="Inter"/>
                <a:sym typeface="Inter"/>
              </a:defRPr>
            </a:lvl8pPr>
            <a:lvl9pPr lvl="8" algn="r" rtl="0">
              <a:buNone/>
              <a:defRPr sz="667">
                <a:solidFill>
                  <a:schemeClr val="dk2"/>
                </a:solidFill>
                <a:latin typeface="Inter"/>
                <a:ea typeface="Inter"/>
                <a:cs typeface="Inter"/>
                <a:sym typeface="Inter"/>
              </a:defRPr>
            </a:lvl9pPr>
          </a:lstStyle>
          <a:p>
            <a:fld id="{00000000-1234-1234-1234-123412341234}" type="slidenum">
              <a:rPr lang="en-GB" smtClean="0"/>
              <a:pPr/>
              <a:t>‹#›</a:t>
            </a:fld>
            <a:endParaRPr lang="en-GB"/>
          </a:p>
        </p:txBody>
      </p:sp>
      <p:sp>
        <p:nvSpPr>
          <p:cNvPr id="1434" name="Google Shape;1434;p17"/>
          <p:cNvSpPr>
            <a:spLocks noGrp="1"/>
          </p:cNvSpPr>
          <p:nvPr>
            <p:ph type="pic" idx="2"/>
          </p:nvPr>
        </p:nvSpPr>
        <p:spPr>
          <a:xfrm>
            <a:off x="7479567" y="1335200"/>
            <a:ext cx="5080800" cy="4968800"/>
          </a:xfrm>
          <a:prstGeom prst="roundRect">
            <a:avLst>
              <a:gd name="adj" fmla="val 4171"/>
            </a:avLst>
          </a:prstGeom>
          <a:noFill/>
          <a:ln>
            <a:noFill/>
          </a:ln>
        </p:spPr>
      </p:sp>
      <p:sp>
        <p:nvSpPr>
          <p:cNvPr id="1435" name="Google Shape;1435;p17"/>
          <p:cNvSpPr txBox="1"/>
          <p:nvPr/>
        </p:nvSpPr>
        <p:spPr>
          <a:xfrm>
            <a:off x="481600" y="6245247"/>
            <a:ext cx="1288400" cy="273200"/>
          </a:xfrm>
          <a:prstGeom prst="rect">
            <a:avLst/>
          </a:prstGeom>
          <a:noFill/>
          <a:ln>
            <a:noFill/>
          </a:ln>
        </p:spPr>
        <p:txBody>
          <a:bodyPr spcFirstLastPara="1" wrap="square" lIns="0" tIns="0" rIns="0" bIns="0" anchor="b" anchorCtr="0">
            <a:noAutofit/>
          </a:bodyPr>
          <a:lstStyle/>
          <a:p>
            <a:pPr marL="0" lvl="0" indent="0" algn="l" rtl="0">
              <a:spcBef>
                <a:spcPts val="0"/>
              </a:spcBef>
              <a:spcAft>
                <a:spcPts val="0"/>
              </a:spcAft>
              <a:buNone/>
            </a:pPr>
            <a:r>
              <a:rPr lang="en-GB" sz="667">
                <a:solidFill>
                  <a:schemeClr val="dk2"/>
                </a:solidFill>
                <a:latin typeface="Inter"/>
                <a:ea typeface="Inter"/>
                <a:cs typeface="Inter"/>
                <a:sym typeface="Inter"/>
              </a:rPr>
              <a:t>Multiverse</a:t>
            </a:r>
            <a:endParaRPr sz="667">
              <a:solidFill>
                <a:schemeClr val="dk2"/>
              </a:solidFill>
              <a:latin typeface="Inter"/>
              <a:ea typeface="Inter"/>
              <a:cs typeface="Inter"/>
              <a:sym typeface="Inter"/>
            </a:endParaRPr>
          </a:p>
        </p:txBody>
      </p:sp>
      <p:sp>
        <p:nvSpPr>
          <p:cNvPr id="1436" name="Google Shape;1436;p17"/>
          <p:cNvSpPr/>
          <p:nvPr/>
        </p:nvSpPr>
        <p:spPr>
          <a:xfrm>
            <a:off x="481601" y="414630"/>
            <a:ext cx="349111" cy="305471"/>
          </a:xfrm>
          <a:custGeom>
            <a:avLst/>
            <a:gdLst/>
            <a:ahLst/>
            <a:cxnLst/>
            <a:rect l="l" t="t" r="r" b="b"/>
            <a:pathLst>
              <a:path w="1586865" h="1388506" extrusionOk="0">
                <a:moveTo>
                  <a:pt x="1083683" y="969931"/>
                </a:moveTo>
                <a:lnTo>
                  <a:pt x="1083683" y="579692"/>
                </a:lnTo>
                <a:lnTo>
                  <a:pt x="849297" y="969931"/>
                </a:lnTo>
                <a:lnTo>
                  <a:pt x="848892" y="969931"/>
                </a:lnTo>
                <a:cubicBezTo>
                  <a:pt x="848892" y="969931"/>
                  <a:pt x="848892" y="969931"/>
                  <a:pt x="848892" y="969931"/>
                </a:cubicBezTo>
                <a:lnTo>
                  <a:pt x="738783" y="969931"/>
                </a:lnTo>
                <a:lnTo>
                  <a:pt x="738783" y="577668"/>
                </a:lnTo>
                <a:lnTo>
                  <a:pt x="549735" y="892612"/>
                </a:lnTo>
                <a:cubicBezTo>
                  <a:pt x="527876" y="929449"/>
                  <a:pt x="510873" y="958191"/>
                  <a:pt x="503992" y="969931"/>
                </a:cubicBezTo>
                <a:lnTo>
                  <a:pt x="393073" y="969931"/>
                </a:lnTo>
                <a:lnTo>
                  <a:pt x="393073" y="418576"/>
                </a:lnTo>
                <a:lnTo>
                  <a:pt x="503992" y="418576"/>
                </a:lnTo>
                <a:lnTo>
                  <a:pt x="502777" y="760643"/>
                </a:lnTo>
                <a:lnTo>
                  <a:pt x="503587" y="782098"/>
                </a:lnTo>
                <a:lnTo>
                  <a:pt x="721781" y="418981"/>
                </a:lnTo>
                <a:lnTo>
                  <a:pt x="721781" y="418981"/>
                </a:lnTo>
                <a:lnTo>
                  <a:pt x="721781" y="418981"/>
                </a:lnTo>
                <a:lnTo>
                  <a:pt x="739188" y="418981"/>
                </a:lnTo>
                <a:lnTo>
                  <a:pt x="847678" y="418981"/>
                </a:lnTo>
                <a:cubicBezTo>
                  <a:pt x="847678" y="418981"/>
                  <a:pt x="848487" y="722995"/>
                  <a:pt x="848892" y="783717"/>
                </a:cubicBezTo>
                <a:lnTo>
                  <a:pt x="1067895" y="418981"/>
                </a:lnTo>
                <a:lnTo>
                  <a:pt x="1067895" y="418981"/>
                </a:lnTo>
                <a:lnTo>
                  <a:pt x="1067895" y="418981"/>
                </a:lnTo>
                <a:lnTo>
                  <a:pt x="1085302" y="418981"/>
                </a:lnTo>
                <a:lnTo>
                  <a:pt x="1193387" y="418981"/>
                </a:lnTo>
                <a:lnTo>
                  <a:pt x="1193387" y="970336"/>
                </a:lnTo>
                <a:lnTo>
                  <a:pt x="1083683" y="970336"/>
                </a:lnTo>
                <a:close/>
                <a:moveTo>
                  <a:pt x="1190149" y="0"/>
                </a:moveTo>
                <a:lnTo>
                  <a:pt x="396716" y="0"/>
                </a:lnTo>
                <a:lnTo>
                  <a:pt x="0" y="694253"/>
                </a:lnTo>
                <a:lnTo>
                  <a:pt x="396716" y="1388507"/>
                </a:lnTo>
                <a:lnTo>
                  <a:pt x="1190149" y="1388507"/>
                </a:lnTo>
                <a:lnTo>
                  <a:pt x="1586865" y="694253"/>
                </a:lnTo>
                <a:lnTo>
                  <a:pt x="1190149" y="0"/>
                </a:lnTo>
                <a:close/>
              </a:path>
            </a:pathLst>
          </a:custGeom>
          <a:solidFill>
            <a:schemeClr val="dk2"/>
          </a:solidFill>
          <a:ln>
            <a:noFill/>
          </a:ln>
        </p:spPr>
        <p:txBody>
          <a:bodyPr spcFirstLastPara="1" wrap="square" lIns="91433" tIns="45700" rIns="91433" bIns="45700"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437" name="Google Shape;1437;p17"/>
          <p:cNvSpPr txBox="1">
            <a:spLocks noGrp="1"/>
          </p:cNvSpPr>
          <p:nvPr>
            <p:ph type="body" idx="1"/>
          </p:nvPr>
        </p:nvSpPr>
        <p:spPr>
          <a:xfrm>
            <a:off x="481600" y="1335200"/>
            <a:ext cx="6581600" cy="4841600"/>
          </a:xfrm>
          <a:prstGeom prst="rect">
            <a:avLst/>
          </a:prstGeom>
          <a:noFill/>
          <a:ln>
            <a:noFill/>
          </a:ln>
        </p:spPr>
        <p:txBody>
          <a:bodyPr spcFirstLastPara="1" wrap="square" lIns="0" tIns="34275" rIns="68575" bIns="34275" anchor="t" anchorCtr="0">
            <a:noAutofit/>
          </a:bodyPr>
          <a:lstStyle>
            <a:lvl1pPr marL="609585" lvl="0" indent="-406390" algn="l" rtl="0">
              <a:lnSpc>
                <a:spcPct val="125000"/>
              </a:lnSpc>
              <a:spcBef>
                <a:spcPts val="0"/>
              </a:spcBef>
              <a:spcAft>
                <a:spcPts val="0"/>
              </a:spcAft>
              <a:buClr>
                <a:schemeClr val="dk2"/>
              </a:buClr>
              <a:buSzPts val="1200"/>
              <a:buFont typeface="Inter"/>
              <a:buChar char="●"/>
              <a:defRPr/>
            </a:lvl1pPr>
            <a:lvl2pPr marL="1219170" lvl="1" indent="-406390" algn="l" rtl="0">
              <a:lnSpc>
                <a:spcPct val="125000"/>
              </a:lnSpc>
              <a:spcBef>
                <a:spcPts val="1200"/>
              </a:spcBef>
              <a:spcAft>
                <a:spcPts val="0"/>
              </a:spcAft>
              <a:buClr>
                <a:schemeClr val="dk2"/>
              </a:buClr>
              <a:buSzPts val="1200"/>
              <a:buFont typeface="Inter"/>
              <a:buChar char="●"/>
              <a:defRPr/>
            </a:lvl2pPr>
            <a:lvl3pPr marL="1828754" lvl="2" indent="-406390" algn="l" rtl="0">
              <a:lnSpc>
                <a:spcPct val="125000"/>
              </a:lnSpc>
              <a:spcBef>
                <a:spcPts val="1200"/>
              </a:spcBef>
              <a:spcAft>
                <a:spcPts val="0"/>
              </a:spcAft>
              <a:buClr>
                <a:schemeClr val="dk2"/>
              </a:buClr>
              <a:buSzPts val="1200"/>
              <a:buFont typeface="Inter"/>
              <a:buChar char="●"/>
              <a:defRPr/>
            </a:lvl3pPr>
            <a:lvl4pPr marL="2438339" lvl="3" indent="-406390" algn="l" rtl="0">
              <a:lnSpc>
                <a:spcPct val="125000"/>
              </a:lnSpc>
              <a:spcBef>
                <a:spcPts val="1200"/>
              </a:spcBef>
              <a:spcAft>
                <a:spcPts val="0"/>
              </a:spcAft>
              <a:buClr>
                <a:schemeClr val="dk2"/>
              </a:buClr>
              <a:buSzPts val="1200"/>
              <a:buFont typeface="Inter"/>
              <a:buChar char="●"/>
              <a:defRPr/>
            </a:lvl4pPr>
            <a:lvl5pPr marL="3047924" lvl="4" indent="-406390" algn="l" rtl="0">
              <a:lnSpc>
                <a:spcPct val="125000"/>
              </a:lnSpc>
              <a:spcBef>
                <a:spcPts val="1200"/>
              </a:spcBef>
              <a:spcAft>
                <a:spcPts val="0"/>
              </a:spcAft>
              <a:buClr>
                <a:schemeClr val="dk2"/>
              </a:buClr>
              <a:buSzPts val="1200"/>
              <a:buFont typeface="Inter"/>
              <a:buChar char="●"/>
              <a:defRPr/>
            </a:lvl5pPr>
            <a:lvl6pPr marL="3657509" lvl="5" indent="-406390" algn="l" rtl="0">
              <a:lnSpc>
                <a:spcPct val="125000"/>
              </a:lnSpc>
              <a:spcBef>
                <a:spcPts val="1200"/>
              </a:spcBef>
              <a:spcAft>
                <a:spcPts val="0"/>
              </a:spcAft>
              <a:buClr>
                <a:schemeClr val="dk2"/>
              </a:buClr>
              <a:buSzPts val="1200"/>
              <a:buFont typeface="Inter"/>
              <a:buChar char="●"/>
              <a:defRPr/>
            </a:lvl6pPr>
            <a:lvl7pPr marL="4267093" lvl="6" indent="-406390" algn="l" rtl="0">
              <a:lnSpc>
                <a:spcPct val="125000"/>
              </a:lnSpc>
              <a:spcBef>
                <a:spcPts val="1200"/>
              </a:spcBef>
              <a:spcAft>
                <a:spcPts val="0"/>
              </a:spcAft>
              <a:buClr>
                <a:schemeClr val="dk2"/>
              </a:buClr>
              <a:buSzPts val="1200"/>
              <a:buFont typeface="Inter"/>
              <a:buChar char="●"/>
              <a:defRPr/>
            </a:lvl7pPr>
            <a:lvl8pPr marL="4876678" lvl="7" indent="-406390" algn="l" rtl="0">
              <a:lnSpc>
                <a:spcPct val="125000"/>
              </a:lnSpc>
              <a:spcBef>
                <a:spcPts val="1200"/>
              </a:spcBef>
              <a:spcAft>
                <a:spcPts val="0"/>
              </a:spcAft>
              <a:buClr>
                <a:schemeClr val="dk2"/>
              </a:buClr>
              <a:buSzPts val="1200"/>
              <a:buFont typeface="Inter"/>
              <a:buChar char="●"/>
              <a:defRPr/>
            </a:lvl8pPr>
            <a:lvl9pPr marL="5486263" lvl="8" indent="-406390" algn="l" rtl="0">
              <a:lnSpc>
                <a:spcPct val="125000"/>
              </a:lnSpc>
              <a:spcBef>
                <a:spcPts val="1200"/>
              </a:spcBef>
              <a:spcAft>
                <a:spcPts val="1200"/>
              </a:spcAft>
              <a:buClr>
                <a:schemeClr val="dk2"/>
              </a:buClr>
              <a:buSzPts val="1200"/>
              <a:buFont typeface="Inter"/>
              <a:buChar char="●"/>
              <a:defRPr/>
            </a:lvl9pPr>
          </a:lstStyle>
          <a:p>
            <a:endParaRPr/>
          </a:p>
        </p:txBody>
      </p:sp>
    </p:spTree>
    <p:extLst>
      <p:ext uri="{BB962C8B-B14F-4D97-AF65-F5344CB8AC3E}">
        <p14:creationId xmlns:p14="http://schemas.microsoft.com/office/powerpoint/2010/main" val="425961803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Title and Content 2 images">
  <p:cSld name="Title and Content 2 images">
    <p:bg>
      <p:bgPr>
        <a:solidFill>
          <a:schemeClr val="lt2"/>
        </a:solidFill>
        <a:effectLst/>
      </p:bgPr>
    </p:bg>
    <p:spTree>
      <p:nvGrpSpPr>
        <p:cNvPr id="1" name="Shape 1438"/>
        <p:cNvGrpSpPr/>
        <p:nvPr/>
      </p:nvGrpSpPr>
      <p:grpSpPr>
        <a:xfrm>
          <a:off x="0" y="0"/>
          <a:ext cx="0" cy="0"/>
          <a:chOff x="0" y="0"/>
          <a:chExt cx="0" cy="0"/>
        </a:xfrm>
      </p:grpSpPr>
      <p:sp>
        <p:nvSpPr>
          <p:cNvPr id="1439" name="Google Shape;1439;p18"/>
          <p:cNvSpPr>
            <a:spLocks noGrp="1"/>
          </p:cNvSpPr>
          <p:nvPr>
            <p:ph type="pic" idx="2"/>
          </p:nvPr>
        </p:nvSpPr>
        <p:spPr>
          <a:xfrm>
            <a:off x="8315967" y="4456700"/>
            <a:ext cx="3394400" cy="1758800"/>
          </a:xfrm>
          <a:prstGeom prst="roundRect">
            <a:avLst>
              <a:gd name="adj" fmla="val 4171"/>
            </a:avLst>
          </a:prstGeom>
          <a:noFill/>
          <a:ln>
            <a:noFill/>
          </a:ln>
        </p:spPr>
      </p:sp>
      <p:sp>
        <p:nvSpPr>
          <p:cNvPr id="1440" name="Google Shape;1440;p18"/>
          <p:cNvSpPr txBox="1">
            <a:spLocks noGrp="1"/>
          </p:cNvSpPr>
          <p:nvPr>
            <p:ph type="title"/>
          </p:nvPr>
        </p:nvSpPr>
        <p:spPr>
          <a:xfrm>
            <a:off x="951700" y="359997"/>
            <a:ext cx="10515600" cy="975200"/>
          </a:xfrm>
          <a:prstGeom prst="rect">
            <a:avLst/>
          </a:prstGeom>
          <a:noFill/>
          <a:ln>
            <a:noFill/>
          </a:ln>
        </p:spPr>
        <p:txBody>
          <a:bodyPr spcFirstLastPara="1" wrap="square" lIns="0" tIns="0" rIns="68575" bIns="34275" anchor="t" anchorCtr="0">
            <a:noAutofit/>
          </a:bodyPr>
          <a:lstStyle>
            <a:lvl1pPr lvl="0" algn="l" rtl="0">
              <a:lnSpc>
                <a:spcPct val="90000"/>
              </a:lnSpc>
              <a:spcBef>
                <a:spcPts val="0"/>
              </a:spcBef>
              <a:spcAft>
                <a:spcPts val="0"/>
              </a:spcAft>
              <a:buClr>
                <a:schemeClr val="dk1"/>
              </a:buClr>
              <a:buSzPts val="2400"/>
              <a:buFont typeface="Inter Medium"/>
              <a:buNone/>
              <a:defRPr sz="3200">
                <a:latin typeface="Inter Medium"/>
                <a:ea typeface="Inter Medium"/>
                <a:cs typeface="Inter Medium"/>
                <a:sym typeface="Inter Medium"/>
              </a:defRPr>
            </a:lvl1pPr>
            <a:lvl2pPr lvl="1" rtl="0">
              <a:spcBef>
                <a:spcPts val="0"/>
              </a:spcBef>
              <a:spcAft>
                <a:spcPts val="0"/>
              </a:spcAft>
              <a:buSzPts val="1100"/>
              <a:buNone/>
              <a:defRPr b="1"/>
            </a:lvl2pPr>
            <a:lvl3pPr lvl="2" rtl="0">
              <a:spcBef>
                <a:spcPts val="0"/>
              </a:spcBef>
              <a:spcAft>
                <a:spcPts val="0"/>
              </a:spcAft>
              <a:buSzPts val="1100"/>
              <a:buNone/>
              <a:defRPr b="1"/>
            </a:lvl3pPr>
            <a:lvl4pPr lvl="3" rtl="0">
              <a:spcBef>
                <a:spcPts val="0"/>
              </a:spcBef>
              <a:spcAft>
                <a:spcPts val="0"/>
              </a:spcAft>
              <a:buSzPts val="1100"/>
              <a:buNone/>
              <a:defRPr b="1"/>
            </a:lvl4pPr>
            <a:lvl5pPr lvl="4" rtl="0">
              <a:spcBef>
                <a:spcPts val="0"/>
              </a:spcBef>
              <a:spcAft>
                <a:spcPts val="0"/>
              </a:spcAft>
              <a:buSzPts val="1100"/>
              <a:buNone/>
              <a:defRPr b="1"/>
            </a:lvl5pPr>
            <a:lvl6pPr lvl="5" rtl="0">
              <a:spcBef>
                <a:spcPts val="0"/>
              </a:spcBef>
              <a:spcAft>
                <a:spcPts val="0"/>
              </a:spcAft>
              <a:buSzPts val="1100"/>
              <a:buNone/>
              <a:defRPr b="1"/>
            </a:lvl6pPr>
            <a:lvl7pPr lvl="6" rtl="0">
              <a:spcBef>
                <a:spcPts val="0"/>
              </a:spcBef>
              <a:spcAft>
                <a:spcPts val="0"/>
              </a:spcAft>
              <a:buSzPts val="1100"/>
              <a:buNone/>
              <a:defRPr b="1"/>
            </a:lvl7pPr>
            <a:lvl8pPr lvl="7" rtl="0">
              <a:spcBef>
                <a:spcPts val="0"/>
              </a:spcBef>
              <a:spcAft>
                <a:spcPts val="0"/>
              </a:spcAft>
              <a:buSzPts val="1100"/>
              <a:buNone/>
              <a:defRPr b="1"/>
            </a:lvl8pPr>
            <a:lvl9pPr lvl="8" rtl="0">
              <a:spcBef>
                <a:spcPts val="0"/>
              </a:spcBef>
              <a:spcAft>
                <a:spcPts val="0"/>
              </a:spcAft>
              <a:buSzPts val="1100"/>
              <a:buNone/>
              <a:defRPr b="1"/>
            </a:lvl9pPr>
          </a:lstStyle>
          <a:p>
            <a:endParaRPr/>
          </a:p>
        </p:txBody>
      </p:sp>
      <p:sp>
        <p:nvSpPr>
          <p:cNvPr id="1441" name="Google Shape;1441;p18"/>
          <p:cNvSpPr txBox="1">
            <a:spLocks noGrp="1"/>
          </p:cNvSpPr>
          <p:nvPr>
            <p:ph type="sldNum" idx="12"/>
          </p:nvPr>
        </p:nvSpPr>
        <p:spPr>
          <a:xfrm>
            <a:off x="10978812" y="5993647"/>
            <a:ext cx="731600" cy="524800"/>
          </a:xfrm>
          <a:prstGeom prst="rect">
            <a:avLst/>
          </a:prstGeom>
        </p:spPr>
        <p:txBody>
          <a:bodyPr spcFirstLastPara="1" wrap="square" lIns="91425" tIns="91425" rIns="0" bIns="0" anchor="b" anchorCtr="0">
            <a:noAutofit/>
          </a:bodyPr>
          <a:lstStyle>
            <a:lvl1pPr lvl="0" algn="r" rtl="0">
              <a:buNone/>
              <a:defRPr sz="667">
                <a:solidFill>
                  <a:schemeClr val="dk2"/>
                </a:solidFill>
                <a:latin typeface="Inter"/>
                <a:ea typeface="Inter"/>
                <a:cs typeface="Inter"/>
                <a:sym typeface="Inter"/>
              </a:defRPr>
            </a:lvl1pPr>
            <a:lvl2pPr lvl="1" algn="r" rtl="0">
              <a:buNone/>
              <a:defRPr sz="667">
                <a:solidFill>
                  <a:schemeClr val="dk2"/>
                </a:solidFill>
                <a:latin typeface="Inter"/>
                <a:ea typeface="Inter"/>
                <a:cs typeface="Inter"/>
                <a:sym typeface="Inter"/>
              </a:defRPr>
            </a:lvl2pPr>
            <a:lvl3pPr lvl="2" algn="r" rtl="0">
              <a:buNone/>
              <a:defRPr sz="667">
                <a:solidFill>
                  <a:schemeClr val="dk2"/>
                </a:solidFill>
                <a:latin typeface="Inter"/>
                <a:ea typeface="Inter"/>
                <a:cs typeface="Inter"/>
                <a:sym typeface="Inter"/>
              </a:defRPr>
            </a:lvl3pPr>
            <a:lvl4pPr lvl="3" algn="r" rtl="0">
              <a:buNone/>
              <a:defRPr sz="667">
                <a:solidFill>
                  <a:schemeClr val="dk2"/>
                </a:solidFill>
                <a:latin typeface="Inter"/>
                <a:ea typeface="Inter"/>
                <a:cs typeface="Inter"/>
                <a:sym typeface="Inter"/>
              </a:defRPr>
            </a:lvl4pPr>
            <a:lvl5pPr lvl="4" algn="r" rtl="0">
              <a:buNone/>
              <a:defRPr sz="667">
                <a:solidFill>
                  <a:schemeClr val="dk2"/>
                </a:solidFill>
                <a:latin typeface="Inter"/>
                <a:ea typeface="Inter"/>
                <a:cs typeface="Inter"/>
                <a:sym typeface="Inter"/>
              </a:defRPr>
            </a:lvl5pPr>
            <a:lvl6pPr lvl="5" algn="r" rtl="0">
              <a:buNone/>
              <a:defRPr sz="667">
                <a:solidFill>
                  <a:schemeClr val="dk2"/>
                </a:solidFill>
                <a:latin typeface="Inter"/>
                <a:ea typeface="Inter"/>
                <a:cs typeface="Inter"/>
                <a:sym typeface="Inter"/>
              </a:defRPr>
            </a:lvl6pPr>
            <a:lvl7pPr lvl="6" algn="r" rtl="0">
              <a:buNone/>
              <a:defRPr sz="667">
                <a:solidFill>
                  <a:schemeClr val="dk2"/>
                </a:solidFill>
                <a:latin typeface="Inter"/>
                <a:ea typeface="Inter"/>
                <a:cs typeface="Inter"/>
                <a:sym typeface="Inter"/>
              </a:defRPr>
            </a:lvl7pPr>
            <a:lvl8pPr lvl="7" algn="r" rtl="0">
              <a:buNone/>
              <a:defRPr sz="667">
                <a:solidFill>
                  <a:schemeClr val="dk2"/>
                </a:solidFill>
                <a:latin typeface="Inter"/>
                <a:ea typeface="Inter"/>
                <a:cs typeface="Inter"/>
                <a:sym typeface="Inter"/>
              </a:defRPr>
            </a:lvl8pPr>
            <a:lvl9pPr lvl="8" algn="r" rtl="0">
              <a:buNone/>
              <a:defRPr sz="667">
                <a:solidFill>
                  <a:schemeClr val="dk2"/>
                </a:solidFill>
                <a:latin typeface="Inter"/>
                <a:ea typeface="Inter"/>
                <a:cs typeface="Inter"/>
                <a:sym typeface="Inter"/>
              </a:defRPr>
            </a:lvl9pPr>
          </a:lstStyle>
          <a:p>
            <a:fld id="{00000000-1234-1234-1234-123412341234}" type="slidenum">
              <a:rPr lang="en-GB" smtClean="0"/>
              <a:pPr/>
              <a:t>‹#›</a:t>
            </a:fld>
            <a:endParaRPr lang="en-GB"/>
          </a:p>
        </p:txBody>
      </p:sp>
      <p:sp>
        <p:nvSpPr>
          <p:cNvPr id="1442" name="Google Shape;1442;p18"/>
          <p:cNvSpPr>
            <a:spLocks noGrp="1"/>
          </p:cNvSpPr>
          <p:nvPr>
            <p:ph type="pic" idx="3"/>
          </p:nvPr>
        </p:nvSpPr>
        <p:spPr>
          <a:xfrm>
            <a:off x="8315967" y="1335200"/>
            <a:ext cx="3394400" cy="2996800"/>
          </a:xfrm>
          <a:prstGeom prst="roundRect">
            <a:avLst>
              <a:gd name="adj" fmla="val 4171"/>
            </a:avLst>
          </a:prstGeom>
          <a:noFill/>
          <a:ln>
            <a:noFill/>
          </a:ln>
        </p:spPr>
      </p:sp>
      <p:sp>
        <p:nvSpPr>
          <p:cNvPr id="1443" name="Google Shape;1443;p18"/>
          <p:cNvSpPr txBox="1"/>
          <p:nvPr/>
        </p:nvSpPr>
        <p:spPr>
          <a:xfrm>
            <a:off x="481600" y="6245247"/>
            <a:ext cx="1288400" cy="273200"/>
          </a:xfrm>
          <a:prstGeom prst="rect">
            <a:avLst/>
          </a:prstGeom>
          <a:noFill/>
          <a:ln>
            <a:noFill/>
          </a:ln>
        </p:spPr>
        <p:txBody>
          <a:bodyPr spcFirstLastPara="1" wrap="square" lIns="0" tIns="0" rIns="0" bIns="0" anchor="b" anchorCtr="0">
            <a:noAutofit/>
          </a:bodyPr>
          <a:lstStyle/>
          <a:p>
            <a:pPr marL="0" lvl="0" indent="0" algn="l" rtl="0">
              <a:spcBef>
                <a:spcPts val="0"/>
              </a:spcBef>
              <a:spcAft>
                <a:spcPts val="0"/>
              </a:spcAft>
              <a:buNone/>
            </a:pPr>
            <a:r>
              <a:rPr lang="en-GB" sz="667">
                <a:solidFill>
                  <a:schemeClr val="dk2"/>
                </a:solidFill>
                <a:latin typeface="Inter"/>
                <a:ea typeface="Inter"/>
                <a:cs typeface="Inter"/>
                <a:sym typeface="Inter"/>
              </a:rPr>
              <a:t>Multiverse</a:t>
            </a:r>
            <a:endParaRPr sz="667">
              <a:solidFill>
                <a:schemeClr val="dk2"/>
              </a:solidFill>
              <a:latin typeface="Inter"/>
              <a:ea typeface="Inter"/>
              <a:cs typeface="Inter"/>
              <a:sym typeface="Inter"/>
            </a:endParaRPr>
          </a:p>
        </p:txBody>
      </p:sp>
      <p:sp>
        <p:nvSpPr>
          <p:cNvPr id="1444" name="Google Shape;1444;p18"/>
          <p:cNvSpPr/>
          <p:nvPr/>
        </p:nvSpPr>
        <p:spPr>
          <a:xfrm>
            <a:off x="481601" y="414630"/>
            <a:ext cx="349111" cy="305471"/>
          </a:xfrm>
          <a:custGeom>
            <a:avLst/>
            <a:gdLst/>
            <a:ahLst/>
            <a:cxnLst/>
            <a:rect l="l" t="t" r="r" b="b"/>
            <a:pathLst>
              <a:path w="1586865" h="1388506" extrusionOk="0">
                <a:moveTo>
                  <a:pt x="1083683" y="969931"/>
                </a:moveTo>
                <a:lnTo>
                  <a:pt x="1083683" y="579692"/>
                </a:lnTo>
                <a:lnTo>
                  <a:pt x="849297" y="969931"/>
                </a:lnTo>
                <a:lnTo>
                  <a:pt x="848892" y="969931"/>
                </a:lnTo>
                <a:cubicBezTo>
                  <a:pt x="848892" y="969931"/>
                  <a:pt x="848892" y="969931"/>
                  <a:pt x="848892" y="969931"/>
                </a:cubicBezTo>
                <a:lnTo>
                  <a:pt x="738783" y="969931"/>
                </a:lnTo>
                <a:lnTo>
                  <a:pt x="738783" y="577668"/>
                </a:lnTo>
                <a:lnTo>
                  <a:pt x="549735" y="892612"/>
                </a:lnTo>
                <a:cubicBezTo>
                  <a:pt x="527876" y="929449"/>
                  <a:pt x="510873" y="958191"/>
                  <a:pt x="503992" y="969931"/>
                </a:cubicBezTo>
                <a:lnTo>
                  <a:pt x="393073" y="969931"/>
                </a:lnTo>
                <a:lnTo>
                  <a:pt x="393073" y="418576"/>
                </a:lnTo>
                <a:lnTo>
                  <a:pt x="503992" y="418576"/>
                </a:lnTo>
                <a:lnTo>
                  <a:pt x="502777" y="760643"/>
                </a:lnTo>
                <a:lnTo>
                  <a:pt x="503587" y="782098"/>
                </a:lnTo>
                <a:lnTo>
                  <a:pt x="721781" y="418981"/>
                </a:lnTo>
                <a:lnTo>
                  <a:pt x="721781" y="418981"/>
                </a:lnTo>
                <a:lnTo>
                  <a:pt x="721781" y="418981"/>
                </a:lnTo>
                <a:lnTo>
                  <a:pt x="739188" y="418981"/>
                </a:lnTo>
                <a:lnTo>
                  <a:pt x="847678" y="418981"/>
                </a:lnTo>
                <a:cubicBezTo>
                  <a:pt x="847678" y="418981"/>
                  <a:pt x="848487" y="722995"/>
                  <a:pt x="848892" y="783717"/>
                </a:cubicBezTo>
                <a:lnTo>
                  <a:pt x="1067895" y="418981"/>
                </a:lnTo>
                <a:lnTo>
                  <a:pt x="1067895" y="418981"/>
                </a:lnTo>
                <a:lnTo>
                  <a:pt x="1067895" y="418981"/>
                </a:lnTo>
                <a:lnTo>
                  <a:pt x="1085302" y="418981"/>
                </a:lnTo>
                <a:lnTo>
                  <a:pt x="1193387" y="418981"/>
                </a:lnTo>
                <a:lnTo>
                  <a:pt x="1193387" y="970336"/>
                </a:lnTo>
                <a:lnTo>
                  <a:pt x="1083683" y="970336"/>
                </a:lnTo>
                <a:close/>
                <a:moveTo>
                  <a:pt x="1190149" y="0"/>
                </a:moveTo>
                <a:lnTo>
                  <a:pt x="396716" y="0"/>
                </a:lnTo>
                <a:lnTo>
                  <a:pt x="0" y="694253"/>
                </a:lnTo>
                <a:lnTo>
                  <a:pt x="396716" y="1388507"/>
                </a:lnTo>
                <a:lnTo>
                  <a:pt x="1190149" y="1388507"/>
                </a:lnTo>
                <a:lnTo>
                  <a:pt x="1586865" y="694253"/>
                </a:lnTo>
                <a:lnTo>
                  <a:pt x="1190149" y="0"/>
                </a:lnTo>
                <a:close/>
              </a:path>
            </a:pathLst>
          </a:custGeom>
          <a:solidFill>
            <a:schemeClr val="dk2"/>
          </a:solidFill>
          <a:ln>
            <a:noFill/>
          </a:ln>
        </p:spPr>
        <p:txBody>
          <a:bodyPr spcFirstLastPara="1" wrap="square" lIns="91433" tIns="45700" rIns="91433" bIns="45700"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445" name="Google Shape;1445;p18"/>
          <p:cNvSpPr txBox="1">
            <a:spLocks noGrp="1"/>
          </p:cNvSpPr>
          <p:nvPr>
            <p:ph type="body" idx="1"/>
          </p:nvPr>
        </p:nvSpPr>
        <p:spPr>
          <a:xfrm>
            <a:off x="481600" y="1335200"/>
            <a:ext cx="6581600" cy="4841600"/>
          </a:xfrm>
          <a:prstGeom prst="rect">
            <a:avLst/>
          </a:prstGeom>
          <a:noFill/>
          <a:ln>
            <a:noFill/>
          </a:ln>
        </p:spPr>
        <p:txBody>
          <a:bodyPr spcFirstLastPara="1" wrap="square" lIns="0" tIns="34275" rIns="68575" bIns="34275" anchor="t" anchorCtr="0">
            <a:noAutofit/>
          </a:bodyPr>
          <a:lstStyle>
            <a:lvl1pPr marL="609585" lvl="0" indent="-406390" algn="l" rtl="0">
              <a:lnSpc>
                <a:spcPct val="125000"/>
              </a:lnSpc>
              <a:spcBef>
                <a:spcPts val="0"/>
              </a:spcBef>
              <a:spcAft>
                <a:spcPts val="0"/>
              </a:spcAft>
              <a:buClr>
                <a:schemeClr val="dk2"/>
              </a:buClr>
              <a:buSzPts val="1200"/>
              <a:buFont typeface="Inter"/>
              <a:buChar char="●"/>
              <a:defRPr/>
            </a:lvl1pPr>
            <a:lvl2pPr marL="1219170" lvl="1" indent="-406390" algn="l" rtl="0">
              <a:lnSpc>
                <a:spcPct val="125000"/>
              </a:lnSpc>
              <a:spcBef>
                <a:spcPts val="1200"/>
              </a:spcBef>
              <a:spcAft>
                <a:spcPts val="0"/>
              </a:spcAft>
              <a:buClr>
                <a:schemeClr val="dk2"/>
              </a:buClr>
              <a:buSzPts val="1200"/>
              <a:buFont typeface="Inter"/>
              <a:buChar char="●"/>
              <a:defRPr/>
            </a:lvl2pPr>
            <a:lvl3pPr marL="1828754" lvl="2" indent="-406390" algn="l" rtl="0">
              <a:lnSpc>
                <a:spcPct val="125000"/>
              </a:lnSpc>
              <a:spcBef>
                <a:spcPts val="1200"/>
              </a:spcBef>
              <a:spcAft>
                <a:spcPts val="0"/>
              </a:spcAft>
              <a:buClr>
                <a:schemeClr val="dk2"/>
              </a:buClr>
              <a:buSzPts val="1200"/>
              <a:buFont typeface="Inter"/>
              <a:buChar char="●"/>
              <a:defRPr/>
            </a:lvl3pPr>
            <a:lvl4pPr marL="2438339" lvl="3" indent="-406390" algn="l" rtl="0">
              <a:lnSpc>
                <a:spcPct val="125000"/>
              </a:lnSpc>
              <a:spcBef>
                <a:spcPts val="1200"/>
              </a:spcBef>
              <a:spcAft>
                <a:spcPts val="0"/>
              </a:spcAft>
              <a:buClr>
                <a:schemeClr val="dk2"/>
              </a:buClr>
              <a:buSzPts val="1200"/>
              <a:buFont typeface="Inter"/>
              <a:buChar char="●"/>
              <a:defRPr/>
            </a:lvl4pPr>
            <a:lvl5pPr marL="3047924" lvl="4" indent="-406390" algn="l" rtl="0">
              <a:lnSpc>
                <a:spcPct val="125000"/>
              </a:lnSpc>
              <a:spcBef>
                <a:spcPts val="1200"/>
              </a:spcBef>
              <a:spcAft>
                <a:spcPts val="0"/>
              </a:spcAft>
              <a:buClr>
                <a:schemeClr val="dk2"/>
              </a:buClr>
              <a:buSzPts val="1200"/>
              <a:buFont typeface="Inter"/>
              <a:buChar char="●"/>
              <a:defRPr/>
            </a:lvl5pPr>
            <a:lvl6pPr marL="3657509" lvl="5" indent="-406390" algn="l" rtl="0">
              <a:lnSpc>
                <a:spcPct val="125000"/>
              </a:lnSpc>
              <a:spcBef>
                <a:spcPts val="1200"/>
              </a:spcBef>
              <a:spcAft>
                <a:spcPts val="0"/>
              </a:spcAft>
              <a:buClr>
                <a:schemeClr val="dk2"/>
              </a:buClr>
              <a:buSzPts val="1200"/>
              <a:buFont typeface="Inter"/>
              <a:buChar char="●"/>
              <a:defRPr/>
            </a:lvl6pPr>
            <a:lvl7pPr marL="4267093" lvl="6" indent="-406390" algn="l" rtl="0">
              <a:lnSpc>
                <a:spcPct val="125000"/>
              </a:lnSpc>
              <a:spcBef>
                <a:spcPts val="1200"/>
              </a:spcBef>
              <a:spcAft>
                <a:spcPts val="0"/>
              </a:spcAft>
              <a:buClr>
                <a:schemeClr val="dk2"/>
              </a:buClr>
              <a:buSzPts val="1200"/>
              <a:buFont typeface="Inter"/>
              <a:buChar char="●"/>
              <a:defRPr/>
            </a:lvl7pPr>
            <a:lvl8pPr marL="4876678" lvl="7" indent="-406390" algn="l" rtl="0">
              <a:lnSpc>
                <a:spcPct val="125000"/>
              </a:lnSpc>
              <a:spcBef>
                <a:spcPts val="1200"/>
              </a:spcBef>
              <a:spcAft>
                <a:spcPts val="0"/>
              </a:spcAft>
              <a:buClr>
                <a:schemeClr val="dk2"/>
              </a:buClr>
              <a:buSzPts val="1200"/>
              <a:buFont typeface="Inter"/>
              <a:buChar char="●"/>
              <a:defRPr/>
            </a:lvl8pPr>
            <a:lvl9pPr marL="5486263" lvl="8" indent="-406390" algn="l" rtl="0">
              <a:lnSpc>
                <a:spcPct val="125000"/>
              </a:lnSpc>
              <a:spcBef>
                <a:spcPts val="1200"/>
              </a:spcBef>
              <a:spcAft>
                <a:spcPts val="1200"/>
              </a:spcAft>
              <a:buClr>
                <a:schemeClr val="dk2"/>
              </a:buClr>
              <a:buSzPts val="1200"/>
              <a:buFont typeface="Inter"/>
              <a:buChar char="●"/>
              <a:defRPr/>
            </a:lvl9pPr>
          </a:lstStyle>
          <a:p>
            <a:endParaRPr/>
          </a:p>
        </p:txBody>
      </p:sp>
    </p:spTree>
    <p:extLst>
      <p:ext uri="{BB962C8B-B14F-4D97-AF65-F5344CB8AC3E}">
        <p14:creationId xmlns:p14="http://schemas.microsoft.com/office/powerpoint/2010/main" val="131888222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Title and Content 1 Image">
  <p:cSld name="Title and Content 1 Image">
    <p:bg>
      <p:bgPr>
        <a:solidFill>
          <a:schemeClr val="lt2"/>
        </a:solidFill>
        <a:effectLst/>
      </p:bgPr>
    </p:bg>
    <p:spTree>
      <p:nvGrpSpPr>
        <p:cNvPr id="1" name="Shape 1446"/>
        <p:cNvGrpSpPr/>
        <p:nvPr/>
      </p:nvGrpSpPr>
      <p:grpSpPr>
        <a:xfrm>
          <a:off x="0" y="0"/>
          <a:ext cx="0" cy="0"/>
          <a:chOff x="0" y="0"/>
          <a:chExt cx="0" cy="0"/>
        </a:xfrm>
      </p:grpSpPr>
      <p:sp>
        <p:nvSpPr>
          <p:cNvPr id="1447" name="Google Shape;1447;p19"/>
          <p:cNvSpPr txBox="1">
            <a:spLocks noGrp="1"/>
          </p:cNvSpPr>
          <p:nvPr>
            <p:ph type="title"/>
          </p:nvPr>
        </p:nvSpPr>
        <p:spPr>
          <a:xfrm>
            <a:off x="951700" y="359997"/>
            <a:ext cx="10515600" cy="975200"/>
          </a:xfrm>
          <a:prstGeom prst="rect">
            <a:avLst/>
          </a:prstGeom>
          <a:noFill/>
          <a:ln>
            <a:noFill/>
          </a:ln>
        </p:spPr>
        <p:txBody>
          <a:bodyPr spcFirstLastPara="1" wrap="square" lIns="0" tIns="0" rIns="68575" bIns="34275" anchor="t" anchorCtr="0">
            <a:noAutofit/>
          </a:bodyPr>
          <a:lstStyle>
            <a:lvl1pPr lvl="0" algn="l" rtl="0">
              <a:lnSpc>
                <a:spcPct val="90000"/>
              </a:lnSpc>
              <a:spcBef>
                <a:spcPts val="0"/>
              </a:spcBef>
              <a:spcAft>
                <a:spcPts val="0"/>
              </a:spcAft>
              <a:buClr>
                <a:schemeClr val="dk1"/>
              </a:buClr>
              <a:buSzPts val="2400"/>
              <a:buFont typeface="Inter Medium"/>
              <a:buNone/>
              <a:defRPr sz="3200">
                <a:latin typeface="Inter Medium"/>
                <a:ea typeface="Inter Medium"/>
                <a:cs typeface="Inter Medium"/>
                <a:sym typeface="Inter Medium"/>
              </a:defRPr>
            </a:lvl1pPr>
            <a:lvl2pPr lvl="1" rtl="0">
              <a:spcBef>
                <a:spcPts val="0"/>
              </a:spcBef>
              <a:spcAft>
                <a:spcPts val="0"/>
              </a:spcAft>
              <a:buSzPts val="1100"/>
              <a:buNone/>
              <a:defRPr b="1"/>
            </a:lvl2pPr>
            <a:lvl3pPr lvl="2" rtl="0">
              <a:spcBef>
                <a:spcPts val="0"/>
              </a:spcBef>
              <a:spcAft>
                <a:spcPts val="0"/>
              </a:spcAft>
              <a:buSzPts val="1100"/>
              <a:buNone/>
              <a:defRPr b="1"/>
            </a:lvl3pPr>
            <a:lvl4pPr lvl="3" rtl="0">
              <a:spcBef>
                <a:spcPts val="0"/>
              </a:spcBef>
              <a:spcAft>
                <a:spcPts val="0"/>
              </a:spcAft>
              <a:buSzPts val="1100"/>
              <a:buNone/>
              <a:defRPr b="1"/>
            </a:lvl4pPr>
            <a:lvl5pPr lvl="4" rtl="0">
              <a:spcBef>
                <a:spcPts val="0"/>
              </a:spcBef>
              <a:spcAft>
                <a:spcPts val="0"/>
              </a:spcAft>
              <a:buSzPts val="1100"/>
              <a:buNone/>
              <a:defRPr b="1"/>
            </a:lvl5pPr>
            <a:lvl6pPr lvl="5" rtl="0">
              <a:spcBef>
                <a:spcPts val="0"/>
              </a:spcBef>
              <a:spcAft>
                <a:spcPts val="0"/>
              </a:spcAft>
              <a:buSzPts val="1100"/>
              <a:buNone/>
              <a:defRPr b="1"/>
            </a:lvl6pPr>
            <a:lvl7pPr lvl="6" rtl="0">
              <a:spcBef>
                <a:spcPts val="0"/>
              </a:spcBef>
              <a:spcAft>
                <a:spcPts val="0"/>
              </a:spcAft>
              <a:buSzPts val="1100"/>
              <a:buNone/>
              <a:defRPr b="1"/>
            </a:lvl7pPr>
            <a:lvl8pPr lvl="7" rtl="0">
              <a:spcBef>
                <a:spcPts val="0"/>
              </a:spcBef>
              <a:spcAft>
                <a:spcPts val="0"/>
              </a:spcAft>
              <a:buSzPts val="1100"/>
              <a:buNone/>
              <a:defRPr b="1"/>
            </a:lvl8pPr>
            <a:lvl9pPr lvl="8" rtl="0">
              <a:spcBef>
                <a:spcPts val="0"/>
              </a:spcBef>
              <a:spcAft>
                <a:spcPts val="0"/>
              </a:spcAft>
              <a:buSzPts val="1100"/>
              <a:buNone/>
              <a:defRPr b="1"/>
            </a:lvl9pPr>
          </a:lstStyle>
          <a:p>
            <a:endParaRPr/>
          </a:p>
        </p:txBody>
      </p:sp>
      <p:sp>
        <p:nvSpPr>
          <p:cNvPr id="1448" name="Google Shape;1448;p19"/>
          <p:cNvSpPr txBox="1">
            <a:spLocks noGrp="1"/>
          </p:cNvSpPr>
          <p:nvPr>
            <p:ph type="sldNum" idx="12"/>
          </p:nvPr>
        </p:nvSpPr>
        <p:spPr>
          <a:xfrm>
            <a:off x="10978812" y="5993647"/>
            <a:ext cx="731600" cy="524800"/>
          </a:xfrm>
          <a:prstGeom prst="rect">
            <a:avLst/>
          </a:prstGeom>
        </p:spPr>
        <p:txBody>
          <a:bodyPr spcFirstLastPara="1" wrap="square" lIns="91425" tIns="91425" rIns="0" bIns="0" anchor="b" anchorCtr="0">
            <a:noAutofit/>
          </a:bodyPr>
          <a:lstStyle>
            <a:lvl1pPr lvl="0" algn="r" rtl="0">
              <a:buNone/>
              <a:defRPr sz="667">
                <a:solidFill>
                  <a:schemeClr val="dk2"/>
                </a:solidFill>
                <a:latin typeface="Inter"/>
                <a:ea typeface="Inter"/>
                <a:cs typeface="Inter"/>
                <a:sym typeface="Inter"/>
              </a:defRPr>
            </a:lvl1pPr>
            <a:lvl2pPr lvl="1" algn="r" rtl="0">
              <a:buNone/>
              <a:defRPr sz="667">
                <a:solidFill>
                  <a:schemeClr val="dk2"/>
                </a:solidFill>
                <a:latin typeface="Inter"/>
                <a:ea typeface="Inter"/>
                <a:cs typeface="Inter"/>
                <a:sym typeface="Inter"/>
              </a:defRPr>
            </a:lvl2pPr>
            <a:lvl3pPr lvl="2" algn="r" rtl="0">
              <a:buNone/>
              <a:defRPr sz="667">
                <a:solidFill>
                  <a:schemeClr val="dk2"/>
                </a:solidFill>
                <a:latin typeface="Inter"/>
                <a:ea typeface="Inter"/>
                <a:cs typeface="Inter"/>
                <a:sym typeface="Inter"/>
              </a:defRPr>
            </a:lvl3pPr>
            <a:lvl4pPr lvl="3" algn="r" rtl="0">
              <a:buNone/>
              <a:defRPr sz="667">
                <a:solidFill>
                  <a:schemeClr val="dk2"/>
                </a:solidFill>
                <a:latin typeface="Inter"/>
                <a:ea typeface="Inter"/>
                <a:cs typeface="Inter"/>
                <a:sym typeface="Inter"/>
              </a:defRPr>
            </a:lvl4pPr>
            <a:lvl5pPr lvl="4" algn="r" rtl="0">
              <a:buNone/>
              <a:defRPr sz="667">
                <a:solidFill>
                  <a:schemeClr val="dk2"/>
                </a:solidFill>
                <a:latin typeface="Inter"/>
                <a:ea typeface="Inter"/>
                <a:cs typeface="Inter"/>
                <a:sym typeface="Inter"/>
              </a:defRPr>
            </a:lvl5pPr>
            <a:lvl6pPr lvl="5" algn="r" rtl="0">
              <a:buNone/>
              <a:defRPr sz="667">
                <a:solidFill>
                  <a:schemeClr val="dk2"/>
                </a:solidFill>
                <a:latin typeface="Inter"/>
                <a:ea typeface="Inter"/>
                <a:cs typeface="Inter"/>
                <a:sym typeface="Inter"/>
              </a:defRPr>
            </a:lvl6pPr>
            <a:lvl7pPr lvl="6" algn="r" rtl="0">
              <a:buNone/>
              <a:defRPr sz="667">
                <a:solidFill>
                  <a:schemeClr val="dk2"/>
                </a:solidFill>
                <a:latin typeface="Inter"/>
                <a:ea typeface="Inter"/>
                <a:cs typeface="Inter"/>
                <a:sym typeface="Inter"/>
              </a:defRPr>
            </a:lvl7pPr>
            <a:lvl8pPr lvl="7" algn="r" rtl="0">
              <a:buNone/>
              <a:defRPr sz="667">
                <a:solidFill>
                  <a:schemeClr val="dk2"/>
                </a:solidFill>
                <a:latin typeface="Inter"/>
                <a:ea typeface="Inter"/>
                <a:cs typeface="Inter"/>
                <a:sym typeface="Inter"/>
              </a:defRPr>
            </a:lvl8pPr>
            <a:lvl9pPr lvl="8" algn="r" rtl="0">
              <a:buNone/>
              <a:defRPr sz="667">
                <a:solidFill>
                  <a:schemeClr val="dk2"/>
                </a:solidFill>
                <a:latin typeface="Inter"/>
                <a:ea typeface="Inter"/>
                <a:cs typeface="Inter"/>
                <a:sym typeface="Inter"/>
              </a:defRPr>
            </a:lvl9pPr>
          </a:lstStyle>
          <a:p>
            <a:fld id="{00000000-1234-1234-1234-123412341234}" type="slidenum">
              <a:rPr lang="en-GB" smtClean="0"/>
              <a:pPr/>
              <a:t>‹#›</a:t>
            </a:fld>
            <a:endParaRPr lang="en-GB"/>
          </a:p>
        </p:txBody>
      </p:sp>
      <p:sp>
        <p:nvSpPr>
          <p:cNvPr id="1449" name="Google Shape;1449;p19"/>
          <p:cNvSpPr>
            <a:spLocks noGrp="1"/>
          </p:cNvSpPr>
          <p:nvPr>
            <p:ph type="pic" idx="2"/>
          </p:nvPr>
        </p:nvSpPr>
        <p:spPr>
          <a:xfrm>
            <a:off x="7479567" y="1335200"/>
            <a:ext cx="4230800" cy="4968800"/>
          </a:xfrm>
          <a:prstGeom prst="roundRect">
            <a:avLst>
              <a:gd name="adj" fmla="val 4171"/>
            </a:avLst>
          </a:prstGeom>
          <a:noFill/>
          <a:ln>
            <a:noFill/>
          </a:ln>
        </p:spPr>
      </p:sp>
      <p:sp>
        <p:nvSpPr>
          <p:cNvPr id="1450" name="Google Shape;1450;p19"/>
          <p:cNvSpPr txBox="1"/>
          <p:nvPr/>
        </p:nvSpPr>
        <p:spPr>
          <a:xfrm>
            <a:off x="481600" y="6245247"/>
            <a:ext cx="1288400" cy="273200"/>
          </a:xfrm>
          <a:prstGeom prst="rect">
            <a:avLst/>
          </a:prstGeom>
          <a:noFill/>
          <a:ln>
            <a:noFill/>
          </a:ln>
        </p:spPr>
        <p:txBody>
          <a:bodyPr spcFirstLastPara="1" wrap="square" lIns="0" tIns="0" rIns="0" bIns="0" anchor="b" anchorCtr="0">
            <a:noAutofit/>
          </a:bodyPr>
          <a:lstStyle/>
          <a:p>
            <a:pPr marL="0" lvl="0" indent="0" algn="l" rtl="0">
              <a:spcBef>
                <a:spcPts val="0"/>
              </a:spcBef>
              <a:spcAft>
                <a:spcPts val="0"/>
              </a:spcAft>
              <a:buNone/>
            </a:pPr>
            <a:r>
              <a:rPr lang="en-GB" sz="667">
                <a:solidFill>
                  <a:schemeClr val="dk2"/>
                </a:solidFill>
                <a:latin typeface="Inter"/>
                <a:ea typeface="Inter"/>
                <a:cs typeface="Inter"/>
                <a:sym typeface="Inter"/>
              </a:rPr>
              <a:t>Multiverse</a:t>
            </a:r>
            <a:endParaRPr sz="667">
              <a:solidFill>
                <a:schemeClr val="dk2"/>
              </a:solidFill>
              <a:latin typeface="Inter"/>
              <a:ea typeface="Inter"/>
              <a:cs typeface="Inter"/>
              <a:sym typeface="Inter"/>
            </a:endParaRPr>
          </a:p>
        </p:txBody>
      </p:sp>
      <p:sp>
        <p:nvSpPr>
          <p:cNvPr id="1451" name="Google Shape;1451;p19"/>
          <p:cNvSpPr/>
          <p:nvPr/>
        </p:nvSpPr>
        <p:spPr>
          <a:xfrm>
            <a:off x="481601" y="414630"/>
            <a:ext cx="349111" cy="305471"/>
          </a:xfrm>
          <a:custGeom>
            <a:avLst/>
            <a:gdLst/>
            <a:ahLst/>
            <a:cxnLst/>
            <a:rect l="l" t="t" r="r" b="b"/>
            <a:pathLst>
              <a:path w="1586865" h="1388506" extrusionOk="0">
                <a:moveTo>
                  <a:pt x="1083683" y="969931"/>
                </a:moveTo>
                <a:lnTo>
                  <a:pt x="1083683" y="579692"/>
                </a:lnTo>
                <a:lnTo>
                  <a:pt x="849297" y="969931"/>
                </a:lnTo>
                <a:lnTo>
                  <a:pt x="848892" y="969931"/>
                </a:lnTo>
                <a:cubicBezTo>
                  <a:pt x="848892" y="969931"/>
                  <a:pt x="848892" y="969931"/>
                  <a:pt x="848892" y="969931"/>
                </a:cubicBezTo>
                <a:lnTo>
                  <a:pt x="738783" y="969931"/>
                </a:lnTo>
                <a:lnTo>
                  <a:pt x="738783" y="577668"/>
                </a:lnTo>
                <a:lnTo>
                  <a:pt x="549735" y="892612"/>
                </a:lnTo>
                <a:cubicBezTo>
                  <a:pt x="527876" y="929449"/>
                  <a:pt x="510873" y="958191"/>
                  <a:pt x="503992" y="969931"/>
                </a:cubicBezTo>
                <a:lnTo>
                  <a:pt x="393073" y="969931"/>
                </a:lnTo>
                <a:lnTo>
                  <a:pt x="393073" y="418576"/>
                </a:lnTo>
                <a:lnTo>
                  <a:pt x="503992" y="418576"/>
                </a:lnTo>
                <a:lnTo>
                  <a:pt x="502777" y="760643"/>
                </a:lnTo>
                <a:lnTo>
                  <a:pt x="503587" y="782098"/>
                </a:lnTo>
                <a:lnTo>
                  <a:pt x="721781" y="418981"/>
                </a:lnTo>
                <a:lnTo>
                  <a:pt x="721781" y="418981"/>
                </a:lnTo>
                <a:lnTo>
                  <a:pt x="721781" y="418981"/>
                </a:lnTo>
                <a:lnTo>
                  <a:pt x="739188" y="418981"/>
                </a:lnTo>
                <a:lnTo>
                  <a:pt x="847678" y="418981"/>
                </a:lnTo>
                <a:cubicBezTo>
                  <a:pt x="847678" y="418981"/>
                  <a:pt x="848487" y="722995"/>
                  <a:pt x="848892" y="783717"/>
                </a:cubicBezTo>
                <a:lnTo>
                  <a:pt x="1067895" y="418981"/>
                </a:lnTo>
                <a:lnTo>
                  <a:pt x="1067895" y="418981"/>
                </a:lnTo>
                <a:lnTo>
                  <a:pt x="1067895" y="418981"/>
                </a:lnTo>
                <a:lnTo>
                  <a:pt x="1085302" y="418981"/>
                </a:lnTo>
                <a:lnTo>
                  <a:pt x="1193387" y="418981"/>
                </a:lnTo>
                <a:lnTo>
                  <a:pt x="1193387" y="970336"/>
                </a:lnTo>
                <a:lnTo>
                  <a:pt x="1083683" y="970336"/>
                </a:lnTo>
                <a:close/>
                <a:moveTo>
                  <a:pt x="1190149" y="0"/>
                </a:moveTo>
                <a:lnTo>
                  <a:pt x="396716" y="0"/>
                </a:lnTo>
                <a:lnTo>
                  <a:pt x="0" y="694253"/>
                </a:lnTo>
                <a:lnTo>
                  <a:pt x="396716" y="1388507"/>
                </a:lnTo>
                <a:lnTo>
                  <a:pt x="1190149" y="1388507"/>
                </a:lnTo>
                <a:lnTo>
                  <a:pt x="1586865" y="694253"/>
                </a:lnTo>
                <a:lnTo>
                  <a:pt x="1190149" y="0"/>
                </a:lnTo>
                <a:close/>
              </a:path>
            </a:pathLst>
          </a:custGeom>
          <a:solidFill>
            <a:schemeClr val="dk2"/>
          </a:solidFill>
          <a:ln>
            <a:noFill/>
          </a:ln>
        </p:spPr>
        <p:txBody>
          <a:bodyPr spcFirstLastPara="1" wrap="square" lIns="91433" tIns="45700" rIns="91433" bIns="45700"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452" name="Google Shape;1452;p19"/>
          <p:cNvSpPr txBox="1">
            <a:spLocks noGrp="1"/>
          </p:cNvSpPr>
          <p:nvPr>
            <p:ph type="body" idx="1"/>
          </p:nvPr>
        </p:nvSpPr>
        <p:spPr>
          <a:xfrm>
            <a:off x="481600" y="1335200"/>
            <a:ext cx="6581600" cy="4841600"/>
          </a:xfrm>
          <a:prstGeom prst="rect">
            <a:avLst/>
          </a:prstGeom>
          <a:noFill/>
          <a:ln>
            <a:noFill/>
          </a:ln>
        </p:spPr>
        <p:txBody>
          <a:bodyPr spcFirstLastPara="1" wrap="square" lIns="0" tIns="34275" rIns="68575" bIns="34275" anchor="t" anchorCtr="0">
            <a:noAutofit/>
          </a:bodyPr>
          <a:lstStyle>
            <a:lvl1pPr marL="609585" lvl="0" indent="-406390" algn="l" rtl="0">
              <a:lnSpc>
                <a:spcPct val="125000"/>
              </a:lnSpc>
              <a:spcBef>
                <a:spcPts val="0"/>
              </a:spcBef>
              <a:spcAft>
                <a:spcPts val="0"/>
              </a:spcAft>
              <a:buClr>
                <a:schemeClr val="dk2"/>
              </a:buClr>
              <a:buSzPts val="1200"/>
              <a:buFont typeface="Inter"/>
              <a:buChar char="●"/>
              <a:defRPr/>
            </a:lvl1pPr>
            <a:lvl2pPr marL="1219170" lvl="1" indent="-406390" algn="l" rtl="0">
              <a:lnSpc>
                <a:spcPct val="125000"/>
              </a:lnSpc>
              <a:spcBef>
                <a:spcPts val="1200"/>
              </a:spcBef>
              <a:spcAft>
                <a:spcPts val="0"/>
              </a:spcAft>
              <a:buClr>
                <a:schemeClr val="dk2"/>
              </a:buClr>
              <a:buSzPts val="1200"/>
              <a:buFont typeface="Inter"/>
              <a:buChar char="●"/>
              <a:defRPr/>
            </a:lvl2pPr>
            <a:lvl3pPr marL="1828754" lvl="2" indent="-406390" algn="l" rtl="0">
              <a:lnSpc>
                <a:spcPct val="125000"/>
              </a:lnSpc>
              <a:spcBef>
                <a:spcPts val="1200"/>
              </a:spcBef>
              <a:spcAft>
                <a:spcPts val="0"/>
              </a:spcAft>
              <a:buClr>
                <a:schemeClr val="dk2"/>
              </a:buClr>
              <a:buSzPts val="1200"/>
              <a:buFont typeface="Inter"/>
              <a:buChar char="●"/>
              <a:defRPr/>
            </a:lvl3pPr>
            <a:lvl4pPr marL="2438339" lvl="3" indent="-406390" algn="l" rtl="0">
              <a:lnSpc>
                <a:spcPct val="125000"/>
              </a:lnSpc>
              <a:spcBef>
                <a:spcPts val="1200"/>
              </a:spcBef>
              <a:spcAft>
                <a:spcPts val="0"/>
              </a:spcAft>
              <a:buClr>
                <a:schemeClr val="dk2"/>
              </a:buClr>
              <a:buSzPts val="1200"/>
              <a:buFont typeface="Inter"/>
              <a:buChar char="●"/>
              <a:defRPr/>
            </a:lvl4pPr>
            <a:lvl5pPr marL="3047924" lvl="4" indent="-406390" algn="l" rtl="0">
              <a:lnSpc>
                <a:spcPct val="125000"/>
              </a:lnSpc>
              <a:spcBef>
                <a:spcPts val="1200"/>
              </a:spcBef>
              <a:spcAft>
                <a:spcPts val="0"/>
              </a:spcAft>
              <a:buClr>
                <a:schemeClr val="dk2"/>
              </a:buClr>
              <a:buSzPts val="1200"/>
              <a:buFont typeface="Inter"/>
              <a:buChar char="●"/>
              <a:defRPr/>
            </a:lvl5pPr>
            <a:lvl6pPr marL="3657509" lvl="5" indent="-406390" algn="l" rtl="0">
              <a:lnSpc>
                <a:spcPct val="125000"/>
              </a:lnSpc>
              <a:spcBef>
                <a:spcPts val="1200"/>
              </a:spcBef>
              <a:spcAft>
                <a:spcPts val="0"/>
              </a:spcAft>
              <a:buClr>
                <a:schemeClr val="dk2"/>
              </a:buClr>
              <a:buSzPts val="1200"/>
              <a:buFont typeface="Inter"/>
              <a:buChar char="●"/>
              <a:defRPr/>
            </a:lvl6pPr>
            <a:lvl7pPr marL="4267093" lvl="6" indent="-406390" algn="l" rtl="0">
              <a:lnSpc>
                <a:spcPct val="125000"/>
              </a:lnSpc>
              <a:spcBef>
                <a:spcPts val="1200"/>
              </a:spcBef>
              <a:spcAft>
                <a:spcPts val="0"/>
              </a:spcAft>
              <a:buClr>
                <a:schemeClr val="dk2"/>
              </a:buClr>
              <a:buSzPts val="1200"/>
              <a:buFont typeface="Inter"/>
              <a:buChar char="●"/>
              <a:defRPr/>
            </a:lvl7pPr>
            <a:lvl8pPr marL="4876678" lvl="7" indent="-406390" algn="l" rtl="0">
              <a:lnSpc>
                <a:spcPct val="125000"/>
              </a:lnSpc>
              <a:spcBef>
                <a:spcPts val="1200"/>
              </a:spcBef>
              <a:spcAft>
                <a:spcPts val="0"/>
              </a:spcAft>
              <a:buClr>
                <a:schemeClr val="dk2"/>
              </a:buClr>
              <a:buSzPts val="1200"/>
              <a:buFont typeface="Inter"/>
              <a:buChar char="●"/>
              <a:defRPr/>
            </a:lvl8pPr>
            <a:lvl9pPr marL="5486263" lvl="8" indent="-406390" algn="l" rtl="0">
              <a:lnSpc>
                <a:spcPct val="125000"/>
              </a:lnSpc>
              <a:spcBef>
                <a:spcPts val="1200"/>
              </a:spcBef>
              <a:spcAft>
                <a:spcPts val="1200"/>
              </a:spcAft>
              <a:buClr>
                <a:schemeClr val="dk2"/>
              </a:buClr>
              <a:buSzPts val="1200"/>
              <a:buFont typeface="Inter"/>
              <a:buChar char="●"/>
              <a:defRPr/>
            </a:lvl9pPr>
          </a:lstStyle>
          <a:p>
            <a:endParaRPr/>
          </a:p>
        </p:txBody>
      </p:sp>
    </p:spTree>
    <p:extLst>
      <p:ext uri="{BB962C8B-B14F-4D97-AF65-F5344CB8AC3E}">
        <p14:creationId xmlns:p14="http://schemas.microsoft.com/office/powerpoint/2010/main" val="193265010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Title and Content 1 Image - Ultraviolet">
  <p:cSld name="Title and Content 1 Image - Ultraviolet">
    <p:bg>
      <p:bgPr>
        <a:solidFill>
          <a:schemeClr val="dk2"/>
        </a:solidFill>
        <a:effectLst/>
      </p:bgPr>
    </p:bg>
    <p:spTree>
      <p:nvGrpSpPr>
        <p:cNvPr id="1" name="Shape 1453"/>
        <p:cNvGrpSpPr/>
        <p:nvPr/>
      </p:nvGrpSpPr>
      <p:grpSpPr>
        <a:xfrm>
          <a:off x="0" y="0"/>
          <a:ext cx="0" cy="0"/>
          <a:chOff x="0" y="0"/>
          <a:chExt cx="0" cy="0"/>
        </a:xfrm>
      </p:grpSpPr>
      <p:sp>
        <p:nvSpPr>
          <p:cNvPr id="1454" name="Google Shape;1454;p20"/>
          <p:cNvSpPr txBox="1">
            <a:spLocks noGrp="1"/>
          </p:cNvSpPr>
          <p:nvPr>
            <p:ph type="title"/>
          </p:nvPr>
        </p:nvSpPr>
        <p:spPr>
          <a:xfrm>
            <a:off x="951700" y="359997"/>
            <a:ext cx="10515600" cy="975200"/>
          </a:xfrm>
          <a:prstGeom prst="rect">
            <a:avLst/>
          </a:prstGeom>
          <a:noFill/>
          <a:ln>
            <a:noFill/>
          </a:ln>
        </p:spPr>
        <p:txBody>
          <a:bodyPr spcFirstLastPara="1" wrap="square" lIns="0" tIns="0" rIns="68575" bIns="34275" anchor="t" anchorCtr="0">
            <a:noAutofit/>
          </a:bodyPr>
          <a:lstStyle>
            <a:lvl1pPr lvl="0" algn="l" rtl="0">
              <a:lnSpc>
                <a:spcPct val="90000"/>
              </a:lnSpc>
              <a:spcBef>
                <a:spcPts val="0"/>
              </a:spcBef>
              <a:spcAft>
                <a:spcPts val="0"/>
              </a:spcAft>
              <a:buClr>
                <a:schemeClr val="lt1"/>
              </a:buClr>
              <a:buSzPts val="2400"/>
              <a:buFont typeface="Inter Medium"/>
              <a:buNone/>
              <a:defRPr sz="3200">
                <a:solidFill>
                  <a:schemeClr val="lt1"/>
                </a:solidFill>
                <a:latin typeface="Inter Medium"/>
                <a:ea typeface="Inter Medium"/>
                <a:cs typeface="Inter Medium"/>
                <a:sym typeface="Inter Medium"/>
              </a:defRPr>
            </a:lvl1pPr>
            <a:lvl2pPr lvl="1" rtl="0">
              <a:spcBef>
                <a:spcPts val="0"/>
              </a:spcBef>
              <a:spcAft>
                <a:spcPts val="0"/>
              </a:spcAft>
              <a:buClr>
                <a:schemeClr val="lt1"/>
              </a:buClr>
              <a:buSzPts val="1100"/>
              <a:buNone/>
              <a:defRPr b="1">
                <a:solidFill>
                  <a:schemeClr val="lt1"/>
                </a:solidFill>
              </a:defRPr>
            </a:lvl2pPr>
            <a:lvl3pPr lvl="2" rtl="0">
              <a:spcBef>
                <a:spcPts val="0"/>
              </a:spcBef>
              <a:spcAft>
                <a:spcPts val="0"/>
              </a:spcAft>
              <a:buClr>
                <a:schemeClr val="lt1"/>
              </a:buClr>
              <a:buSzPts val="1100"/>
              <a:buNone/>
              <a:defRPr b="1">
                <a:solidFill>
                  <a:schemeClr val="lt1"/>
                </a:solidFill>
              </a:defRPr>
            </a:lvl3pPr>
            <a:lvl4pPr lvl="3" rtl="0">
              <a:spcBef>
                <a:spcPts val="0"/>
              </a:spcBef>
              <a:spcAft>
                <a:spcPts val="0"/>
              </a:spcAft>
              <a:buClr>
                <a:schemeClr val="lt1"/>
              </a:buClr>
              <a:buSzPts val="1100"/>
              <a:buNone/>
              <a:defRPr b="1">
                <a:solidFill>
                  <a:schemeClr val="lt1"/>
                </a:solidFill>
              </a:defRPr>
            </a:lvl4pPr>
            <a:lvl5pPr lvl="4" rtl="0">
              <a:spcBef>
                <a:spcPts val="0"/>
              </a:spcBef>
              <a:spcAft>
                <a:spcPts val="0"/>
              </a:spcAft>
              <a:buClr>
                <a:schemeClr val="lt1"/>
              </a:buClr>
              <a:buSzPts val="1100"/>
              <a:buNone/>
              <a:defRPr b="1">
                <a:solidFill>
                  <a:schemeClr val="lt1"/>
                </a:solidFill>
              </a:defRPr>
            </a:lvl5pPr>
            <a:lvl6pPr lvl="5" rtl="0">
              <a:spcBef>
                <a:spcPts val="0"/>
              </a:spcBef>
              <a:spcAft>
                <a:spcPts val="0"/>
              </a:spcAft>
              <a:buClr>
                <a:schemeClr val="lt1"/>
              </a:buClr>
              <a:buSzPts val="1100"/>
              <a:buNone/>
              <a:defRPr b="1">
                <a:solidFill>
                  <a:schemeClr val="lt1"/>
                </a:solidFill>
              </a:defRPr>
            </a:lvl6pPr>
            <a:lvl7pPr lvl="6" rtl="0">
              <a:spcBef>
                <a:spcPts val="0"/>
              </a:spcBef>
              <a:spcAft>
                <a:spcPts val="0"/>
              </a:spcAft>
              <a:buClr>
                <a:schemeClr val="lt1"/>
              </a:buClr>
              <a:buSzPts val="1100"/>
              <a:buNone/>
              <a:defRPr b="1">
                <a:solidFill>
                  <a:schemeClr val="lt1"/>
                </a:solidFill>
              </a:defRPr>
            </a:lvl7pPr>
            <a:lvl8pPr lvl="7" rtl="0">
              <a:spcBef>
                <a:spcPts val="0"/>
              </a:spcBef>
              <a:spcAft>
                <a:spcPts val="0"/>
              </a:spcAft>
              <a:buClr>
                <a:schemeClr val="lt1"/>
              </a:buClr>
              <a:buSzPts val="1100"/>
              <a:buNone/>
              <a:defRPr b="1">
                <a:solidFill>
                  <a:schemeClr val="lt1"/>
                </a:solidFill>
              </a:defRPr>
            </a:lvl8pPr>
            <a:lvl9pPr lvl="8" rtl="0">
              <a:spcBef>
                <a:spcPts val="0"/>
              </a:spcBef>
              <a:spcAft>
                <a:spcPts val="0"/>
              </a:spcAft>
              <a:buClr>
                <a:schemeClr val="lt1"/>
              </a:buClr>
              <a:buSzPts val="1100"/>
              <a:buNone/>
              <a:defRPr b="1">
                <a:solidFill>
                  <a:schemeClr val="lt1"/>
                </a:solidFill>
              </a:defRPr>
            </a:lvl9pPr>
          </a:lstStyle>
          <a:p>
            <a:endParaRPr/>
          </a:p>
        </p:txBody>
      </p:sp>
      <p:sp>
        <p:nvSpPr>
          <p:cNvPr id="1455" name="Google Shape;1455;p20"/>
          <p:cNvSpPr txBox="1">
            <a:spLocks noGrp="1"/>
          </p:cNvSpPr>
          <p:nvPr>
            <p:ph type="sldNum" idx="12"/>
          </p:nvPr>
        </p:nvSpPr>
        <p:spPr>
          <a:xfrm>
            <a:off x="10978812" y="5993647"/>
            <a:ext cx="731600" cy="524800"/>
          </a:xfrm>
          <a:prstGeom prst="rect">
            <a:avLst/>
          </a:prstGeom>
        </p:spPr>
        <p:txBody>
          <a:bodyPr spcFirstLastPara="1" wrap="square" lIns="91425" tIns="91425" rIns="0" bIns="0" anchor="b" anchorCtr="0">
            <a:noAutofit/>
          </a:bodyPr>
          <a:lstStyle>
            <a:lvl1pPr lvl="0" algn="r" rtl="0">
              <a:buNone/>
              <a:defRPr sz="667">
                <a:solidFill>
                  <a:schemeClr val="lt1"/>
                </a:solidFill>
                <a:latin typeface="Inter"/>
                <a:ea typeface="Inter"/>
                <a:cs typeface="Inter"/>
                <a:sym typeface="Inter"/>
              </a:defRPr>
            </a:lvl1pPr>
            <a:lvl2pPr lvl="1" algn="r" rtl="0">
              <a:buNone/>
              <a:defRPr sz="667">
                <a:solidFill>
                  <a:schemeClr val="lt1"/>
                </a:solidFill>
                <a:latin typeface="Inter"/>
                <a:ea typeface="Inter"/>
                <a:cs typeface="Inter"/>
                <a:sym typeface="Inter"/>
              </a:defRPr>
            </a:lvl2pPr>
            <a:lvl3pPr lvl="2" algn="r" rtl="0">
              <a:buNone/>
              <a:defRPr sz="667">
                <a:solidFill>
                  <a:schemeClr val="lt1"/>
                </a:solidFill>
                <a:latin typeface="Inter"/>
                <a:ea typeface="Inter"/>
                <a:cs typeface="Inter"/>
                <a:sym typeface="Inter"/>
              </a:defRPr>
            </a:lvl3pPr>
            <a:lvl4pPr lvl="3" algn="r" rtl="0">
              <a:buNone/>
              <a:defRPr sz="667">
                <a:solidFill>
                  <a:schemeClr val="lt1"/>
                </a:solidFill>
                <a:latin typeface="Inter"/>
                <a:ea typeface="Inter"/>
                <a:cs typeface="Inter"/>
                <a:sym typeface="Inter"/>
              </a:defRPr>
            </a:lvl4pPr>
            <a:lvl5pPr lvl="4" algn="r" rtl="0">
              <a:buNone/>
              <a:defRPr sz="667">
                <a:solidFill>
                  <a:schemeClr val="lt1"/>
                </a:solidFill>
                <a:latin typeface="Inter"/>
                <a:ea typeface="Inter"/>
                <a:cs typeface="Inter"/>
                <a:sym typeface="Inter"/>
              </a:defRPr>
            </a:lvl5pPr>
            <a:lvl6pPr lvl="5" algn="r" rtl="0">
              <a:buNone/>
              <a:defRPr sz="667">
                <a:solidFill>
                  <a:schemeClr val="lt1"/>
                </a:solidFill>
                <a:latin typeface="Inter"/>
                <a:ea typeface="Inter"/>
                <a:cs typeface="Inter"/>
                <a:sym typeface="Inter"/>
              </a:defRPr>
            </a:lvl6pPr>
            <a:lvl7pPr lvl="6" algn="r" rtl="0">
              <a:buNone/>
              <a:defRPr sz="667">
                <a:solidFill>
                  <a:schemeClr val="lt1"/>
                </a:solidFill>
                <a:latin typeface="Inter"/>
                <a:ea typeface="Inter"/>
                <a:cs typeface="Inter"/>
                <a:sym typeface="Inter"/>
              </a:defRPr>
            </a:lvl7pPr>
            <a:lvl8pPr lvl="7" algn="r" rtl="0">
              <a:buNone/>
              <a:defRPr sz="667">
                <a:solidFill>
                  <a:schemeClr val="lt1"/>
                </a:solidFill>
                <a:latin typeface="Inter"/>
                <a:ea typeface="Inter"/>
                <a:cs typeface="Inter"/>
                <a:sym typeface="Inter"/>
              </a:defRPr>
            </a:lvl8pPr>
            <a:lvl9pPr lvl="8" algn="r" rtl="0">
              <a:buNone/>
              <a:defRPr sz="667">
                <a:solidFill>
                  <a:schemeClr val="lt1"/>
                </a:solidFill>
                <a:latin typeface="Inter"/>
                <a:ea typeface="Inter"/>
                <a:cs typeface="Inter"/>
                <a:sym typeface="Inter"/>
              </a:defRPr>
            </a:lvl9pPr>
          </a:lstStyle>
          <a:p>
            <a:fld id="{00000000-1234-1234-1234-123412341234}" type="slidenum">
              <a:rPr lang="en-GB" smtClean="0"/>
              <a:pPr/>
              <a:t>‹#›</a:t>
            </a:fld>
            <a:endParaRPr lang="en-GB"/>
          </a:p>
        </p:txBody>
      </p:sp>
      <p:sp>
        <p:nvSpPr>
          <p:cNvPr id="1456" name="Google Shape;1456;p20"/>
          <p:cNvSpPr>
            <a:spLocks noGrp="1"/>
          </p:cNvSpPr>
          <p:nvPr>
            <p:ph type="pic" idx="2"/>
          </p:nvPr>
        </p:nvSpPr>
        <p:spPr>
          <a:xfrm>
            <a:off x="7479567" y="1335200"/>
            <a:ext cx="4230800" cy="4968800"/>
          </a:xfrm>
          <a:prstGeom prst="roundRect">
            <a:avLst>
              <a:gd name="adj" fmla="val 4171"/>
            </a:avLst>
          </a:prstGeom>
          <a:noFill/>
          <a:ln>
            <a:noFill/>
          </a:ln>
        </p:spPr>
      </p:sp>
      <p:sp>
        <p:nvSpPr>
          <p:cNvPr id="1457" name="Google Shape;1457;p20"/>
          <p:cNvSpPr txBox="1"/>
          <p:nvPr/>
        </p:nvSpPr>
        <p:spPr>
          <a:xfrm>
            <a:off x="481600" y="6245247"/>
            <a:ext cx="1288400" cy="273200"/>
          </a:xfrm>
          <a:prstGeom prst="rect">
            <a:avLst/>
          </a:prstGeom>
          <a:noFill/>
          <a:ln>
            <a:noFill/>
          </a:ln>
        </p:spPr>
        <p:txBody>
          <a:bodyPr spcFirstLastPara="1" wrap="square" lIns="0" tIns="0" rIns="0" bIns="0" anchor="b" anchorCtr="0">
            <a:noAutofit/>
          </a:bodyPr>
          <a:lstStyle/>
          <a:p>
            <a:pPr marL="0" lvl="0" indent="0" algn="l" rtl="0">
              <a:spcBef>
                <a:spcPts val="0"/>
              </a:spcBef>
              <a:spcAft>
                <a:spcPts val="0"/>
              </a:spcAft>
              <a:buNone/>
            </a:pPr>
            <a:r>
              <a:rPr lang="en-GB" sz="667">
                <a:solidFill>
                  <a:schemeClr val="lt1"/>
                </a:solidFill>
                <a:latin typeface="Inter"/>
                <a:ea typeface="Inter"/>
                <a:cs typeface="Inter"/>
                <a:sym typeface="Inter"/>
              </a:rPr>
              <a:t>Multiverse</a:t>
            </a:r>
            <a:endParaRPr sz="667">
              <a:solidFill>
                <a:schemeClr val="lt1"/>
              </a:solidFill>
              <a:latin typeface="Inter"/>
              <a:ea typeface="Inter"/>
              <a:cs typeface="Inter"/>
              <a:sym typeface="Inter"/>
            </a:endParaRPr>
          </a:p>
        </p:txBody>
      </p:sp>
      <p:sp>
        <p:nvSpPr>
          <p:cNvPr id="1458" name="Google Shape;1458;p20"/>
          <p:cNvSpPr/>
          <p:nvPr/>
        </p:nvSpPr>
        <p:spPr>
          <a:xfrm>
            <a:off x="481601" y="414630"/>
            <a:ext cx="349111" cy="305471"/>
          </a:xfrm>
          <a:custGeom>
            <a:avLst/>
            <a:gdLst/>
            <a:ahLst/>
            <a:cxnLst/>
            <a:rect l="l" t="t" r="r" b="b"/>
            <a:pathLst>
              <a:path w="1586865" h="1388506" extrusionOk="0">
                <a:moveTo>
                  <a:pt x="1083683" y="969931"/>
                </a:moveTo>
                <a:lnTo>
                  <a:pt x="1083683" y="579692"/>
                </a:lnTo>
                <a:lnTo>
                  <a:pt x="849297" y="969931"/>
                </a:lnTo>
                <a:lnTo>
                  <a:pt x="848892" y="969931"/>
                </a:lnTo>
                <a:cubicBezTo>
                  <a:pt x="848892" y="969931"/>
                  <a:pt x="848892" y="969931"/>
                  <a:pt x="848892" y="969931"/>
                </a:cubicBezTo>
                <a:lnTo>
                  <a:pt x="738783" y="969931"/>
                </a:lnTo>
                <a:lnTo>
                  <a:pt x="738783" y="577668"/>
                </a:lnTo>
                <a:lnTo>
                  <a:pt x="549735" y="892612"/>
                </a:lnTo>
                <a:cubicBezTo>
                  <a:pt x="527876" y="929449"/>
                  <a:pt x="510873" y="958191"/>
                  <a:pt x="503992" y="969931"/>
                </a:cubicBezTo>
                <a:lnTo>
                  <a:pt x="393073" y="969931"/>
                </a:lnTo>
                <a:lnTo>
                  <a:pt x="393073" y="418576"/>
                </a:lnTo>
                <a:lnTo>
                  <a:pt x="503992" y="418576"/>
                </a:lnTo>
                <a:lnTo>
                  <a:pt x="502777" y="760643"/>
                </a:lnTo>
                <a:lnTo>
                  <a:pt x="503587" y="782098"/>
                </a:lnTo>
                <a:lnTo>
                  <a:pt x="721781" y="418981"/>
                </a:lnTo>
                <a:lnTo>
                  <a:pt x="721781" y="418981"/>
                </a:lnTo>
                <a:lnTo>
                  <a:pt x="721781" y="418981"/>
                </a:lnTo>
                <a:lnTo>
                  <a:pt x="739188" y="418981"/>
                </a:lnTo>
                <a:lnTo>
                  <a:pt x="847678" y="418981"/>
                </a:lnTo>
                <a:cubicBezTo>
                  <a:pt x="847678" y="418981"/>
                  <a:pt x="848487" y="722995"/>
                  <a:pt x="848892" y="783717"/>
                </a:cubicBezTo>
                <a:lnTo>
                  <a:pt x="1067895" y="418981"/>
                </a:lnTo>
                <a:lnTo>
                  <a:pt x="1067895" y="418981"/>
                </a:lnTo>
                <a:lnTo>
                  <a:pt x="1067895" y="418981"/>
                </a:lnTo>
                <a:lnTo>
                  <a:pt x="1085302" y="418981"/>
                </a:lnTo>
                <a:lnTo>
                  <a:pt x="1193387" y="418981"/>
                </a:lnTo>
                <a:lnTo>
                  <a:pt x="1193387" y="970336"/>
                </a:lnTo>
                <a:lnTo>
                  <a:pt x="1083683" y="970336"/>
                </a:lnTo>
                <a:close/>
                <a:moveTo>
                  <a:pt x="1190149" y="0"/>
                </a:moveTo>
                <a:lnTo>
                  <a:pt x="396716" y="0"/>
                </a:lnTo>
                <a:lnTo>
                  <a:pt x="0" y="694253"/>
                </a:lnTo>
                <a:lnTo>
                  <a:pt x="396716" y="1388507"/>
                </a:lnTo>
                <a:lnTo>
                  <a:pt x="1190149" y="1388507"/>
                </a:lnTo>
                <a:lnTo>
                  <a:pt x="1586865" y="694253"/>
                </a:lnTo>
                <a:lnTo>
                  <a:pt x="1190149" y="0"/>
                </a:lnTo>
                <a:close/>
              </a:path>
            </a:pathLst>
          </a:custGeom>
          <a:solidFill>
            <a:schemeClr val="dk2"/>
          </a:solidFill>
          <a:ln>
            <a:noFill/>
          </a:ln>
        </p:spPr>
        <p:txBody>
          <a:bodyPr spcFirstLastPara="1" wrap="square" lIns="91433" tIns="45700" rIns="91433" bIns="45700"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459" name="Google Shape;1459;p20"/>
          <p:cNvSpPr txBox="1">
            <a:spLocks noGrp="1"/>
          </p:cNvSpPr>
          <p:nvPr>
            <p:ph type="body" idx="1"/>
          </p:nvPr>
        </p:nvSpPr>
        <p:spPr>
          <a:xfrm>
            <a:off x="481600" y="1335200"/>
            <a:ext cx="6581600" cy="4841600"/>
          </a:xfrm>
          <a:prstGeom prst="rect">
            <a:avLst/>
          </a:prstGeom>
          <a:noFill/>
          <a:ln>
            <a:noFill/>
          </a:ln>
        </p:spPr>
        <p:txBody>
          <a:bodyPr spcFirstLastPara="1" wrap="square" lIns="0" tIns="34275" rIns="68575" bIns="34275" anchor="t" anchorCtr="0">
            <a:noAutofit/>
          </a:bodyPr>
          <a:lstStyle>
            <a:lvl1pPr marL="609585" lvl="0" indent="-406390" algn="l" rtl="0">
              <a:lnSpc>
                <a:spcPct val="125000"/>
              </a:lnSpc>
              <a:spcBef>
                <a:spcPts val="0"/>
              </a:spcBef>
              <a:spcAft>
                <a:spcPts val="0"/>
              </a:spcAft>
              <a:buClr>
                <a:schemeClr val="lt1"/>
              </a:buClr>
              <a:buSzPts val="1200"/>
              <a:buFont typeface="Inter"/>
              <a:buChar char="●"/>
              <a:defRPr>
                <a:solidFill>
                  <a:schemeClr val="lt1"/>
                </a:solidFill>
              </a:defRPr>
            </a:lvl1pPr>
            <a:lvl2pPr marL="1219170" lvl="1" indent="-406390" algn="l" rtl="0">
              <a:lnSpc>
                <a:spcPct val="125000"/>
              </a:lnSpc>
              <a:spcBef>
                <a:spcPts val="1200"/>
              </a:spcBef>
              <a:spcAft>
                <a:spcPts val="0"/>
              </a:spcAft>
              <a:buClr>
                <a:schemeClr val="lt1"/>
              </a:buClr>
              <a:buSzPts val="1200"/>
              <a:buFont typeface="Inter"/>
              <a:buChar char="●"/>
              <a:defRPr>
                <a:solidFill>
                  <a:schemeClr val="lt1"/>
                </a:solidFill>
              </a:defRPr>
            </a:lvl2pPr>
            <a:lvl3pPr marL="1828754" lvl="2" indent="-406390" algn="l" rtl="0">
              <a:lnSpc>
                <a:spcPct val="125000"/>
              </a:lnSpc>
              <a:spcBef>
                <a:spcPts val="1200"/>
              </a:spcBef>
              <a:spcAft>
                <a:spcPts val="0"/>
              </a:spcAft>
              <a:buClr>
                <a:schemeClr val="lt1"/>
              </a:buClr>
              <a:buSzPts val="1200"/>
              <a:buFont typeface="Inter"/>
              <a:buChar char="●"/>
              <a:defRPr>
                <a:solidFill>
                  <a:schemeClr val="lt1"/>
                </a:solidFill>
              </a:defRPr>
            </a:lvl3pPr>
            <a:lvl4pPr marL="2438339" lvl="3" indent="-406390" algn="l" rtl="0">
              <a:lnSpc>
                <a:spcPct val="125000"/>
              </a:lnSpc>
              <a:spcBef>
                <a:spcPts val="1200"/>
              </a:spcBef>
              <a:spcAft>
                <a:spcPts val="0"/>
              </a:spcAft>
              <a:buClr>
                <a:schemeClr val="lt1"/>
              </a:buClr>
              <a:buSzPts val="1200"/>
              <a:buFont typeface="Inter"/>
              <a:buChar char="●"/>
              <a:defRPr>
                <a:solidFill>
                  <a:schemeClr val="lt1"/>
                </a:solidFill>
              </a:defRPr>
            </a:lvl4pPr>
            <a:lvl5pPr marL="3047924" lvl="4" indent="-406390" algn="l" rtl="0">
              <a:lnSpc>
                <a:spcPct val="125000"/>
              </a:lnSpc>
              <a:spcBef>
                <a:spcPts val="1200"/>
              </a:spcBef>
              <a:spcAft>
                <a:spcPts val="0"/>
              </a:spcAft>
              <a:buClr>
                <a:schemeClr val="lt1"/>
              </a:buClr>
              <a:buSzPts val="1200"/>
              <a:buFont typeface="Inter"/>
              <a:buChar char="●"/>
              <a:defRPr>
                <a:solidFill>
                  <a:schemeClr val="lt1"/>
                </a:solidFill>
              </a:defRPr>
            </a:lvl5pPr>
            <a:lvl6pPr marL="3657509" lvl="5" indent="-406390" algn="l" rtl="0">
              <a:lnSpc>
                <a:spcPct val="125000"/>
              </a:lnSpc>
              <a:spcBef>
                <a:spcPts val="1200"/>
              </a:spcBef>
              <a:spcAft>
                <a:spcPts val="0"/>
              </a:spcAft>
              <a:buClr>
                <a:schemeClr val="lt1"/>
              </a:buClr>
              <a:buSzPts val="1200"/>
              <a:buFont typeface="Inter"/>
              <a:buChar char="●"/>
              <a:defRPr>
                <a:solidFill>
                  <a:schemeClr val="lt1"/>
                </a:solidFill>
              </a:defRPr>
            </a:lvl6pPr>
            <a:lvl7pPr marL="4267093" lvl="6" indent="-406390" algn="l" rtl="0">
              <a:lnSpc>
                <a:spcPct val="125000"/>
              </a:lnSpc>
              <a:spcBef>
                <a:spcPts val="1200"/>
              </a:spcBef>
              <a:spcAft>
                <a:spcPts val="0"/>
              </a:spcAft>
              <a:buClr>
                <a:schemeClr val="lt1"/>
              </a:buClr>
              <a:buSzPts val="1200"/>
              <a:buFont typeface="Inter"/>
              <a:buChar char="●"/>
              <a:defRPr>
                <a:solidFill>
                  <a:schemeClr val="lt1"/>
                </a:solidFill>
              </a:defRPr>
            </a:lvl7pPr>
            <a:lvl8pPr marL="4876678" lvl="7" indent="-406390" algn="l" rtl="0">
              <a:lnSpc>
                <a:spcPct val="125000"/>
              </a:lnSpc>
              <a:spcBef>
                <a:spcPts val="1200"/>
              </a:spcBef>
              <a:spcAft>
                <a:spcPts val="0"/>
              </a:spcAft>
              <a:buClr>
                <a:schemeClr val="lt1"/>
              </a:buClr>
              <a:buSzPts val="1200"/>
              <a:buFont typeface="Inter"/>
              <a:buChar char="●"/>
              <a:defRPr>
                <a:solidFill>
                  <a:schemeClr val="lt1"/>
                </a:solidFill>
              </a:defRPr>
            </a:lvl8pPr>
            <a:lvl9pPr marL="5486263" lvl="8" indent="-406390" algn="l" rtl="0">
              <a:lnSpc>
                <a:spcPct val="125000"/>
              </a:lnSpc>
              <a:spcBef>
                <a:spcPts val="1200"/>
              </a:spcBef>
              <a:spcAft>
                <a:spcPts val="1200"/>
              </a:spcAft>
              <a:buClr>
                <a:schemeClr val="lt1"/>
              </a:buClr>
              <a:buSzPts val="1200"/>
              <a:buFont typeface="Inter"/>
              <a:buChar char="●"/>
              <a:defRPr>
                <a:solidFill>
                  <a:schemeClr val="lt1"/>
                </a:solidFill>
              </a:defRPr>
            </a:lvl9pPr>
          </a:lstStyle>
          <a:p>
            <a:endParaRPr/>
          </a:p>
        </p:txBody>
      </p:sp>
      <p:sp>
        <p:nvSpPr>
          <p:cNvPr id="1460" name="Google Shape;1460;p20"/>
          <p:cNvSpPr txBox="1"/>
          <p:nvPr/>
        </p:nvSpPr>
        <p:spPr>
          <a:xfrm>
            <a:off x="5451800" y="6245247"/>
            <a:ext cx="1288400" cy="273200"/>
          </a:xfrm>
          <a:prstGeom prst="rect">
            <a:avLst/>
          </a:prstGeom>
          <a:noFill/>
          <a:ln>
            <a:noFill/>
          </a:ln>
        </p:spPr>
        <p:txBody>
          <a:bodyPr spcFirstLastPara="1" wrap="square" lIns="0" tIns="0" rIns="0" bIns="0" anchor="b" anchorCtr="0">
            <a:noAutofit/>
          </a:bodyPr>
          <a:lstStyle/>
          <a:p>
            <a:pPr marL="0" lvl="0" indent="0" algn="ctr" rtl="0">
              <a:spcBef>
                <a:spcPts val="0"/>
              </a:spcBef>
              <a:spcAft>
                <a:spcPts val="0"/>
              </a:spcAft>
              <a:buNone/>
            </a:pPr>
            <a:r>
              <a:rPr lang="en-GB" sz="667">
                <a:solidFill>
                  <a:schemeClr val="lt1"/>
                </a:solidFill>
                <a:latin typeface="Inter"/>
                <a:ea typeface="Inter"/>
                <a:cs typeface="Inter"/>
                <a:sym typeface="Inter"/>
              </a:rPr>
              <a:t>Private and Confidential</a:t>
            </a:r>
            <a:endParaRPr sz="667">
              <a:solidFill>
                <a:schemeClr val="lt1"/>
              </a:solidFill>
              <a:latin typeface="Inter"/>
              <a:ea typeface="Inter"/>
              <a:cs typeface="Inter"/>
              <a:sym typeface="Inter"/>
            </a:endParaRPr>
          </a:p>
        </p:txBody>
      </p:sp>
      <p:sp>
        <p:nvSpPr>
          <p:cNvPr id="1461" name="Google Shape;1461;p20"/>
          <p:cNvSpPr/>
          <p:nvPr/>
        </p:nvSpPr>
        <p:spPr>
          <a:xfrm>
            <a:off x="481601" y="414630"/>
            <a:ext cx="349111" cy="305471"/>
          </a:xfrm>
          <a:custGeom>
            <a:avLst/>
            <a:gdLst/>
            <a:ahLst/>
            <a:cxnLst/>
            <a:rect l="l" t="t" r="r" b="b"/>
            <a:pathLst>
              <a:path w="1586865" h="1388506" extrusionOk="0">
                <a:moveTo>
                  <a:pt x="1083683" y="969931"/>
                </a:moveTo>
                <a:lnTo>
                  <a:pt x="1083683" y="579692"/>
                </a:lnTo>
                <a:lnTo>
                  <a:pt x="849297" y="969931"/>
                </a:lnTo>
                <a:lnTo>
                  <a:pt x="848892" y="969931"/>
                </a:lnTo>
                <a:cubicBezTo>
                  <a:pt x="848892" y="969931"/>
                  <a:pt x="848892" y="969931"/>
                  <a:pt x="848892" y="969931"/>
                </a:cubicBezTo>
                <a:lnTo>
                  <a:pt x="738783" y="969931"/>
                </a:lnTo>
                <a:lnTo>
                  <a:pt x="738783" y="577668"/>
                </a:lnTo>
                <a:lnTo>
                  <a:pt x="549735" y="892612"/>
                </a:lnTo>
                <a:cubicBezTo>
                  <a:pt x="527876" y="929449"/>
                  <a:pt x="510873" y="958191"/>
                  <a:pt x="503992" y="969931"/>
                </a:cubicBezTo>
                <a:lnTo>
                  <a:pt x="393073" y="969931"/>
                </a:lnTo>
                <a:lnTo>
                  <a:pt x="393073" y="418576"/>
                </a:lnTo>
                <a:lnTo>
                  <a:pt x="503992" y="418576"/>
                </a:lnTo>
                <a:lnTo>
                  <a:pt x="502777" y="760643"/>
                </a:lnTo>
                <a:lnTo>
                  <a:pt x="503587" y="782098"/>
                </a:lnTo>
                <a:lnTo>
                  <a:pt x="721781" y="418981"/>
                </a:lnTo>
                <a:lnTo>
                  <a:pt x="721781" y="418981"/>
                </a:lnTo>
                <a:lnTo>
                  <a:pt x="721781" y="418981"/>
                </a:lnTo>
                <a:lnTo>
                  <a:pt x="739188" y="418981"/>
                </a:lnTo>
                <a:lnTo>
                  <a:pt x="847678" y="418981"/>
                </a:lnTo>
                <a:cubicBezTo>
                  <a:pt x="847678" y="418981"/>
                  <a:pt x="848487" y="722995"/>
                  <a:pt x="848892" y="783717"/>
                </a:cubicBezTo>
                <a:lnTo>
                  <a:pt x="1067895" y="418981"/>
                </a:lnTo>
                <a:lnTo>
                  <a:pt x="1067895" y="418981"/>
                </a:lnTo>
                <a:lnTo>
                  <a:pt x="1067895" y="418981"/>
                </a:lnTo>
                <a:lnTo>
                  <a:pt x="1085302" y="418981"/>
                </a:lnTo>
                <a:lnTo>
                  <a:pt x="1193387" y="418981"/>
                </a:lnTo>
                <a:lnTo>
                  <a:pt x="1193387" y="970336"/>
                </a:lnTo>
                <a:lnTo>
                  <a:pt x="1083683" y="970336"/>
                </a:lnTo>
                <a:close/>
                <a:moveTo>
                  <a:pt x="1190149" y="0"/>
                </a:moveTo>
                <a:lnTo>
                  <a:pt x="396716" y="0"/>
                </a:lnTo>
                <a:lnTo>
                  <a:pt x="0" y="694253"/>
                </a:lnTo>
                <a:lnTo>
                  <a:pt x="396716" y="1388507"/>
                </a:lnTo>
                <a:lnTo>
                  <a:pt x="1190149" y="1388507"/>
                </a:lnTo>
                <a:lnTo>
                  <a:pt x="1586865" y="694253"/>
                </a:lnTo>
                <a:lnTo>
                  <a:pt x="1190149" y="0"/>
                </a:lnTo>
                <a:close/>
              </a:path>
            </a:pathLst>
          </a:custGeom>
          <a:solidFill>
            <a:schemeClr val="lt1"/>
          </a:solidFill>
          <a:ln>
            <a:noFill/>
          </a:ln>
        </p:spPr>
        <p:txBody>
          <a:bodyPr spcFirstLastPara="1" wrap="square" lIns="91433" tIns="45700" rIns="91433" bIns="45700"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87906317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Title and Content 1 image cropped - Ultraviolet">
  <p:cSld name="Title and Content 1 image cropped - Ultraviolet">
    <p:bg>
      <p:bgPr>
        <a:solidFill>
          <a:schemeClr val="dk2"/>
        </a:solidFill>
        <a:effectLst/>
      </p:bgPr>
    </p:bg>
    <p:spTree>
      <p:nvGrpSpPr>
        <p:cNvPr id="1" name="Shape 1462"/>
        <p:cNvGrpSpPr/>
        <p:nvPr/>
      </p:nvGrpSpPr>
      <p:grpSpPr>
        <a:xfrm>
          <a:off x="0" y="0"/>
          <a:ext cx="0" cy="0"/>
          <a:chOff x="0" y="0"/>
          <a:chExt cx="0" cy="0"/>
        </a:xfrm>
      </p:grpSpPr>
      <p:sp>
        <p:nvSpPr>
          <p:cNvPr id="1463" name="Google Shape;1463;p21"/>
          <p:cNvSpPr txBox="1">
            <a:spLocks noGrp="1"/>
          </p:cNvSpPr>
          <p:nvPr>
            <p:ph type="title"/>
          </p:nvPr>
        </p:nvSpPr>
        <p:spPr>
          <a:xfrm>
            <a:off x="951700" y="359997"/>
            <a:ext cx="10515600" cy="975200"/>
          </a:xfrm>
          <a:prstGeom prst="rect">
            <a:avLst/>
          </a:prstGeom>
          <a:noFill/>
          <a:ln>
            <a:noFill/>
          </a:ln>
        </p:spPr>
        <p:txBody>
          <a:bodyPr spcFirstLastPara="1" wrap="square" lIns="0" tIns="0" rIns="68575" bIns="34275" anchor="t" anchorCtr="0">
            <a:noAutofit/>
          </a:bodyPr>
          <a:lstStyle>
            <a:lvl1pPr lvl="0" algn="l" rtl="0">
              <a:lnSpc>
                <a:spcPct val="90000"/>
              </a:lnSpc>
              <a:spcBef>
                <a:spcPts val="0"/>
              </a:spcBef>
              <a:spcAft>
                <a:spcPts val="0"/>
              </a:spcAft>
              <a:buClr>
                <a:schemeClr val="lt1"/>
              </a:buClr>
              <a:buSzPts val="2400"/>
              <a:buFont typeface="Inter Medium"/>
              <a:buNone/>
              <a:defRPr sz="3200">
                <a:solidFill>
                  <a:schemeClr val="lt1"/>
                </a:solidFill>
                <a:latin typeface="Inter Medium"/>
                <a:ea typeface="Inter Medium"/>
                <a:cs typeface="Inter Medium"/>
                <a:sym typeface="Inter Medium"/>
              </a:defRPr>
            </a:lvl1pPr>
            <a:lvl2pPr lvl="1" rtl="0">
              <a:spcBef>
                <a:spcPts val="0"/>
              </a:spcBef>
              <a:spcAft>
                <a:spcPts val="0"/>
              </a:spcAft>
              <a:buClr>
                <a:schemeClr val="lt1"/>
              </a:buClr>
              <a:buSzPts val="1100"/>
              <a:buNone/>
              <a:defRPr b="1">
                <a:solidFill>
                  <a:schemeClr val="lt1"/>
                </a:solidFill>
              </a:defRPr>
            </a:lvl2pPr>
            <a:lvl3pPr lvl="2" rtl="0">
              <a:spcBef>
                <a:spcPts val="0"/>
              </a:spcBef>
              <a:spcAft>
                <a:spcPts val="0"/>
              </a:spcAft>
              <a:buClr>
                <a:schemeClr val="lt1"/>
              </a:buClr>
              <a:buSzPts val="1100"/>
              <a:buNone/>
              <a:defRPr b="1">
                <a:solidFill>
                  <a:schemeClr val="lt1"/>
                </a:solidFill>
              </a:defRPr>
            </a:lvl3pPr>
            <a:lvl4pPr lvl="3" rtl="0">
              <a:spcBef>
                <a:spcPts val="0"/>
              </a:spcBef>
              <a:spcAft>
                <a:spcPts val="0"/>
              </a:spcAft>
              <a:buClr>
                <a:schemeClr val="lt1"/>
              </a:buClr>
              <a:buSzPts val="1100"/>
              <a:buNone/>
              <a:defRPr b="1">
                <a:solidFill>
                  <a:schemeClr val="lt1"/>
                </a:solidFill>
              </a:defRPr>
            </a:lvl4pPr>
            <a:lvl5pPr lvl="4" rtl="0">
              <a:spcBef>
                <a:spcPts val="0"/>
              </a:spcBef>
              <a:spcAft>
                <a:spcPts val="0"/>
              </a:spcAft>
              <a:buClr>
                <a:schemeClr val="lt1"/>
              </a:buClr>
              <a:buSzPts val="1100"/>
              <a:buNone/>
              <a:defRPr b="1">
                <a:solidFill>
                  <a:schemeClr val="lt1"/>
                </a:solidFill>
              </a:defRPr>
            </a:lvl5pPr>
            <a:lvl6pPr lvl="5" rtl="0">
              <a:spcBef>
                <a:spcPts val="0"/>
              </a:spcBef>
              <a:spcAft>
                <a:spcPts val="0"/>
              </a:spcAft>
              <a:buClr>
                <a:schemeClr val="lt1"/>
              </a:buClr>
              <a:buSzPts val="1100"/>
              <a:buNone/>
              <a:defRPr b="1">
                <a:solidFill>
                  <a:schemeClr val="lt1"/>
                </a:solidFill>
              </a:defRPr>
            </a:lvl6pPr>
            <a:lvl7pPr lvl="6" rtl="0">
              <a:spcBef>
                <a:spcPts val="0"/>
              </a:spcBef>
              <a:spcAft>
                <a:spcPts val="0"/>
              </a:spcAft>
              <a:buClr>
                <a:schemeClr val="lt1"/>
              </a:buClr>
              <a:buSzPts val="1100"/>
              <a:buNone/>
              <a:defRPr b="1">
                <a:solidFill>
                  <a:schemeClr val="lt1"/>
                </a:solidFill>
              </a:defRPr>
            </a:lvl7pPr>
            <a:lvl8pPr lvl="7" rtl="0">
              <a:spcBef>
                <a:spcPts val="0"/>
              </a:spcBef>
              <a:spcAft>
                <a:spcPts val="0"/>
              </a:spcAft>
              <a:buClr>
                <a:schemeClr val="lt1"/>
              </a:buClr>
              <a:buSzPts val="1100"/>
              <a:buNone/>
              <a:defRPr b="1">
                <a:solidFill>
                  <a:schemeClr val="lt1"/>
                </a:solidFill>
              </a:defRPr>
            </a:lvl8pPr>
            <a:lvl9pPr lvl="8" rtl="0">
              <a:spcBef>
                <a:spcPts val="0"/>
              </a:spcBef>
              <a:spcAft>
                <a:spcPts val="0"/>
              </a:spcAft>
              <a:buClr>
                <a:schemeClr val="lt1"/>
              </a:buClr>
              <a:buSzPts val="1100"/>
              <a:buNone/>
              <a:defRPr b="1">
                <a:solidFill>
                  <a:schemeClr val="lt1"/>
                </a:solidFill>
              </a:defRPr>
            </a:lvl9pPr>
          </a:lstStyle>
          <a:p>
            <a:endParaRPr/>
          </a:p>
        </p:txBody>
      </p:sp>
      <p:sp>
        <p:nvSpPr>
          <p:cNvPr id="1464" name="Google Shape;1464;p21"/>
          <p:cNvSpPr txBox="1">
            <a:spLocks noGrp="1"/>
          </p:cNvSpPr>
          <p:nvPr>
            <p:ph type="sldNum" idx="12"/>
          </p:nvPr>
        </p:nvSpPr>
        <p:spPr>
          <a:xfrm>
            <a:off x="10978812" y="5993647"/>
            <a:ext cx="731600" cy="524800"/>
          </a:xfrm>
          <a:prstGeom prst="rect">
            <a:avLst/>
          </a:prstGeom>
        </p:spPr>
        <p:txBody>
          <a:bodyPr spcFirstLastPara="1" wrap="square" lIns="91425" tIns="91425" rIns="0" bIns="0" anchor="b" anchorCtr="0">
            <a:noAutofit/>
          </a:bodyPr>
          <a:lstStyle>
            <a:lvl1pPr lvl="0" algn="r" rtl="0">
              <a:buNone/>
              <a:defRPr sz="667">
                <a:solidFill>
                  <a:schemeClr val="lt1"/>
                </a:solidFill>
                <a:latin typeface="Inter"/>
                <a:ea typeface="Inter"/>
                <a:cs typeface="Inter"/>
                <a:sym typeface="Inter"/>
              </a:defRPr>
            </a:lvl1pPr>
            <a:lvl2pPr lvl="1" algn="r" rtl="0">
              <a:buNone/>
              <a:defRPr sz="667">
                <a:solidFill>
                  <a:schemeClr val="lt1"/>
                </a:solidFill>
                <a:latin typeface="Inter"/>
                <a:ea typeface="Inter"/>
                <a:cs typeface="Inter"/>
                <a:sym typeface="Inter"/>
              </a:defRPr>
            </a:lvl2pPr>
            <a:lvl3pPr lvl="2" algn="r" rtl="0">
              <a:buNone/>
              <a:defRPr sz="667">
                <a:solidFill>
                  <a:schemeClr val="lt1"/>
                </a:solidFill>
                <a:latin typeface="Inter"/>
                <a:ea typeface="Inter"/>
                <a:cs typeface="Inter"/>
                <a:sym typeface="Inter"/>
              </a:defRPr>
            </a:lvl3pPr>
            <a:lvl4pPr lvl="3" algn="r" rtl="0">
              <a:buNone/>
              <a:defRPr sz="667">
                <a:solidFill>
                  <a:schemeClr val="lt1"/>
                </a:solidFill>
                <a:latin typeface="Inter"/>
                <a:ea typeface="Inter"/>
                <a:cs typeface="Inter"/>
                <a:sym typeface="Inter"/>
              </a:defRPr>
            </a:lvl4pPr>
            <a:lvl5pPr lvl="4" algn="r" rtl="0">
              <a:buNone/>
              <a:defRPr sz="667">
                <a:solidFill>
                  <a:schemeClr val="lt1"/>
                </a:solidFill>
                <a:latin typeface="Inter"/>
                <a:ea typeface="Inter"/>
                <a:cs typeface="Inter"/>
                <a:sym typeface="Inter"/>
              </a:defRPr>
            </a:lvl5pPr>
            <a:lvl6pPr lvl="5" algn="r" rtl="0">
              <a:buNone/>
              <a:defRPr sz="667">
                <a:solidFill>
                  <a:schemeClr val="lt1"/>
                </a:solidFill>
                <a:latin typeface="Inter"/>
                <a:ea typeface="Inter"/>
                <a:cs typeface="Inter"/>
                <a:sym typeface="Inter"/>
              </a:defRPr>
            </a:lvl6pPr>
            <a:lvl7pPr lvl="6" algn="r" rtl="0">
              <a:buNone/>
              <a:defRPr sz="667">
                <a:solidFill>
                  <a:schemeClr val="lt1"/>
                </a:solidFill>
                <a:latin typeface="Inter"/>
                <a:ea typeface="Inter"/>
                <a:cs typeface="Inter"/>
                <a:sym typeface="Inter"/>
              </a:defRPr>
            </a:lvl7pPr>
            <a:lvl8pPr lvl="7" algn="r" rtl="0">
              <a:buNone/>
              <a:defRPr sz="667">
                <a:solidFill>
                  <a:schemeClr val="lt1"/>
                </a:solidFill>
                <a:latin typeface="Inter"/>
                <a:ea typeface="Inter"/>
                <a:cs typeface="Inter"/>
                <a:sym typeface="Inter"/>
              </a:defRPr>
            </a:lvl8pPr>
            <a:lvl9pPr lvl="8" algn="r" rtl="0">
              <a:buNone/>
              <a:defRPr sz="667">
                <a:solidFill>
                  <a:schemeClr val="lt1"/>
                </a:solidFill>
                <a:latin typeface="Inter"/>
                <a:ea typeface="Inter"/>
                <a:cs typeface="Inter"/>
                <a:sym typeface="Inter"/>
              </a:defRPr>
            </a:lvl9pPr>
          </a:lstStyle>
          <a:p>
            <a:fld id="{00000000-1234-1234-1234-123412341234}" type="slidenum">
              <a:rPr lang="en-GB" smtClean="0"/>
              <a:pPr/>
              <a:t>‹#›</a:t>
            </a:fld>
            <a:endParaRPr lang="en-GB"/>
          </a:p>
        </p:txBody>
      </p:sp>
      <p:sp>
        <p:nvSpPr>
          <p:cNvPr id="1465" name="Google Shape;1465;p21"/>
          <p:cNvSpPr>
            <a:spLocks noGrp="1"/>
          </p:cNvSpPr>
          <p:nvPr>
            <p:ph type="pic" idx="2"/>
          </p:nvPr>
        </p:nvSpPr>
        <p:spPr>
          <a:xfrm>
            <a:off x="7479567" y="1335200"/>
            <a:ext cx="5080800" cy="4968800"/>
          </a:xfrm>
          <a:prstGeom prst="roundRect">
            <a:avLst>
              <a:gd name="adj" fmla="val 4171"/>
            </a:avLst>
          </a:prstGeom>
          <a:noFill/>
          <a:ln>
            <a:noFill/>
          </a:ln>
        </p:spPr>
      </p:sp>
      <p:sp>
        <p:nvSpPr>
          <p:cNvPr id="1466" name="Google Shape;1466;p21"/>
          <p:cNvSpPr txBox="1"/>
          <p:nvPr/>
        </p:nvSpPr>
        <p:spPr>
          <a:xfrm>
            <a:off x="481600" y="6245247"/>
            <a:ext cx="1288400" cy="273200"/>
          </a:xfrm>
          <a:prstGeom prst="rect">
            <a:avLst/>
          </a:prstGeom>
          <a:noFill/>
          <a:ln>
            <a:noFill/>
          </a:ln>
        </p:spPr>
        <p:txBody>
          <a:bodyPr spcFirstLastPara="1" wrap="square" lIns="0" tIns="0" rIns="0" bIns="0" anchor="b" anchorCtr="0">
            <a:noAutofit/>
          </a:bodyPr>
          <a:lstStyle/>
          <a:p>
            <a:pPr marL="0" lvl="0" indent="0" algn="l" rtl="0">
              <a:spcBef>
                <a:spcPts val="0"/>
              </a:spcBef>
              <a:spcAft>
                <a:spcPts val="0"/>
              </a:spcAft>
              <a:buNone/>
            </a:pPr>
            <a:r>
              <a:rPr lang="en-GB" sz="667">
                <a:solidFill>
                  <a:schemeClr val="lt1"/>
                </a:solidFill>
                <a:latin typeface="Inter"/>
                <a:ea typeface="Inter"/>
                <a:cs typeface="Inter"/>
                <a:sym typeface="Inter"/>
              </a:rPr>
              <a:t>Multiverse</a:t>
            </a:r>
            <a:endParaRPr sz="667">
              <a:solidFill>
                <a:schemeClr val="lt1"/>
              </a:solidFill>
              <a:latin typeface="Inter"/>
              <a:ea typeface="Inter"/>
              <a:cs typeface="Inter"/>
              <a:sym typeface="Inter"/>
            </a:endParaRPr>
          </a:p>
        </p:txBody>
      </p:sp>
      <p:sp>
        <p:nvSpPr>
          <p:cNvPr id="1467" name="Google Shape;1467;p21"/>
          <p:cNvSpPr txBox="1">
            <a:spLocks noGrp="1"/>
          </p:cNvSpPr>
          <p:nvPr>
            <p:ph type="body" idx="1"/>
          </p:nvPr>
        </p:nvSpPr>
        <p:spPr>
          <a:xfrm>
            <a:off x="481600" y="1335200"/>
            <a:ext cx="6528000" cy="4351200"/>
          </a:xfrm>
          <a:prstGeom prst="rect">
            <a:avLst/>
          </a:prstGeom>
          <a:noFill/>
          <a:ln>
            <a:noFill/>
          </a:ln>
        </p:spPr>
        <p:txBody>
          <a:bodyPr spcFirstLastPara="1" wrap="square" lIns="0" tIns="34275" rIns="68575" bIns="34275" anchor="t" anchorCtr="0">
            <a:noAutofit/>
          </a:bodyPr>
          <a:lstStyle>
            <a:lvl1pPr marL="609585" lvl="0" indent="-406390" algn="l" rtl="0">
              <a:lnSpc>
                <a:spcPct val="125000"/>
              </a:lnSpc>
              <a:spcBef>
                <a:spcPts val="0"/>
              </a:spcBef>
              <a:spcAft>
                <a:spcPts val="0"/>
              </a:spcAft>
              <a:buClr>
                <a:schemeClr val="lt1"/>
              </a:buClr>
              <a:buSzPts val="1200"/>
              <a:buChar char="●"/>
              <a:defRPr>
                <a:solidFill>
                  <a:schemeClr val="lt1"/>
                </a:solidFill>
              </a:defRPr>
            </a:lvl1pPr>
            <a:lvl2pPr marL="1219170" lvl="1" indent="-406390" algn="l" rtl="0">
              <a:lnSpc>
                <a:spcPct val="125000"/>
              </a:lnSpc>
              <a:spcBef>
                <a:spcPts val="1200"/>
              </a:spcBef>
              <a:spcAft>
                <a:spcPts val="0"/>
              </a:spcAft>
              <a:buClr>
                <a:schemeClr val="lt1"/>
              </a:buClr>
              <a:buSzPts val="1200"/>
              <a:buChar char="●"/>
              <a:defRPr>
                <a:solidFill>
                  <a:schemeClr val="lt1"/>
                </a:solidFill>
              </a:defRPr>
            </a:lvl2pPr>
            <a:lvl3pPr marL="1828754" lvl="2" indent="-406390" algn="l" rtl="0">
              <a:lnSpc>
                <a:spcPct val="125000"/>
              </a:lnSpc>
              <a:spcBef>
                <a:spcPts val="1200"/>
              </a:spcBef>
              <a:spcAft>
                <a:spcPts val="0"/>
              </a:spcAft>
              <a:buClr>
                <a:schemeClr val="lt1"/>
              </a:buClr>
              <a:buSzPts val="1200"/>
              <a:buChar char="●"/>
              <a:defRPr>
                <a:solidFill>
                  <a:schemeClr val="lt1"/>
                </a:solidFill>
              </a:defRPr>
            </a:lvl3pPr>
            <a:lvl4pPr marL="2438339" lvl="3" indent="-406390" algn="l" rtl="0">
              <a:lnSpc>
                <a:spcPct val="125000"/>
              </a:lnSpc>
              <a:spcBef>
                <a:spcPts val="1200"/>
              </a:spcBef>
              <a:spcAft>
                <a:spcPts val="0"/>
              </a:spcAft>
              <a:buClr>
                <a:schemeClr val="lt1"/>
              </a:buClr>
              <a:buSzPts val="1200"/>
              <a:buChar char="●"/>
              <a:defRPr>
                <a:solidFill>
                  <a:schemeClr val="lt1"/>
                </a:solidFill>
              </a:defRPr>
            </a:lvl4pPr>
            <a:lvl5pPr marL="3047924" lvl="4" indent="-406390" algn="l" rtl="0">
              <a:lnSpc>
                <a:spcPct val="125000"/>
              </a:lnSpc>
              <a:spcBef>
                <a:spcPts val="1200"/>
              </a:spcBef>
              <a:spcAft>
                <a:spcPts val="0"/>
              </a:spcAft>
              <a:buClr>
                <a:schemeClr val="lt1"/>
              </a:buClr>
              <a:buSzPts val="1200"/>
              <a:buChar char="●"/>
              <a:defRPr>
                <a:solidFill>
                  <a:schemeClr val="lt1"/>
                </a:solidFill>
              </a:defRPr>
            </a:lvl5pPr>
            <a:lvl6pPr marL="3657509" lvl="5" indent="-406390" algn="l" rtl="0">
              <a:lnSpc>
                <a:spcPct val="125000"/>
              </a:lnSpc>
              <a:spcBef>
                <a:spcPts val="1200"/>
              </a:spcBef>
              <a:spcAft>
                <a:spcPts val="0"/>
              </a:spcAft>
              <a:buClr>
                <a:schemeClr val="lt1"/>
              </a:buClr>
              <a:buSzPts val="1200"/>
              <a:buChar char="●"/>
              <a:defRPr>
                <a:solidFill>
                  <a:schemeClr val="lt1"/>
                </a:solidFill>
              </a:defRPr>
            </a:lvl6pPr>
            <a:lvl7pPr marL="4267093" lvl="6" indent="-406390" algn="l" rtl="0">
              <a:lnSpc>
                <a:spcPct val="125000"/>
              </a:lnSpc>
              <a:spcBef>
                <a:spcPts val="1200"/>
              </a:spcBef>
              <a:spcAft>
                <a:spcPts val="0"/>
              </a:spcAft>
              <a:buClr>
                <a:schemeClr val="lt1"/>
              </a:buClr>
              <a:buSzPts val="1200"/>
              <a:buChar char="●"/>
              <a:defRPr>
                <a:solidFill>
                  <a:schemeClr val="lt1"/>
                </a:solidFill>
              </a:defRPr>
            </a:lvl7pPr>
            <a:lvl8pPr marL="4876678" lvl="7" indent="-406390" algn="l" rtl="0">
              <a:lnSpc>
                <a:spcPct val="125000"/>
              </a:lnSpc>
              <a:spcBef>
                <a:spcPts val="1200"/>
              </a:spcBef>
              <a:spcAft>
                <a:spcPts val="0"/>
              </a:spcAft>
              <a:buClr>
                <a:schemeClr val="lt1"/>
              </a:buClr>
              <a:buSzPts val="1200"/>
              <a:buChar char="●"/>
              <a:defRPr>
                <a:solidFill>
                  <a:schemeClr val="lt1"/>
                </a:solidFill>
              </a:defRPr>
            </a:lvl8pPr>
            <a:lvl9pPr marL="5486263" lvl="8" indent="-406390" algn="l" rtl="0">
              <a:lnSpc>
                <a:spcPct val="125000"/>
              </a:lnSpc>
              <a:spcBef>
                <a:spcPts val="1200"/>
              </a:spcBef>
              <a:spcAft>
                <a:spcPts val="1200"/>
              </a:spcAft>
              <a:buClr>
                <a:schemeClr val="lt1"/>
              </a:buClr>
              <a:buSzPts val="1200"/>
              <a:buChar char="●"/>
              <a:defRPr>
                <a:solidFill>
                  <a:schemeClr val="lt1"/>
                </a:solidFill>
              </a:defRPr>
            </a:lvl9pPr>
          </a:lstStyle>
          <a:p>
            <a:endParaRPr/>
          </a:p>
        </p:txBody>
      </p:sp>
      <p:sp>
        <p:nvSpPr>
          <p:cNvPr id="1468" name="Google Shape;1468;p21"/>
          <p:cNvSpPr/>
          <p:nvPr/>
        </p:nvSpPr>
        <p:spPr>
          <a:xfrm>
            <a:off x="481601" y="414630"/>
            <a:ext cx="349111" cy="305471"/>
          </a:xfrm>
          <a:custGeom>
            <a:avLst/>
            <a:gdLst/>
            <a:ahLst/>
            <a:cxnLst/>
            <a:rect l="l" t="t" r="r" b="b"/>
            <a:pathLst>
              <a:path w="1586865" h="1388506" extrusionOk="0">
                <a:moveTo>
                  <a:pt x="1083683" y="969931"/>
                </a:moveTo>
                <a:lnTo>
                  <a:pt x="1083683" y="579692"/>
                </a:lnTo>
                <a:lnTo>
                  <a:pt x="849297" y="969931"/>
                </a:lnTo>
                <a:lnTo>
                  <a:pt x="848892" y="969931"/>
                </a:lnTo>
                <a:cubicBezTo>
                  <a:pt x="848892" y="969931"/>
                  <a:pt x="848892" y="969931"/>
                  <a:pt x="848892" y="969931"/>
                </a:cubicBezTo>
                <a:lnTo>
                  <a:pt x="738783" y="969931"/>
                </a:lnTo>
                <a:lnTo>
                  <a:pt x="738783" y="577668"/>
                </a:lnTo>
                <a:lnTo>
                  <a:pt x="549735" y="892612"/>
                </a:lnTo>
                <a:cubicBezTo>
                  <a:pt x="527876" y="929449"/>
                  <a:pt x="510873" y="958191"/>
                  <a:pt x="503992" y="969931"/>
                </a:cubicBezTo>
                <a:lnTo>
                  <a:pt x="393073" y="969931"/>
                </a:lnTo>
                <a:lnTo>
                  <a:pt x="393073" y="418576"/>
                </a:lnTo>
                <a:lnTo>
                  <a:pt x="503992" y="418576"/>
                </a:lnTo>
                <a:lnTo>
                  <a:pt x="502777" y="760643"/>
                </a:lnTo>
                <a:lnTo>
                  <a:pt x="503587" y="782098"/>
                </a:lnTo>
                <a:lnTo>
                  <a:pt x="721781" y="418981"/>
                </a:lnTo>
                <a:lnTo>
                  <a:pt x="721781" y="418981"/>
                </a:lnTo>
                <a:lnTo>
                  <a:pt x="721781" y="418981"/>
                </a:lnTo>
                <a:lnTo>
                  <a:pt x="739188" y="418981"/>
                </a:lnTo>
                <a:lnTo>
                  <a:pt x="847678" y="418981"/>
                </a:lnTo>
                <a:cubicBezTo>
                  <a:pt x="847678" y="418981"/>
                  <a:pt x="848487" y="722995"/>
                  <a:pt x="848892" y="783717"/>
                </a:cubicBezTo>
                <a:lnTo>
                  <a:pt x="1067895" y="418981"/>
                </a:lnTo>
                <a:lnTo>
                  <a:pt x="1067895" y="418981"/>
                </a:lnTo>
                <a:lnTo>
                  <a:pt x="1067895" y="418981"/>
                </a:lnTo>
                <a:lnTo>
                  <a:pt x="1085302" y="418981"/>
                </a:lnTo>
                <a:lnTo>
                  <a:pt x="1193387" y="418981"/>
                </a:lnTo>
                <a:lnTo>
                  <a:pt x="1193387" y="970336"/>
                </a:lnTo>
                <a:lnTo>
                  <a:pt x="1083683" y="970336"/>
                </a:lnTo>
                <a:close/>
                <a:moveTo>
                  <a:pt x="1190149" y="0"/>
                </a:moveTo>
                <a:lnTo>
                  <a:pt x="396716" y="0"/>
                </a:lnTo>
                <a:lnTo>
                  <a:pt x="0" y="694253"/>
                </a:lnTo>
                <a:lnTo>
                  <a:pt x="396716" y="1388507"/>
                </a:lnTo>
                <a:lnTo>
                  <a:pt x="1190149" y="1388507"/>
                </a:lnTo>
                <a:lnTo>
                  <a:pt x="1586865" y="694253"/>
                </a:lnTo>
                <a:lnTo>
                  <a:pt x="1190149" y="0"/>
                </a:lnTo>
                <a:close/>
              </a:path>
            </a:pathLst>
          </a:custGeom>
          <a:solidFill>
            <a:schemeClr val="lt1"/>
          </a:solidFill>
          <a:ln>
            <a:noFill/>
          </a:ln>
        </p:spPr>
        <p:txBody>
          <a:bodyPr spcFirstLastPara="1" wrap="square" lIns="91433" tIns="45700" rIns="91433" bIns="45700"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469" name="Google Shape;1469;p21"/>
          <p:cNvSpPr txBox="1"/>
          <p:nvPr/>
        </p:nvSpPr>
        <p:spPr>
          <a:xfrm>
            <a:off x="5451800" y="6245247"/>
            <a:ext cx="1288400" cy="273200"/>
          </a:xfrm>
          <a:prstGeom prst="rect">
            <a:avLst/>
          </a:prstGeom>
          <a:noFill/>
          <a:ln>
            <a:noFill/>
          </a:ln>
        </p:spPr>
        <p:txBody>
          <a:bodyPr spcFirstLastPara="1" wrap="square" lIns="0" tIns="0" rIns="0" bIns="0" anchor="b" anchorCtr="0">
            <a:noAutofit/>
          </a:bodyPr>
          <a:lstStyle/>
          <a:p>
            <a:pPr marL="0" lvl="0" indent="0" algn="ctr" rtl="0">
              <a:spcBef>
                <a:spcPts val="0"/>
              </a:spcBef>
              <a:spcAft>
                <a:spcPts val="0"/>
              </a:spcAft>
              <a:buNone/>
            </a:pPr>
            <a:r>
              <a:rPr lang="en-GB" sz="667">
                <a:solidFill>
                  <a:schemeClr val="lt1"/>
                </a:solidFill>
                <a:latin typeface="Inter"/>
                <a:ea typeface="Inter"/>
                <a:cs typeface="Inter"/>
                <a:sym typeface="Inter"/>
              </a:rPr>
              <a:t>Private and Confidential</a:t>
            </a:r>
            <a:endParaRPr sz="667">
              <a:solidFill>
                <a:schemeClr val="lt1"/>
              </a:solidFill>
              <a:latin typeface="Inter"/>
              <a:ea typeface="Inter"/>
              <a:cs typeface="Inter"/>
              <a:sym typeface="Inter"/>
            </a:endParaRPr>
          </a:p>
        </p:txBody>
      </p:sp>
    </p:spTree>
    <p:extLst>
      <p:ext uri="{BB962C8B-B14F-4D97-AF65-F5344CB8AC3E}">
        <p14:creationId xmlns:p14="http://schemas.microsoft.com/office/powerpoint/2010/main" val="173528126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Divider Slide with Image cropped">
  <p:cSld name="Divider Slide with Image cropped">
    <p:bg>
      <p:bgPr>
        <a:solidFill>
          <a:schemeClr val="dk2"/>
        </a:solidFill>
        <a:effectLst/>
      </p:bgPr>
    </p:bg>
    <p:spTree>
      <p:nvGrpSpPr>
        <p:cNvPr id="1" name="Shape 1470"/>
        <p:cNvGrpSpPr/>
        <p:nvPr/>
      </p:nvGrpSpPr>
      <p:grpSpPr>
        <a:xfrm>
          <a:off x="0" y="0"/>
          <a:ext cx="0" cy="0"/>
          <a:chOff x="0" y="0"/>
          <a:chExt cx="0" cy="0"/>
        </a:xfrm>
      </p:grpSpPr>
      <p:sp>
        <p:nvSpPr>
          <p:cNvPr id="1471" name="Google Shape;1471;p22"/>
          <p:cNvSpPr>
            <a:spLocks noGrp="1"/>
          </p:cNvSpPr>
          <p:nvPr>
            <p:ph type="pic" idx="2"/>
          </p:nvPr>
        </p:nvSpPr>
        <p:spPr>
          <a:xfrm>
            <a:off x="7479567" y="1335200"/>
            <a:ext cx="5080800" cy="4968800"/>
          </a:xfrm>
          <a:prstGeom prst="roundRect">
            <a:avLst>
              <a:gd name="adj" fmla="val 4171"/>
            </a:avLst>
          </a:prstGeom>
          <a:noFill/>
          <a:ln>
            <a:noFill/>
          </a:ln>
        </p:spPr>
      </p:sp>
      <p:sp>
        <p:nvSpPr>
          <p:cNvPr id="1472" name="Google Shape;1472;p22"/>
          <p:cNvSpPr txBox="1"/>
          <p:nvPr/>
        </p:nvSpPr>
        <p:spPr>
          <a:xfrm>
            <a:off x="481600" y="6245247"/>
            <a:ext cx="1288400" cy="273200"/>
          </a:xfrm>
          <a:prstGeom prst="rect">
            <a:avLst/>
          </a:prstGeom>
          <a:noFill/>
          <a:ln>
            <a:noFill/>
          </a:ln>
        </p:spPr>
        <p:txBody>
          <a:bodyPr spcFirstLastPara="1" wrap="square" lIns="0" tIns="0" rIns="0" bIns="0" anchor="b" anchorCtr="0">
            <a:noAutofit/>
          </a:bodyPr>
          <a:lstStyle/>
          <a:p>
            <a:pPr marL="0" lvl="0" indent="0" algn="l" rtl="0">
              <a:spcBef>
                <a:spcPts val="0"/>
              </a:spcBef>
              <a:spcAft>
                <a:spcPts val="0"/>
              </a:spcAft>
              <a:buNone/>
            </a:pPr>
            <a:r>
              <a:rPr lang="en-GB" sz="667">
                <a:solidFill>
                  <a:schemeClr val="lt1"/>
                </a:solidFill>
                <a:latin typeface="Inter"/>
                <a:ea typeface="Inter"/>
                <a:cs typeface="Inter"/>
                <a:sym typeface="Inter"/>
              </a:rPr>
              <a:t>Multiverse</a:t>
            </a:r>
            <a:endParaRPr sz="667">
              <a:solidFill>
                <a:schemeClr val="lt1"/>
              </a:solidFill>
              <a:latin typeface="Inter"/>
              <a:ea typeface="Inter"/>
              <a:cs typeface="Inter"/>
              <a:sym typeface="Inter"/>
            </a:endParaRPr>
          </a:p>
        </p:txBody>
      </p:sp>
      <p:sp>
        <p:nvSpPr>
          <p:cNvPr id="1473" name="Google Shape;1473;p22"/>
          <p:cNvSpPr/>
          <p:nvPr/>
        </p:nvSpPr>
        <p:spPr>
          <a:xfrm>
            <a:off x="481601" y="414630"/>
            <a:ext cx="349111" cy="305471"/>
          </a:xfrm>
          <a:custGeom>
            <a:avLst/>
            <a:gdLst/>
            <a:ahLst/>
            <a:cxnLst/>
            <a:rect l="l" t="t" r="r" b="b"/>
            <a:pathLst>
              <a:path w="1586865" h="1388506" extrusionOk="0">
                <a:moveTo>
                  <a:pt x="1083683" y="969931"/>
                </a:moveTo>
                <a:lnTo>
                  <a:pt x="1083683" y="579692"/>
                </a:lnTo>
                <a:lnTo>
                  <a:pt x="849297" y="969931"/>
                </a:lnTo>
                <a:lnTo>
                  <a:pt x="848892" y="969931"/>
                </a:lnTo>
                <a:cubicBezTo>
                  <a:pt x="848892" y="969931"/>
                  <a:pt x="848892" y="969931"/>
                  <a:pt x="848892" y="969931"/>
                </a:cubicBezTo>
                <a:lnTo>
                  <a:pt x="738783" y="969931"/>
                </a:lnTo>
                <a:lnTo>
                  <a:pt x="738783" y="577668"/>
                </a:lnTo>
                <a:lnTo>
                  <a:pt x="549735" y="892612"/>
                </a:lnTo>
                <a:cubicBezTo>
                  <a:pt x="527876" y="929449"/>
                  <a:pt x="510873" y="958191"/>
                  <a:pt x="503992" y="969931"/>
                </a:cubicBezTo>
                <a:lnTo>
                  <a:pt x="393073" y="969931"/>
                </a:lnTo>
                <a:lnTo>
                  <a:pt x="393073" y="418576"/>
                </a:lnTo>
                <a:lnTo>
                  <a:pt x="503992" y="418576"/>
                </a:lnTo>
                <a:lnTo>
                  <a:pt x="502777" y="760643"/>
                </a:lnTo>
                <a:lnTo>
                  <a:pt x="503587" y="782098"/>
                </a:lnTo>
                <a:lnTo>
                  <a:pt x="721781" y="418981"/>
                </a:lnTo>
                <a:lnTo>
                  <a:pt x="721781" y="418981"/>
                </a:lnTo>
                <a:lnTo>
                  <a:pt x="721781" y="418981"/>
                </a:lnTo>
                <a:lnTo>
                  <a:pt x="739188" y="418981"/>
                </a:lnTo>
                <a:lnTo>
                  <a:pt x="847678" y="418981"/>
                </a:lnTo>
                <a:cubicBezTo>
                  <a:pt x="847678" y="418981"/>
                  <a:pt x="848487" y="722995"/>
                  <a:pt x="848892" y="783717"/>
                </a:cubicBezTo>
                <a:lnTo>
                  <a:pt x="1067895" y="418981"/>
                </a:lnTo>
                <a:lnTo>
                  <a:pt x="1067895" y="418981"/>
                </a:lnTo>
                <a:lnTo>
                  <a:pt x="1067895" y="418981"/>
                </a:lnTo>
                <a:lnTo>
                  <a:pt x="1085302" y="418981"/>
                </a:lnTo>
                <a:lnTo>
                  <a:pt x="1193387" y="418981"/>
                </a:lnTo>
                <a:lnTo>
                  <a:pt x="1193387" y="970336"/>
                </a:lnTo>
                <a:lnTo>
                  <a:pt x="1083683" y="970336"/>
                </a:lnTo>
                <a:close/>
                <a:moveTo>
                  <a:pt x="1190149" y="0"/>
                </a:moveTo>
                <a:lnTo>
                  <a:pt x="396716" y="0"/>
                </a:lnTo>
                <a:lnTo>
                  <a:pt x="0" y="694253"/>
                </a:lnTo>
                <a:lnTo>
                  <a:pt x="396716" y="1388507"/>
                </a:lnTo>
                <a:lnTo>
                  <a:pt x="1190149" y="1388507"/>
                </a:lnTo>
                <a:lnTo>
                  <a:pt x="1586865" y="694253"/>
                </a:lnTo>
                <a:lnTo>
                  <a:pt x="1190149" y="0"/>
                </a:lnTo>
                <a:close/>
              </a:path>
            </a:pathLst>
          </a:custGeom>
          <a:solidFill>
            <a:schemeClr val="lt1"/>
          </a:solidFill>
          <a:ln>
            <a:noFill/>
          </a:ln>
        </p:spPr>
        <p:txBody>
          <a:bodyPr spcFirstLastPara="1" wrap="square" lIns="91433" tIns="45700" rIns="91433" bIns="45700"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474" name="Google Shape;1474;p22"/>
          <p:cNvSpPr txBox="1"/>
          <p:nvPr/>
        </p:nvSpPr>
        <p:spPr>
          <a:xfrm>
            <a:off x="5451800" y="6245247"/>
            <a:ext cx="1288400" cy="273200"/>
          </a:xfrm>
          <a:prstGeom prst="rect">
            <a:avLst/>
          </a:prstGeom>
          <a:noFill/>
          <a:ln>
            <a:noFill/>
          </a:ln>
        </p:spPr>
        <p:txBody>
          <a:bodyPr spcFirstLastPara="1" wrap="square" lIns="0" tIns="0" rIns="0" bIns="0" anchor="b" anchorCtr="0">
            <a:noAutofit/>
          </a:bodyPr>
          <a:lstStyle/>
          <a:p>
            <a:pPr marL="0" lvl="0" indent="0" algn="ctr" rtl="0">
              <a:spcBef>
                <a:spcPts val="0"/>
              </a:spcBef>
              <a:spcAft>
                <a:spcPts val="0"/>
              </a:spcAft>
              <a:buNone/>
            </a:pPr>
            <a:r>
              <a:rPr lang="en-GB" sz="667">
                <a:solidFill>
                  <a:schemeClr val="lt1"/>
                </a:solidFill>
                <a:latin typeface="Inter"/>
                <a:ea typeface="Inter"/>
                <a:cs typeface="Inter"/>
                <a:sym typeface="Inter"/>
              </a:rPr>
              <a:t>Private and Confidential</a:t>
            </a:r>
            <a:endParaRPr sz="667">
              <a:solidFill>
                <a:schemeClr val="lt1"/>
              </a:solidFill>
              <a:latin typeface="Inter"/>
              <a:ea typeface="Inter"/>
              <a:cs typeface="Inter"/>
              <a:sym typeface="Inter"/>
            </a:endParaRPr>
          </a:p>
        </p:txBody>
      </p:sp>
      <p:sp>
        <p:nvSpPr>
          <p:cNvPr id="1475" name="Google Shape;1475;p22"/>
          <p:cNvSpPr txBox="1">
            <a:spLocks noGrp="1"/>
          </p:cNvSpPr>
          <p:nvPr>
            <p:ph type="title"/>
          </p:nvPr>
        </p:nvSpPr>
        <p:spPr>
          <a:xfrm>
            <a:off x="470665" y="2309467"/>
            <a:ext cx="5694400" cy="2564000"/>
          </a:xfrm>
          <a:prstGeom prst="rect">
            <a:avLst/>
          </a:prstGeom>
        </p:spPr>
        <p:txBody>
          <a:bodyPr spcFirstLastPara="1" wrap="square" lIns="0" tIns="91425" rIns="91425" bIns="91425" anchor="t" anchorCtr="0">
            <a:noAutofit/>
          </a:bodyPr>
          <a:lstStyle>
            <a:lvl1pPr lvl="0" rtl="0">
              <a:lnSpc>
                <a:spcPct val="85000"/>
              </a:lnSpc>
              <a:spcBef>
                <a:spcPts val="0"/>
              </a:spcBef>
              <a:spcAft>
                <a:spcPts val="0"/>
              </a:spcAft>
              <a:buClr>
                <a:schemeClr val="lt1"/>
              </a:buClr>
              <a:buSzPts val="4600"/>
              <a:buFont typeface="Inter Medium"/>
              <a:buNone/>
              <a:defRPr sz="6133">
                <a:solidFill>
                  <a:schemeClr val="lt1"/>
                </a:solidFill>
                <a:latin typeface="Inter Medium"/>
                <a:ea typeface="Inter Medium"/>
                <a:cs typeface="Inter Medium"/>
                <a:sym typeface="Inter Medium"/>
              </a:defRPr>
            </a:lvl1pPr>
            <a:lvl2pPr lvl="1" rtl="0">
              <a:lnSpc>
                <a:spcPct val="75000"/>
              </a:lnSpc>
              <a:spcBef>
                <a:spcPts val="0"/>
              </a:spcBef>
              <a:spcAft>
                <a:spcPts val="0"/>
              </a:spcAft>
              <a:buSzPts val="1100"/>
              <a:buNone/>
              <a:defRPr/>
            </a:lvl2pPr>
            <a:lvl3pPr lvl="2" rtl="0">
              <a:lnSpc>
                <a:spcPct val="75000"/>
              </a:lnSpc>
              <a:spcBef>
                <a:spcPts val="0"/>
              </a:spcBef>
              <a:spcAft>
                <a:spcPts val="0"/>
              </a:spcAft>
              <a:buSzPts val="1100"/>
              <a:buNone/>
              <a:defRPr/>
            </a:lvl3pPr>
            <a:lvl4pPr lvl="3" rtl="0">
              <a:lnSpc>
                <a:spcPct val="75000"/>
              </a:lnSpc>
              <a:spcBef>
                <a:spcPts val="0"/>
              </a:spcBef>
              <a:spcAft>
                <a:spcPts val="0"/>
              </a:spcAft>
              <a:buSzPts val="1100"/>
              <a:buNone/>
              <a:defRPr/>
            </a:lvl4pPr>
            <a:lvl5pPr lvl="4" rtl="0">
              <a:lnSpc>
                <a:spcPct val="75000"/>
              </a:lnSpc>
              <a:spcBef>
                <a:spcPts val="0"/>
              </a:spcBef>
              <a:spcAft>
                <a:spcPts val="0"/>
              </a:spcAft>
              <a:buSzPts val="1100"/>
              <a:buNone/>
              <a:defRPr/>
            </a:lvl5pPr>
            <a:lvl6pPr lvl="5" rtl="0">
              <a:lnSpc>
                <a:spcPct val="75000"/>
              </a:lnSpc>
              <a:spcBef>
                <a:spcPts val="0"/>
              </a:spcBef>
              <a:spcAft>
                <a:spcPts val="0"/>
              </a:spcAft>
              <a:buSzPts val="1100"/>
              <a:buNone/>
              <a:defRPr/>
            </a:lvl6pPr>
            <a:lvl7pPr lvl="6" rtl="0">
              <a:lnSpc>
                <a:spcPct val="75000"/>
              </a:lnSpc>
              <a:spcBef>
                <a:spcPts val="0"/>
              </a:spcBef>
              <a:spcAft>
                <a:spcPts val="0"/>
              </a:spcAft>
              <a:buSzPts val="1100"/>
              <a:buNone/>
              <a:defRPr/>
            </a:lvl7pPr>
            <a:lvl8pPr lvl="7" rtl="0">
              <a:lnSpc>
                <a:spcPct val="75000"/>
              </a:lnSpc>
              <a:spcBef>
                <a:spcPts val="0"/>
              </a:spcBef>
              <a:spcAft>
                <a:spcPts val="0"/>
              </a:spcAft>
              <a:buSzPts val="1100"/>
              <a:buNone/>
              <a:defRPr/>
            </a:lvl8pPr>
            <a:lvl9pPr lvl="8" rtl="0">
              <a:lnSpc>
                <a:spcPct val="75000"/>
              </a:lnSpc>
              <a:spcBef>
                <a:spcPts val="0"/>
              </a:spcBef>
              <a:spcAft>
                <a:spcPts val="0"/>
              </a:spcAft>
              <a:buSzPts val="1100"/>
              <a:buNone/>
              <a:defRPr/>
            </a:lvl9pPr>
          </a:lstStyle>
          <a:p>
            <a:endParaRPr/>
          </a:p>
        </p:txBody>
      </p:sp>
      <p:sp>
        <p:nvSpPr>
          <p:cNvPr id="1476" name="Google Shape;1476;p22"/>
          <p:cNvSpPr txBox="1">
            <a:spLocks noGrp="1"/>
          </p:cNvSpPr>
          <p:nvPr>
            <p:ph type="subTitle" idx="1"/>
          </p:nvPr>
        </p:nvSpPr>
        <p:spPr>
          <a:xfrm>
            <a:off x="481600" y="2044700"/>
            <a:ext cx="1440400" cy="192000"/>
          </a:xfrm>
          <a:prstGeom prst="rect">
            <a:avLst/>
          </a:prstGeom>
          <a:solidFill>
            <a:schemeClr val="accent2"/>
          </a:solidFill>
          <a:ln w="19050" cap="flat" cmpd="sng">
            <a:solidFill>
              <a:schemeClr val="accent2"/>
            </a:solidFill>
            <a:prstDash val="solid"/>
            <a:round/>
            <a:headEnd type="none" w="sm" len="sm"/>
            <a:tailEnd type="none" w="sm" len="sm"/>
          </a:ln>
        </p:spPr>
        <p:txBody>
          <a:bodyPr spcFirstLastPara="1" wrap="square" lIns="36000" tIns="91425" rIns="36000" bIns="91425" anchor="ctr" anchorCtr="0">
            <a:noAutofit/>
          </a:bodyPr>
          <a:lstStyle>
            <a:lvl1pPr lvl="0" rtl="0">
              <a:spcBef>
                <a:spcPts val="1067"/>
              </a:spcBef>
              <a:spcAft>
                <a:spcPts val="0"/>
              </a:spcAft>
              <a:buSzPts val="900"/>
              <a:buFont typeface="Inter Medium"/>
              <a:buNone/>
              <a:defRPr sz="1200">
                <a:latin typeface="Inter Medium"/>
                <a:ea typeface="Inter Medium"/>
                <a:cs typeface="Inter Medium"/>
                <a:sym typeface="Inter Medium"/>
              </a:defRPr>
            </a:lvl1pPr>
            <a:lvl2pPr lvl="1" rtl="0">
              <a:spcBef>
                <a:spcPts val="533"/>
              </a:spcBef>
              <a:spcAft>
                <a:spcPts val="0"/>
              </a:spcAft>
              <a:buSzPts val="900"/>
              <a:buNone/>
              <a:defRPr sz="1200"/>
            </a:lvl2pPr>
            <a:lvl3pPr lvl="2" rtl="0">
              <a:spcBef>
                <a:spcPts val="533"/>
              </a:spcBef>
              <a:spcAft>
                <a:spcPts val="0"/>
              </a:spcAft>
              <a:buSzPts val="900"/>
              <a:buNone/>
              <a:defRPr sz="1200"/>
            </a:lvl3pPr>
            <a:lvl4pPr lvl="3" rtl="0">
              <a:spcBef>
                <a:spcPts val="533"/>
              </a:spcBef>
              <a:spcAft>
                <a:spcPts val="0"/>
              </a:spcAft>
              <a:buSzPts val="900"/>
              <a:buNone/>
              <a:defRPr sz="1200"/>
            </a:lvl4pPr>
            <a:lvl5pPr lvl="4" rtl="0">
              <a:spcBef>
                <a:spcPts val="533"/>
              </a:spcBef>
              <a:spcAft>
                <a:spcPts val="0"/>
              </a:spcAft>
              <a:buSzPts val="900"/>
              <a:buNone/>
              <a:defRPr sz="1200"/>
            </a:lvl5pPr>
            <a:lvl6pPr lvl="5" rtl="0">
              <a:spcBef>
                <a:spcPts val="533"/>
              </a:spcBef>
              <a:spcAft>
                <a:spcPts val="0"/>
              </a:spcAft>
              <a:buSzPts val="900"/>
              <a:buNone/>
              <a:defRPr sz="1200"/>
            </a:lvl6pPr>
            <a:lvl7pPr lvl="6" rtl="0">
              <a:spcBef>
                <a:spcPts val="533"/>
              </a:spcBef>
              <a:spcAft>
                <a:spcPts val="0"/>
              </a:spcAft>
              <a:buSzPts val="900"/>
              <a:buNone/>
              <a:defRPr sz="1200"/>
            </a:lvl7pPr>
            <a:lvl8pPr lvl="7" rtl="0">
              <a:spcBef>
                <a:spcPts val="533"/>
              </a:spcBef>
              <a:spcAft>
                <a:spcPts val="0"/>
              </a:spcAft>
              <a:buSzPts val="900"/>
              <a:buNone/>
              <a:defRPr sz="1200"/>
            </a:lvl8pPr>
            <a:lvl9pPr lvl="8" rtl="0">
              <a:spcBef>
                <a:spcPts val="533"/>
              </a:spcBef>
              <a:spcAft>
                <a:spcPts val="0"/>
              </a:spcAft>
              <a:buSzPts val="900"/>
              <a:buNone/>
              <a:defRPr sz="1200"/>
            </a:lvl9pPr>
          </a:lstStyle>
          <a:p>
            <a:endParaRPr/>
          </a:p>
        </p:txBody>
      </p:sp>
    </p:spTree>
    <p:extLst>
      <p:ext uri="{BB962C8B-B14F-4D97-AF65-F5344CB8AC3E}">
        <p14:creationId xmlns:p14="http://schemas.microsoft.com/office/powerpoint/2010/main" val="259008360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D09871-0D89-DC5E-C627-BBF33184F334}"/>
              </a:ext>
            </a:extLst>
          </p:cNvPr>
          <p:cNvSpPr>
            <a:spLocks noGrp="1"/>
          </p:cNvSpPr>
          <p:nvPr>
            <p:ph type="title"/>
          </p:nvPr>
        </p:nvSpPr>
        <p:spPr>
          <a:xfrm>
            <a:off x="839788" y="365125"/>
            <a:ext cx="10515600" cy="1325563"/>
          </a:xfrm>
        </p:spPr>
        <p:txBody>
          <a:bodyPr/>
          <a:lstStyle/>
          <a:p>
            <a:r>
              <a:rPr lang="en-GB"/>
              <a:t>Click to edit Master title style</a:t>
            </a:r>
          </a:p>
        </p:txBody>
      </p:sp>
      <p:sp>
        <p:nvSpPr>
          <p:cNvPr id="3" name="Text Placeholder 2">
            <a:extLst>
              <a:ext uri="{FF2B5EF4-FFF2-40B4-BE49-F238E27FC236}">
                <a16:creationId xmlns:a16="http://schemas.microsoft.com/office/drawing/2014/main" id="{547DD72E-E6C8-232E-EF9C-F4F72681CB6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A13BF5AC-DDB8-AE14-30BA-459AF35B66E5}"/>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Text Placeholder 4">
            <a:extLst>
              <a:ext uri="{FF2B5EF4-FFF2-40B4-BE49-F238E27FC236}">
                <a16:creationId xmlns:a16="http://schemas.microsoft.com/office/drawing/2014/main" id="{24DC53C7-F8C5-C49C-DC50-2CCA2B1241D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FBB9AD06-0989-D83D-AA67-FA198D259974}"/>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Date Placeholder 6">
            <a:extLst>
              <a:ext uri="{FF2B5EF4-FFF2-40B4-BE49-F238E27FC236}">
                <a16:creationId xmlns:a16="http://schemas.microsoft.com/office/drawing/2014/main" id="{94378C24-AC24-0C07-9635-30609E764CB2}"/>
              </a:ext>
            </a:extLst>
          </p:cNvPr>
          <p:cNvSpPr>
            <a:spLocks noGrp="1"/>
          </p:cNvSpPr>
          <p:nvPr>
            <p:ph type="dt" sz="half" idx="10"/>
          </p:nvPr>
        </p:nvSpPr>
        <p:spPr/>
        <p:txBody>
          <a:bodyPr/>
          <a:lstStyle/>
          <a:p>
            <a:fld id="{923CFB00-16CD-4A5D-8353-B2F2FFED28E8}" type="datetimeFigureOut">
              <a:rPr lang="en-GB" smtClean="0"/>
              <a:t>23/06/2024</a:t>
            </a:fld>
            <a:endParaRPr lang="en-GB"/>
          </a:p>
        </p:txBody>
      </p:sp>
      <p:sp>
        <p:nvSpPr>
          <p:cNvPr id="8" name="Footer Placeholder 7">
            <a:extLst>
              <a:ext uri="{FF2B5EF4-FFF2-40B4-BE49-F238E27FC236}">
                <a16:creationId xmlns:a16="http://schemas.microsoft.com/office/drawing/2014/main" id="{23FA8980-9862-0FE8-ACF1-5DACED84AB0B}"/>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DCA8475A-506B-E4A9-5248-1ADAD8E13AE1}"/>
              </a:ext>
            </a:extLst>
          </p:cNvPr>
          <p:cNvSpPr>
            <a:spLocks noGrp="1"/>
          </p:cNvSpPr>
          <p:nvPr>
            <p:ph type="sldNum" sz="quarter" idx="12"/>
          </p:nvPr>
        </p:nvSpPr>
        <p:spPr/>
        <p:txBody>
          <a:bodyPr/>
          <a:lstStyle/>
          <a:p>
            <a:fld id="{140D1FED-518D-4FB4-BCAB-05C56058F68A}" type="slidenum">
              <a:rPr lang="en-GB" smtClean="0"/>
              <a:t>‹#›</a:t>
            </a:fld>
            <a:endParaRPr lang="en-GB"/>
          </a:p>
        </p:txBody>
      </p:sp>
    </p:spTree>
    <p:extLst>
      <p:ext uri="{BB962C8B-B14F-4D97-AF65-F5344CB8AC3E}">
        <p14:creationId xmlns:p14="http://schemas.microsoft.com/office/powerpoint/2010/main" val="282692434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Divider Slide with Eyebrow">
  <p:cSld name="Divider Slide with Eyebrow">
    <p:bg>
      <p:bgPr>
        <a:solidFill>
          <a:schemeClr val="dk2"/>
        </a:solidFill>
        <a:effectLst/>
      </p:bgPr>
    </p:bg>
    <p:spTree>
      <p:nvGrpSpPr>
        <p:cNvPr id="1" name="Shape 1477"/>
        <p:cNvGrpSpPr/>
        <p:nvPr/>
      </p:nvGrpSpPr>
      <p:grpSpPr>
        <a:xfrm>
          <a:off x="0" y="0"/>
          <a:ext cx="0" cy="0"/>
          <a:chOff x="0" y="0"/>
          <a:chExt cx="0" cy="0"/>
        </a:xfrm>
      </p:grpSpPr>
      <p:sp>
        <p:nvSpPr>
          <p:cNvPr id="1478" name="Google Shape;1478;p23"/>
          <p:cNvSpPr txBox="1"/>
          <p:nvPr/>
        </p:nvSpPr>
        <p:spPr>
          <a:xfrm>
            <a:off x="481600" y="6245247"/>
            <a:ext cx="1288400" cy="273200"/>
          </a:xfrm>
          <a:prstGeom prst="rect">
            <a:avLst/>
          </a:prstGeom>
          <a:noFill/>
          <a:ln>
            <a:noFill/>
          </a:ln>
        </p:spPr>
        <p:txBody>
          <a:bodyPr spcFirstLastPara="1" wrap="square" lIns="0" tIns="0" rIns="0" bIns="0" anchor="b" anchorCtr="0">
            <a:noAutofit/>
          </a:bodyPr>
          <a:lstStyle/>
          <a:p>
            <a:pPr marL="0" lvl="0" indent="0" algn="l" rtl="0">
              <a:spcBef>
                <a:spcPts val="0"/>
              </a:spcBef>
              <a:spcAft>
                <a:spcPts val="0"/>
              </a:spcAft>
              <a:buNone/>
            </a:pPr>
            <a:r>
              <a:rPr lang="en-GB" sz="667">
                <a:solidFill>
                  <a:schemeClr val="lt1"/>
                </a:solidFill>
                <a:latin typeface="Inter"/>
                <a:ea typeface="Inter"/>
                <a:cs typeface="Inter"/>
                <a:sym typeface="Inter"/>
              </a:rPr>
              <a:t>Multiverse</a:t>
            </a:r>
            <a:endParaRPr sz="667">
              <a:solidFill>
                <a:schemeClr val="lt1"/>
              </a:solidFill>
              <a:latin typeface="Inter"/>
              <a:ea typeface="Inter"/>
              <a:cs typeface="Inter"/>
              <a:sym typeface="Inter"/>
            </a:endParaRPr>
          </a:p>
        </p:txBody>
      </p:sp>
      <p:sp>
        <p:nvSpPr>
          <p:cNvPr id="1479" name="Google Shape;1479;p23"/>
          <p:cNvSpPr/>
          <p:nvPr/>
        </p:nvSpPr>
        <p:spPr>
          <a:xfrm>
            <a:off x="481601" y="414630"/>
            <a:ext cx="349111" cy="305471"/>
          </a:xfrm>
          <a:custGeom>
            <a:avLst/>
            <a:gdLst/>
            <a:ahLst/>
            <a:cxnLst/>
            <a:rect l="l" t="t" r="r" b="b"/>
            <a:pathLst>
              <a:path w="1586865" h="1388506" extrusionOk="0">
                <a:moveTo>
                  <a:pt x="1083683" y="969931"/>
                </a:moveTo>
                <a:lnTo>
                  <a:pt x="1083683" y="579692"/>
                </a:lnTo>
                <a:lnTo>
                  <a:pt x="849297" y="969931"/>
                </a:lnTo>
                <a:lnTo>
                  <a:pt x="848892" y="969931"/>
                </a:lnTo>
                <a:cubicBezTo>
                  <a:pt x="848892" y="969931"/>
                  <a:pt x="848892" y="969931"/>
                  <a:pt x="848892" y="969931"/>
                </a:cubicBezTo>
                <a:lnTo>
                  <a:pt x="738783" y="969931"/>
                </a:lnTo>
                <a:lnTo>
                  <a:pt x="738783" y="577668"/>
                </a:lnTo>
                <a:lnTo>
                  <a:pt x="549735" y="892612"/>
                </a:lnTo>
                <a:cubicBezTo>
                  <a:pt x="527876" y="929449"/>
                  <a:pt x="510873" y="958191"/>
                  <a:pt x="503992" y="969931"/>
                </a:cubicBezTo>
                <a:lnTo>
                  <a:pt x="393073" y="969931"/>
                </a:lnTo>
                <a:lnTo>
                  <a:pt x="393073" y="418576"/>
                </a:lnTo>
                <a:lnTo>
                  <a:pt x="503992" y="418576"/>
                </a:lnTo>
                <a:lnTo>
                  <a:pt x="502777" y="760643"/>
                </a:lnTo>
                <a:lnTo>
                  <a:pt x="503587" y="782098"/>
                </a:lnTo>
                <a:lnTo>
                  <a:pt x="721781" y="418981"/>
                </a:lnTo>
                <a:lnTo>
                  <a:pt x="721781" y="418981"/>
                </a:lnTo>
                <a:lnTo>
                  <a:pt x="721781" y="418981"/>
                </a:lnTo>
                <a:lnTo>
                  <a:pt x="739188" y="418981"/>
                </a:lnTo>
                <a:lnTo>
                  <a:pt x="847678" y="418981"/>
                </a:lnTo>
                <a:cubicBezTo>
                  <a:pt x="847678" y="418981"/>
                  <a:pt x="848487" y="722995"/>
                  <a:pt x="848892" y="783717"/>
                </a:cubicBezTo>
                <a:lnTo>
                  <a:pt x="1067895" y="418981"/>
                </a:lnTo>
                <a:lnTo>
                  <a:pt x="1067895" y="418981"/>
                </a:lnTo>
                <a:lnTo>
                  <a:pt x="1067895" y="418981"/>
                </a:lnTo>
                <a:lnTo>
                  <a:pt x="1085302" y="418981"/>
                </a:lnTo>
                <a:lnTo>
                  <a:pt x="1193387" y="418981"/>
                </a:lnTo>
                <a:lnTo>
                  <a:pt x="1193387" y="970336"/>
                </a:lnTo>
                <a:lnTo>
                  <a:pt x="1083683" y="970336"/>
                </a:lnTo>
                <a:close/>
                <a:moveTo>
                  <a:pt x="1190149" y="0"/>
                </a:moveTo>
                <a:lnTo>
                  <a:pt x="396716" y="0"/>
                </a:lnTo>
                <a:lnTo>
                  <a:pt x="0" y="694253"/>
                </a:lnTo>
                <a:lnTo>
                  <a:pt x="396716" y="1388507"/>
                </a:lnTo>
                <a:lnTo>
                  <a:pt x="1190149" y="1388507"/>
                </a:lnTo>
                <a:lnTo>
                  <a:pt x="1586865" y="694253"/>
                </a:lnTo>
                <a:lnTo>
                  <a:pt x="1190149" y="0"/>
                </a:lnTo>
                <a:close/>
              </a:path>
            </a:pathLst>
          </a:custGeom>
          <a:solidFill>
            <a:schemeClr val="lt1"/>
          </a:solidFill>
          <a:ln>
            <a:noFill/>
          </a:ln>
        </p:spPr>
        <p:txBody>
          <a:bodyPr spcFirstLastPara="1" wrap="square" lIns="91433" tIns="45700" rIns="91433" bIns="45700"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480" name="Google Shape;1480;p23"/>
          <p:cNvSpPr txBox="1"/>
          <p:nvPr/>
        </p:nvSpPr>
        <p:spPr>
          <a:xfrm>
            <a:off x="5451800" y="6245247"/>
            <a:ext cx="1288400" cy="273200"/>
          </a:xfrm>
          <a:prstGeom prst="rect">
            <a:avLst/>
          </a:prstGeom>
          <a:noFill/>
          <a:ln>
            <a:noFill/>
          </a:ln>
        </p:spPr>
        <p:txBody>
          <a:bodyPr spcFirstLastPara="1" wrap="square" lIns="0" tIns="0" rIns="0" bIns="0" anchor="b" anchorCtr="0">
            <a:noAutofit/>
          </a:bodyPr>
          <a:lstStyle/>
          <a:p>
            <a:pPr marL="0" lvl="0" indent="0" algn="ctr" rtl="0">
              <a:spcBef>
                <a:spcPts val="0"/>
              </a:spcBef>
              <a:spcAft>
                <a:spcPts val="0"/>
              </a:spcAft>
              <a:buNone/>
            </a:pPr>
            <a:r>
              <a:rPr lang="en-GB" sz="667">
                <a:solidFill>
                  <a:schemeClr val="lt1"/>
                </a:solidFill>
                <a:latin typeface="Inter"/>
                <a:ea typeface="Inter"/>
                <a:cs typeface="Inter"/>
                <a:sym typeface="Inter"/>
              </a:rPr>
              <a:t>Private and Confidential</a:t>
            </a:r>
            <a:endParaRPr sz="667">
              <a:solidFill>
                <a:schemeClr val="lt1"/>
              </a:solidFill>
              <a:latin typeface="Inter"/>
              <a:ea typeface="Inter"/>
              <a:cs typeface="Inter"/>
              <a:sym typeface="Inter"/>
            </a:endParaRPr>
          </a:p>
        </p:txBody>
      </p:sp>
      <p:sp>
        <p:nvSpPr>
          <p:cNvPr id="1481" name="Google Shape;1481;p23"/>
          <p:cNvSpPr txBox="1">
            <a:spLocks noGrp="1"/>
          </p:cNvSpPr>
          <p:nvPr>
            <p:ph type="title"/>
          </p:nvPr>
        </p:nvSpPr>
        <p:spPr>
          <a:xfrm>
            <a:off x="470667" y="2309467"/>
            <a:ext cx="8660800" cy="2564000"/>
          </a:xfrm>
          <a:prstGeom prst="rect">
            <a:avLst/>
          </a:prstGeom>
        </p:spPr>
        <p:txBody>
          <a:bodyPr spcFirstLastPara="1" wrap="square" lIns="0" tIns="91425" rIns="91425" bIns="91425" anchor="t" anchorCtr="0">
            <a:noAutofit/>
          </a:bodyPr>
          <a:lstStyle>
            <a:lvl1pPr lvl="0" rtl="0">
              <a:lnSpc>
                <a:spcPct val="85000"/>
              </a:lnSpc>
              <a:spcBef>
                <a:spcPts val="0"/>
              </a:spcBef>
              <a:spcAft>
                <a:spcPts val="0"/>
              </a:spcAft>
              <a:buClr>
                <a:schemeClr val="lt1"/>
              </a:buClr>
              <a:buSzPts val="4600"/>
              <a:buFont typeface="Inter Medium"/>
              <a:buNone/>
              <a:defRPr sz="6133">
                <a:solidFill>
                  <a:schemeClr val="lt1"/>
                </a:solidFill>
                <a:latin typeface="Inter Medium"/>
                <a:ea typeface="Inter Medium"/>
                <a:cs typeface="Inter Medium"/>
                <a:sym typeface="Inter Medium"/>
              </a:defRPr>
            </a:lvl1pPr>
            <a:lvl2pPr lvl="1" rtl="0">
              <a:lnSpc>
                <a:spcPct val="75000"/>
              </a:lnSpc>
              <a:spcBef>
                <a:spcPts val="0"/>
              </a:spcBef>
              <a:spcAft>
                <a:spcPts val="0"/>
              </a:spcAft>
              <a:buSzPts val="1100"/>
              <a:buNone/>
              <a:defRPr/>
            </a:lvl2pPr>
            <a:lvl3pPr lvl="2" rtl="0">
              <a:lnSpc>
                <a:spcPct val="75000"/>
              </a:lnSpc>
              <a:spcBef>
                <a:spcPts val="0"/>
              </a:spcBef>
              <a:spcAft>
                <a:spcPts val="0"/>
              </a:spcAft>
              <a:buSzPts val="1100"/>
              <a:buNone/>
              <a:defRPr/>
            </a:lvl3pPr>
            <a:lvl4pPr lvl="3" rtl="0">
              <a:lnSpc>
                <a:spcPct val="75000"/>
              </a:lnSpc>
              <a:spcBef>
                <a:spcPts val="0"/>
              </a:spcBef>
              <a:spcAft>
                <a:spcPts val="0"/>
              </a:spcAft>
              <a:buSzPts val="1100"/>
              <a:buNone/>
              <a:defRPr/>
            </a:lvl4pPr>
            <a:lvl5pPr lvl="4" rtl="0">
              <a:lnSpc>
                <a:spcPct val="75000"/>
              </a:lnSpc>
              <a:spcBef>
                <a:spcPts val="0"/>
              </a:spcBef>
              <a:spcAft>
                <a:spcPts val="0"/>
              </a:spcAft>
              <a:buSzPts val="1100"/>
              <a:buNone/>
              <a:defRPr/>
            </a:lvl5pPr>
            <a:lvl6pPr lvl="5" rtl="0">
              <a:lnSpc>
                <a:spcPct val="75000"/>
              </a:lnSpc>
              <a:spcBef>
                <a:spcPts val="0"/>
              </a:spcBef>
              <a:spcAft>
                <a:spcPts val="0"/>
              </a:spcAft>
              <a:buSzPts val="1100"/>
              <a:buNone/>
              <a:defRPr/>
            </a:lvl6pPr>
            <a:lvl7pPr lvl="6" rtl="0">
              <a:lnSpc>
                <a:spcPct val="75000"/>
              </a:lnSpc>
              <a:spcBef>
                <a:spcPts val="0"/>
              </a:spcBef>
              <a:spcAft>
                <a:spcPts val="0"/>
              </a:spcAft>
              <a:buSzPts val="1100"/>
              <a:buNone/>
              <a:defRPr/>
            </a:lvl7pPr>
            <a:lvl8pPr lvl="7" rtl="0">
              <a:lnSpc>
                <a:spcPct val="75000"/>
              </a:lnSpc>
              <a:spcBef>
                <a:spcPts val="0"/>
              </a:spcBef>
              <a:spcAft>
                <a:spcPts val="0"/>
              </a:spcAft>
              <a:buSzPts val="1100"/>
              <a:buNone/>
              <a:defRPr/>
            </a:lvl8pPr>
            <a:lvl9pPr lvl="8" rtl="0">
              <a:lnSpc>
                <a:spcPct val="75000"/>
              </a:lnSpc>
              <a:spcBef>
                <a:spcPts val="0"/>
              </a:spcBef>
              <a:spcAft>
                <a:spcPts val="0"/>
              </a:spcAft>
              <a:buSzPts val="1100"/>
              <a:buNone/>
              <a:defRPr/>
            </a:lvl9pPr>
          </a:lstStyle>
          <a:p>
            <a:endParaRPr/>
          </a:p>
        </p:txBody>
      </p:sp>
      <p:sp>
        <p:nvSpPr>
          <p:cNvPr id="1482" name="Google Shape;1482;p23"/>
          <p:cNvSpPr txBox="1">
            <a:spLocks noGrp="1"/>
          </p:cNvSpPr>
          <p:nvPr>
            <p:ph type="subTitle" idx="1"/>
          </p:nvPr>
        </p:nvSpPr>
        <p:spPr>
          <a:xfrm>
            <a:off x="481600" y="2044700"/>
            <a:ext cx="1440400" cy="192000"/>
          </a:xfrm>
          <a:prstGeom prst="rect">
            <a:avLst/>
          </a:prstGeom>
          <a:solidFill>
            <a:schemeClr val="accent2"/>
          </a:solidFill>
          <a:ln w="19050" cap="flat" cmpd="sng">
            <a:solidFill>
              <a:schemeClr val="accent2"/>
            </a:solidFill>
            <a:prstDash val="solid"/>
            <a:round/>
            <a:headEnd type="none" w="sm" len="sm"/>
            <a:tailEnd type="none" w="sm" len="sm"/>
          </a:ln>
        </p:spPr>
        <p:txBody>
          <a:bodyPr spcFirstLastPara="1" wrap="square" lIns="36000" tIns="91425" rIns="36000" bIns="91425" anchor="ctr" anchorCtr="0">
            <a:noAutofit/>
          </a:bodyPr>
          <a:lstStyle>
            <a:lvl1pPr lvl="0" rtl="0">
              <a:spcBef>
                <a:spcPts val="1067"/>
              </a:spcBef>
              <a:spcAft>
                <a:spcPts val="0"/>
              </a:spcAft>
              <a:buSzPts val="900"/>
              <a:buFont typeface="Inter Medium"/>
              <a:buNone/>
              <a:defRPr sz="1200">
                <a:latin typeface="Inter Medium"/>
                <a:ea typeface="Inter Medium"/>
                <a:cs typeface="Inter Medium"/>
                <a:sym typeface="Inter Medium"/>
              </a:defRPr>
            </a:lvl1pPr>
            <a:lvl2pPr lvl="1" rtl="0">
              <a:spcBef>
                <a:spcPts val="533"/>
              </a:spcBef>
              <a:spcAft>
                <a:spcPts val="0"/>
              </a:spcAft>
              <a:buSzPts val="900"/>
              <a:buNone/>
              <a:defRPr sz="1200"/>
            </a:lvl2pPr>
            <a:lvl3pPr lvl="2" rtl="0">
              <a:spcBef>
                <a:spcPts val="533"/>
              </a:spcBef>
              <a:spcAft>
                <a:spcPts val="0"/>
              </a:spcAft>
              <a:buSzPts val="900"/>
              <a:buNone/>
              <a:defRPr sz="1200"/>
            </a:lvl3pPr>
            <a:lvl4pPr lvl="3" rtl="0">
              <a:spcBef>
                <a:spcPts val="533"/>
              </a:spcBef>
              <a:spcAft>
                <a:spcPts val="0"/>
              </a:spcAft>
              <a:buSzPts val="900"/>
              <a:buNone/>
              <a:defRPr sz="1200"/>
            </a:lvl4pPr>
            <a:lvl5pPr lvl="4" rtl="0">
              <a:spcBef>
                <a:spcPts val="533"/>
              </a:spcBef>
              <a:spcAft>
                <a:spcPts val="0"/>
              </a:spcAft>
              <a:buSzPts val="900"/>
              <a:buNone/>
              <a:defRPr sz="1200"/>
            </a:lvl5pPr>
            <a:lvl6pPr lvl="5" rtl="0">
              <a:spcBef>
                <a:spcPts val="533"/>
              </a:spcBef>
              <a:spcAft>
                <a:spcPts val="0"/>
              </a:spcAft>
              <a:buSzPts val="900"/>
              <a:buNone/>
              <a:defRPr sz="1200"/>
            </a:lvl6pPr>
            <a:lvl7pPr lvl="6" rtl="0">
              <a:spcBef>
                <a:spcPts val="533"/>
              </a:spcBef>
              <a:spcAft>
                <a:spcPts val="0"/>
              </a:spcAft>
              <a:buSzPts val="900"/>
              <a:buNone/>
              <a:defRPr sz="1200"/>
            </a:lvl7pPr>
            <a:lvl8pPr lvl="7" rtl="0">
              <a:spcBef>
                <a:spcPts val="533"/>
              </a:spcBef>
              <a:spcAft>
                <a:spcPts val="0"/>
              </a:spcAft>
              <a:buSzPts val="900"/>
              <a:buNone/>
              <a:defRPr sz="1200"/>
            </a:lvl8pPr>
            <a:lvl9pPr lvl="8" rtl="0">
              <a:spcBef>
                <a:spcPts val="533"/>
              </a:spcBef>
              <a:spcAft>
                <a:spcPts val="0"/>
              </a:spcAft>
              <a:buSzPts val="900"/>
              <a:buNone/>
              <a:defRPr sz="1200"/>
            </a:lvl9pPr>
          </a:lstStyle>
          <a:p>
            <a:endParaRPr/>
          </a:p>
        </p:txBody>
      </p:sp>
    </p:spTree>
    <p:extLst>
      <p:ext uri="{BB962C8B-B14F-4D97-AF65-F5344CB8AC3E}">
        <p14:creationId xmlns:p14="http://schemas.microsoft.com/office/powerpoint/2010/main" val="25212128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matchingName="Divider Slide with Eyebrow and Pattern">
  <p:cSld name="Divider Slide with Eyebrow and Pattern">
    <p:bg>
      <p:bgPr>
        <a:solidFill>
          <a:schemeClr val="dk2"/>
        </a:solidFill>
        <a:effectLst/>
      </p:bgPr>
    </p:bg>
    <p:spTree>
      <p:nvGrpSpPr>
        <p:cNvPr id="1" name="Shape 1483"/>
        <p:cNvGrpSpPr/>
        <p:nvPr/>
      </p:nvGrpSpPr>
      <p:grpSpPr>
        <a:xfrm>
          <a:off x="0" y="0"/>
          <a:ext cx="0" cy="0"/>
          <a:chOff x="0" y="0"/>
          <a:chExt cx="0" cy="0"/>
        </a:xfrm>
      </p:grpSpPr>
      <p:sp>
        <p:nvSpPr>
          <p:cNvPr id="1484" name="Google Shape;1484;p24"/>
          <p:cNvSpPr txBox="1"/>
          <p:nvPr/>
        </p:nvSpPr>
        <p:spPr>
          <a:xfrm>
            <a:off x="481600" y="6245247"/>
            <a:ext cx="1288400" cy="273200"/>
          </a:xfrm>
          <a:prstGeom prst="rect">
            <a:avLst/>
          </a:prstGeom>
          <a:noFill/>
          <a:ln>
            <a:noFill/>
          </a:ln>
        </p:spPr>
        <p:txBody>
          <a:bodyPr spcFirstLastPara="1" wrap="square" lIns="0" tIns="0" rIns="0" bIns="0" anchor="b" anchorCtr="0">
            <a:noAutofit/>
          </a:bodyPr>
          <a:lstStyle/>
          <a:p>
            <a:pPr marL="0" lvl="0" indent="0" algn="l" rtl="0">
              <a:spcBef>
                <a:spcPts val="0"/>
              </a:spcBef>
              <a:spcAft>
                <a:spcPts val="0"/>
              </a:spcAft>
              <a:buNone/>
            </a:pPr>
            <a:r>
              <a:rPr lang="en-GB" sz="667">
                <a:solidFill>
                  <a:schemeClr val="lt1"/>
                </a:solidFill>
                <a:latin typeface="Inter"/>
                <a:ea typeface="Inter"/>
                <a:cs typeface="Inter"/>
                <a:sym typeface="Inter"/>
              </a:rPr>
              <a:t>Multiverse</a:t>
            </a:r>
            <a:endParaRPr sz="667">
              <a:solidFill>
                <a:schemeClr val="lt1"/>
              </a:solidFill>
              <a:latin typeface="Inter"/>
              <a:ea typeface="Inter"/>
              <a:cs typeface="Inter"/>
              <a:sym typeface="Inter"/>
            </a:endParaRPr>
          </a:p>
        </p:txBody>
      </p:sp>
      <p:sp>
        <p:nvSpPr>
          <p:cNvPr id="1485" name="Google Shape;1485;p24"/>
          <p:cNvSpPr/>
          <p:nvPr/>
        </p:nvSpPr>
        <p:spPr>
          <a:xfrm>
            <a:off x="481601" y="414630"/>
            <a:ext cx="349111" cy="305471"/>
          </a:xfrm>
          <a:custGeom>
            <a:avLst/>
            <a:gdLst/>
            <a:ahLst/>
            <a:cxnLst/>
            <a:rect l="l" t="t" r="r" b="b"/>
            <a:pathLst>
              <a:path w="1586865" h="1388506" extrusionOk="0">
                <a:moveTo>
                  <a:pt x="1083683" y="969931"/>
                </a:moveTo>
                <a:lnTo>
                  <a:pt x="1083683" y="579692"/>
                </a:lnTo>
                <a:lnTo>
                  <a:pt x="849297" y="969931"/>
                </a:lnTo>
                <a:lnTo>
                  <a:pt x="848892" y="969931"/>
                </a:lnTo>
                <a:cubicBezTo>
                  <a:pt x="848892" y="969931"/>
                  <a:pt x="848892" y="969931"/>
                  <a:pt x="848892" y="969931"/>
                </a:cubicBezTo>
                <a:lnTo>
                  <a:pt x="738783" y="969931"/>
                </a:lnTo>
                <a:lnTo>
                  <a:pt x="738783" y="577668"/>
                </a:lnTo>
                <a:lnTo>
                  <a:pt x="549735" y="892612"/>
                </a:lnTo>
                <a:cubicBezTo>
                  <a:pt x="527876" y="929449"/>
                  <a:pt x="510873" y="958191"/>
                  <a:pt x="503992" y="969931"/>
                </a:cubicBezTo>
                <a:lnTo>
                  <a:pt x="393073" y="969931"/>
                </a:lnTo>
                <a:lnTo>
                  <a:pt x="393073" y="418576"/>
                </a:lnTo>
                <a:lnTo>
                  <a:pt x="503992" y="418576"/>
                </a:lnTo>
                <a:lnTo>
                  <a:pt x="502777" y="760643"/>
                </a:lnTo>
                <a:lnTo>
                  <a:pt x="503587" y="782098"/>
                </a:lnTo>
                <a:lnTo>
                  <a:pt x="721781" y="418981"/>
                </a:lnTo>
                <a:lnTo>
                  <a:pt x="721781" y="418981"/>
                </a:lnTo>
                <a:lnTo>
                  <a:pt x="721781" y="418981"/>
                </a:lnTo>
                <a:lnTo>
                  <a:pt x="739188" y="418981"/>
                </a:lnTo>
                <a:lnTo>
                  <a:pt x="847678" y="418981"/>
                </a:lnTo>
                <a:cubicBezTo>
                  <a:pt x="847678" y="418981"/>
                  <a:pt x="848487" y="722995"/>
                  <a:pt x="848892" y="783717"/>
                </a:cubicBezTo>
                <a:lnTo>
                  <a:pt x="1067895" y="418981"/>
                </a:lnTo>
                <a:lnTo>
                  <a:pt x="1067895" y="418981"/>
                </a:lnTo>
                <a:lnTo>
                  <a:pt x="1067895" y="418981"/>
                </a:lnTo>
                <a:lnTo>
                  <a:pt x="1085302" y="418981"/>
                </a:lnTo>
                <a:lnTo>
                  <a:pt x="1193387" y="418981"/>
                </a:lnTo>
                <a:lnTo>
                  <a:pt x="1193387" y="970336"/>
                </a:lnTo>
                <a:lnTo>
                  <a:pt x="1083683" y="970336"/>
                </a:lnTo>
                <a:close/>
                <a:moveTo>
                  <a:pt x="1190149" y="0"/>
                </a:moveTo>
                <a:lnTo>
                  <a:pt x="396716" y="0"/>
                </a:lnTo>
                <a:lnTo>
                  <a:pt x="0" y="694253"/>
                </a:lnTo>
                <a:lnTo>
                  <a:pt x="396716" y="1388507"/>
                </a:lnTo>
                <a:lnTo>
                  <a:pt x="1190149" y="1388507"/>
                </a:lnTo>
                <a:lnTo>
                  <a:pt x="1586865" y="694253"/>
                </a:lnTo>
                <a:lnTo>
                  <a:pt x="1190149" y="0"/>
                </a:lnTo>
                <a:close/>
              </a:path>
            </a:pathLst>
          </a:custGeom>
          <a:solidFill>
            <a:schemeClr val="lt1"/>
          </a:solidFill>
          <a:ln>
            <a:noFill/>
          </a:ln>
        </p:spPr>
        <p:txBody>
          <a:bodyPr spcFirstLastPara="1" wrap="square" lIns="91433" tIns="45700" rIns="91433" bIns="45700"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486" name="Google Shape;1486;p24"/>
          <p:cNvSpPr txBox="1"/>
          <p:nvPr/>
        </p:nvSpPr>
        <p:spPr>
          <a:xfrm>
            <a:off x="5451800" y="6245247"/>
            <a:ext cx="1288400" cy="273200"/>
          </a:xfrm>
          <a:prstGeom prst="rect">
            <a:avLst/>
          </a:prstGeom>
          <a:noFill/>
          <a:ln>
            <a:noFill/>
          </a:ln>
        </p:spPr>
        <p:txBody>
          <a:bodyPr spcFirstLastPara="1" wrap="square" lIns="0" tIns="0" rIns="0" bIns="0" anchor="b" anchorCtr="0">
            <a:noAutofit/>
          </a:bodyPr>
          <a:lstStyle/>
          <a:p>
            <a:pPr marL="0" lvl="0" indent="0" algn="ctr" rtl="0">
              <a:spcBef>
                <a:spcPts val="0"/>
              </a:spcBef>
              <a:spcAft>
                <a:spcPts val="0"/>
              </a:spcAft>
              <a:buNone/>
            </a:pPr>
            <a:r>
              <a:rPr lang="en-GB" sz="667">
                <a:solidFill>
                  <a:schemeClr val="lt1"/>
                </a:solidFill>
                <a:latin typeface="Inter"/>
                <a:ea typeface="Inter"/>
                <a:cs typeface="Inter"/>
                <a:sym typeface="Inter"/>
              </a:rPr>
              <a:t>Private and Confidential</a:t>
            </a:r>
            <a:endParaRPr sz="667">
              <a:solidFill>
                <a:schemeClr val="lt1"/>
              </a:solidFill>
              <a:latin typeface="Inter"/>
              <a:ea typeface="Inter"/>
              <a:cs typeface="Inter"/>
              <a:sym typeface="Inter"/>
            </a:endParaRPr>
          </a:p>
        </p:txBody>
      </p:sp>
      <p:sp>
        <p:nvSpPr>
          <p:cNvPr id="1487" name="Google Shape;1487;p24"/>
          <p:cNvSpPr txBox="1">
            <a:spLocks noGrp="1"/>
          </p:cNvSpPr>
          <p:nvPr>
            <p:ph type="title"/>
          </p:nvPr>
        </p:nvSpPr>
        <p:spPr>
          <a:xfrm>
            <a:off x="470667" y="2309467"/>
            <a:ext cx="8660800" cy="2564000"/>
          </a:xfrm>
          <a:prstGeom prst="rect">
            <a:avLst/>
          </a:prstGeom>
        </p:spPr>
        <p:txBody>
          <a:bodyPr spcFirstLastPara="1" wrap="square" lIns="0" tIns="91425" rIns="91425" bIns="91425" anchor="t" anchorCtr="0">
            <a:noAutofit/>
          </a:bodyPr>
          <a:lstStyle>
            <a:lvl1pPr lvl="0" rtl="0">
              <a:lnSpc>
                <a:spcPct val="85000"/>
              </a:lnSpc>
              <a:spcBef>
                <a:spcPts val="0"/>
              </a:spcBef>
              <a:spcAft>
                <a:spcPts val="0"/>
              </a:spcAft>
              <a:buClr>
                <a:schemeClr val="lt1"/>
              </a:buClr>
              <a:buSzPts val="4600"/>
              <a:buFont typeface="Inter Medium"/>
              <a:buNone/>
              <a:defRPr sz="6133">
                <a:solidFill>
                  <a:schemeClr val="lt1"/>
                </a:solidFill>
                <a:latin typeface="Inter Medium"/>
                <a:ea typeface="Inter Medium"/>
                <a:cs typeface="Inter Medium"/>
                <a:sym typeface="Inter Medium"/>
              </a:defRPr>
            </a:lvl1pPr>
            <a:lvl2pPr lvl="1" rtl="0">
              <a:lnSpc>
                <a:spcPct val="75000"/>
              </a:lnSpc>
              <a:spcBef>
                <a:spcPts val="0"/>
              </a:spcBef>
              <a:spcAft>
                <a:spcPts val="0"/>
              </a:spcAft>
              <a:buSzPts val="1100"/>
              <a:buNone/>
              <a:defRPr/>
            </a:lvl2pPr>
            <a:lvl3pPr lvl="2" rtl="0">
              <a:lnSpc>
                <a:spcPct val="75000"/>
              </a:lnSpc>
              <a:spcBef>
                <a:spcPts val="0"/>
              </a:spcBef>
              <a:spcAft>
                <a:spcPts val="0"/>
              </a:spcAft>
              <a:buSzPts val="1100"/>
              <a:buNone/>
              <a:defRPr/>
            </a:lvl3pPr>
            <a:lvl4pPr lvl="3" rtl="0">
              <a:lnSpc>
                <a:spcPct val="75000"/>
              </a:lnSpc>
              <a:spcBef>
                <a:spcPts val="0"/>
              </a:spcBef>
              <a:spcAft>
                <a:spcPts val="0"/>
              </a:spcAft>
              <a:buSzPts val="1100"/>
              <a:buNone/>
              <a:defRPr/>
            </a:lvl4pPr>
            <a:lvl5pPr lvl="4" rtl="0">
              <a:lnSpc>
                <a:spcPct val="75000"/>
              </a:lnSpc>
              <a:spcBef>
                <a:spcPts val="0"/>
              </a:spcBef>
              <a:spcAft>
                <a:spcPts val="0"/>
              </a:spcAft>
              <a:buSzPts val="1100"/>
              <a:buNone/>
              <a:defRPr/>
            </a:lvl5pPr>
            <a:lvl6pPr lvl="5" rtl="0">
              <a:lnSpc>
                <a:spcPct val="75000"/>
              </a:lnSpc>
              <a:spcBef>
                <a:spcPts val="0"/>
              </a:spcBef>
              <a:spcAft>
                <a:spcPts val="0"/>
              </a:spcAft>
              <a:buSzPts val="1100"/>
              <a:buNone/>
              <a:defRPr/>
            </a:lvl6pPr>
            <a:lvl7pPr lvl="6" rtl="0">
              <a:lnSpc>
                <a:spcPct val="75000"/>
              </a:lnSpc>
              <a:spcBef>
                <a:spcPts val="0"/>
              </a:spcBef>
              <a:spcAft>
                <a:spcPts val="0"/>
              </a:spcAft>
              <a:buSzPts val="1100"/>
              <a:buNone/>
              <a:defRPr/>
            </a:lvl7pPr>
            <a:lvl8pPr lvl="7" rtl="0">
              <a:lnSpc>
                <a:spcPct val="75000"/>
              </a:lnSpc>
              <a:spcBef>
                <a:spcPts val="0"/>
              </a:spcBef>
              <a:spcAft>
                <a:spcPts val="0"/>
              </a:spcAft>
              <a:buSzPts val="1100"/>
              <a:buNone/>
              <a:defRPr/>
            </a:lvl8pPr>
            <a:lvl9pPr lvl="8" rtl="0">
              <a:lnSpc>
                <a:spcPct val="75000"/>
              </a:lnSpc>
              <a:spcBef>
                <a:spcPts val="0"/>
              </a:spcBef>
              <a:spcAft>
                <a:spcPts val="0"/>
              </a:spcAft>
              <a:buSzPts val="1100"/>
              <a:buNone/>
              <a:defRPr/>
            </a:lvl9pPr>
          </a:lstStyle>
          <a:p>
            <a:endParaRPr/>
          </a:p>
        </p:txBody>
      </p:sp>
      <p:sp>
        <p:nvSpPr>
          <p:cNvPr id="1488" name="Google Shape;1488;p24"/>
          <p:cNvSpPr txBox="1">
            <a:spLocks noGrp="1"/>
          </p:cNvSpPr>
          <p:nvPr>
            <p:ph type="subTitle" idx="1"/>
          </p:nvPr>
        </p:nvSpPr>
        <p:spPr>
          <a:xfrm>
            <a:off x="481600" y="2044700"/>
            <a:ext cx="1440400" cy="192000"/>
          </a:xfrm>
          <a:prstGeom prst="rect">
            <a:avLst/>
          </a:prstGeom>
          <a:solidFill>
            <a:schemeClr val="accent2"/>
          </a:solidFill>
          <a:ln w="19050" cap="flat" cmpd="sng">
            <a:solidFill>
              <a:schemeClr val="accent2"/>
            </a:solidFill>
            <a:prstDash val="solid"/>
            <a:round/>
            <a:headEnd type="none" w="sm" len="sm"/>
            <a:tailEnd type="none" w="sm" len="sm"/>
          </a:ln>
        </p:spPr>
        <p:txBody>
          <a:bodyPr spcFirstLastPara="1" wrap="square" lIns="36000" tIns="91425" rIns="36000" bIns="91425" anchor="ctr" anchorCtr="0">
            <a:noAutofit/>
          </a:bodyPr>
          <a:lstStyle>
            <a:lvl1pPr lvl="0" rtl="0">
              <a:spcBef>
                <a:spcPts val="1067"/>
              </a:spcBef>
              <a:spcAft>
                <a:spcPts val="0"/>
              </a:spcAft>
              <a:buSzPts val="900"/>
              <a:buFont typeface="Inter Medium"/>
              <a:buNone/>
              <a:defRPr sz="1200">
                <a:latin typeface="Inter Medium"/>
                <a:ea typeface="Inter Medium"/>
                <a:cs typeface="Inter Medium"/>
                <a:sym typeface="Inter Medium"/>
              </a:defRPr>
            </a:lvl1pPr>
            <a:lvl2pPr lvl="1" rtl="0">
              <a:spcBef>
                <a:spcPts val="533"/>
              </a:spcBef>
              <a:spcAft>
                <a:spcPts val="0"/>
              </a:spcAft>
              <a:buSzPts val="900"/>
              <a:buNone/>
              <a:defRPr sz="1200"/>
            </a:lvl2pPr>
            <a:lvl3pPr lvl="2" rtl="0">
              <a:spcBef>
                <a:spcPts val="533"/>
              </a:spcBef>
              <a:spcAft>
                <a:spcPts val="0"/>
              </a:spcAft>
              <a:buSzPts val="900"/>
              <a:buNone/>
              <a:defRPr sz="1200"/>
            </a:lvl3pPr>
            <a:lvl4pPr lvl="3" rtl="0">
              <a:spcBef>
                <a:spcPts val="533"/>
              </a:spcBef>
              <a:spcAft>
                <a:spcPts val="0"/>
              </a:spcAft>
              <a:buSzPts val="900"/>
              <a:buNone/>
              <a:defRPr sz="1200"/>
            </a:lvl4pPr>
            <a:lvl5pPr lvl="4" rtl="0">
              <a:spcBef>
                <a:spcPts val="533"/>
              </a:spcBef>
              <a:spcAft>
                <a:spcPts val="0"/>
              </a:spcAft>
              <a:buSzPts val="900"/>
              <a:buNone/>
              <a:defRPr sz="1200"/>
            </a:lvl5pPr>
            <a:lvl6pPr lvl="5" rtl="0">
              <a:spcBef>
                <a:spcPts val="533"/>
              </a:spcBef>
              <a:spcAft>
                <a:spcPts val="0"/>
              </a:spcAft>
              <a:buSzPts val="900"/>
              <a:buNone/>
              <a:defRPr sz="1200"/>
            </a:lvl6pPr>
            <a:lvl7pPr lvl="6" rtl="0">
              <a:spcBef>
                <a:spcPts val="533"/>
              </a:spcBef>
              <a:spcAft>
                <a:spcPts val="0"/>
              </a:spcAft>
              <a:buSzPts val="900"/>
              <a:buNone/>
              <a:defRPr sz="1200"/>
            </a:lvl7pPr>
            <a:lvl8pPr lvl="7" rtl="0">
              <a:spcBef>
                <a:spcPts val="533"/>
              </a:spcBef>
              <a:spcAft>
                <a:spcPts val="0"/>
              </a:spcAft>
              <a:buSzPts val="900"/>
              <a:buNone/>
              <a:defRPr sz="1200"/>
            </a:lvl8pPr>
            <a:lvl9pPr lvl="8" rtl="0">
              <a:spcBef>
                <a:spcPts val="533"/>
              </a:spcBef>
              <a:spcAft>
                <a:spcPts val="0"/>
              </a:spcAft>
              <a:buSzPts val="900"/>
              <a:buNone/>
              <a:defRPr sz="1200"/>
            </a:lvl9pPr>
          </a:lstStyle>
          <a:p>
            <a:endParaRPr/>
          </a:p>
        </p:txBody>
      </p:sp>
      <p:grpSp>
        <p:nvGrpSpPr>
          <p:cNvPr id="1489" name="Google Shape;1489;p24"/>
          <p:cNvGrpSpPr/>
          <p:nvPr/>
        </p:nvGrpSpPr>
        <p:grpSpPr>
          <a:xfrm>
            <a:off x="3969314" y="0"/>
            <a:ext cx="8222452" cy="1523637"/>
            <a:chOff x="2976985" y="0"/>
            <a:chExt cx="6166839" cy="1142728"/>
          </a:xfrm>
        </p:grpSpPr>
        <p:sp>
          <p:nvSpPr>
            <p:cNvPr id="1490" name="Google Shape;1490;p24"/>
            <p:cNvSpPr/>
            <p:nvPr/>
          </p:nvSpPr>
          <p:spPr>
            <a:xfrm>
              <a:off x="2976985" y="692685"/>
              <a:ext cx="484477" cy="400521"/>
            </a:xfrm>
            <a:custGeom>
              <a:avLst/>
              <a:gdLst/>
              <a:ahLst/>
              <a:cxnLst/>
              <a:rect l="l" t="t" r="r" b="b"/>
              <a:pathLst>
                <a:path w="223519" h="184785" extrusionOk="0">
                  <a:moveTo>
                    <a:pt x="50800" y="169545"/>
                  </a:moveTo>
                  <a:lnTo>
                    <a:pt x="203200" y="55880"/>
                  </a:lnTo>
                  <a:lnTo>
                    <a:pt x="223520" y="40640"/>
                  </a:lnTo>
                  <a:lnTo>
                    <a:pt x="193040" y="0"/>
                  </a:lnTo>
                  <a:lnTo>
                    <a:pt x="172720" y="15240"/>
                  </a:lnTo>
                  <a:lnTo>
                    <a:pt x="20320" y="128905"/>
                  </a:lnTo>
                  <a:lnTo>
                    <a:pt x="0" y="143510"/>
                  </a:lnTo>
                  <a:lnTo>
                    <a:pt x="30480" y="18478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491" name="Google Shape;1491;p24"/>
            <p:cNvSpPr/>
            <p:nvPr/>
          </p:nvSpPr>
          <p:spPr>
            <a:xfrm>
              <a:off x="4741061" y="670653"/>
              <a:ext cx="485856" cy="444563"/>
            </a:xfrm>
            <a:custGeom>
              <a:avLst/>
              <a:gdLst/>
              <a:ahLst/>
              <a:cxnLst/>
              <a:rect l="l" t="t" r="r" b="b"/>
              <a:pathLst>
                <a:path w="224155" h="205104" extrusionOk="0">
                  <a:moveTo>
                    <a:pt x="52705" y="187960"/>
                  </a:moveTo>
                  <a:lnTo>
                    <a:pt x="205105" y="54610"/>
                  </a:lnTo>
                  <a:lnTo>
                    <a:pt x="224155" y="38100"/>
                  </a:lnTo>
                  <a:lnTo>
                    <a:pt x="190500" y="0"/>
                  </a:lnTo>
                  <a:lnTo>
                    <a:pt x="171450" y="16510"/>
                  </a:lnTo>
                  <a:lnTo>
                    <a:pt x="19050" y="149860"/>
                  </a:lnTo>
                  <a:lnTo>
                    <a:pt x="0" y="166370"/>
                  </a:lnTo>
                  <a:lnTo>
                    <a:pt x="33020" y="20510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492" name="Google Shape;1492;p24"/>
            <p:cNvSpPr/>
            <p:nvPr/>
          </p:nvSpPr>
          <p:spPr>
            <a:xfrm>
              <a:off x="3223803" y="0"/>
              <a:ext cx="432178" cy="345467"/>
            </a:xfrm>
            <a:custGeom>
              <a:avLst/>
              <a:gdLst/>
              <a:ahLst/>
              <a:cxnLst/>
              <a:rect l="l" t="t" r="r" b="b"/>
              <a:pathLst>
                <a:path w="199390" h="159385" extrusionOk="0">
                  <a:moveTo>
                    <a:pt x="53340" y="141605"/>
                  </a:moveTo>
                  <a:lnTo>
                    <a:pt x="199390" y="0"/>
                  </a:lnTo>
                  <a:lnTo>
                    <a:pt x="126365" y="0"/>
                  </a:lnTo>
                  <a:lnTo>
                    <a:pt x="17780" y="105410"/>
                  </a:lnTo>
                  <a:lnTo>
                    <a:pt x="0" y="123190"/>
                  </a:lnTo>
                  <a:lnTo>
                    <a:pt x="34925" y="15938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493" name="Google Shape;1493;p24"/>
            <p:cNvSpPr/>
            <p:nvPr/>
          </p:nvSpPr>
          <p:spPr>
            <a:xfrm>
              <a:off x="5077394" y="0"/>
              <a:ext cx="423920" cy="355099"/>
            </a:xfrm>
            <a:custGeom>
              <a:avLst/>
              <a:gdLst/>
              <a:ahLst/>
              <a:cxnLst/>
              <a:rect l="l" t="t" r="r" b="b"/>
              <a:pathLst>
                <a:path w="195580" h="163829" extrusionOk="0">
                  <a:moveTo>
                    <a:pt x="53975" y="145415"/>
                  </a:moveTo>
                  <a:lnTo>
                    <a:pt x="195580" y="0"/>
                  </a:lnTo>
                  <a:lnTo>
                    <a:pt x="125095" y="0"/>
                  </a:lnTo>
                  <a:lnTo>
                    <a:pt x="17780" y="109855"/>
                  </a:lnTo>
                  <a:lnTo>
                    <a:pt x="0" y="128270"/>
                  </a:lnTo>
                  <a:lnTo>
                    <a:pt x="36195" y="16383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494" name="Google Shape;1494;p24"/>
            <p:cNvSpPr/>
            <p:nvPr/>
          </p:nvSpPr>
          <p:spPr>
            <a:xfrm>
              <a:off x="6454505" y="644486"/>
              <a:ext cx="485856" cy="495490"/>
            </a:xfrm>
            <a:custGeom>
              <a:avLst/>
              <a:gdLst/>
              <a:ahLst/>
              <a:cxnLst/>
              <a:rect l="l" t="t" r="r" b="b"/>
              <a:pathLst>
                <a:path w="224155" h="228600" extrusionOk="0">
                  <a:moveTo>
                    <a:pt x="53975" y="210185"/>
                  </a:moveTo>
                  <a:lnTo>
                    <a:pt x="206375" y="53975"/>
                  </a:lnTo>
                  <a:lnTo>
                    <a:pt x="224155" y="35560"/>
                  </a:lnTo>
                  <a:lnTo>
                    <a:pt x="187961" y="0"/>
                  </a:lnTo>
                  <a:lnTo>
                    <a:pt x="170180" y="18415"/>
                  </a:lnTo>
                  <a:lnTo>
                    <a:pt x="17780" y="174625"/>
                  </a:lnTo>
                  <a:lnTo>
                    <a:pt x="0" y="193040"/>
                  </a:lnTo>
                  <a:lnTo>
                    <a:pt x="36195" y="22860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495" name="Google Shape;1495;p24"/>
            <p:cNvSpPr/>
            <p:nvPr/>
          </p:nvSpPr>
          <p:spPr>
            <a:xfrm>
              <a:off x="6947512" y="0"/>
              <a:ext cx="422541" cy="357854"/>
            </a:xfrm>
            <a:custGeom>
              <a:avLst/>
              <a:gdLst/>
              <a:ahLst/>
              <a:cxnLst/>
              <a:rect l="l" t="t" r="r" b="b"/>
              <a:pathLst>
                <a:path w="194944" h="165100" extrusionOk="0">
                  <a:moveTo>
                    <a:pt x="54610" y="146685"/>
                  </a:moveTo>
                  <a:lnTo>
                    <a:pt x="194945" y="0"/>
                  </a:lnTo>
                  <a:lnTo>
                    <a:pt x="124460" y="0"/>
                  </a:lnTo>
                  <a:lnTo>
                    <a:pt x="17780" y="111125"/>
                  </a:lnTo>
                  <a:lnTo>
                    <a:pt x="0" y="129540"/>
                  </a:lnTo>
                  <a:lnTo>
                    <a:pt x="36830" y="16510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496" name="Google Shape;1496;p24"/>
            <p:cNvSpPr/>
            <p:nvPr/>
          </p:nvSpPr>
          <p:spPr>
            <a:xfrm>
              <a:off x="8324623" y="643111"/>
              <a:ext cx="485856" cy="499617"/>
            </a:xfrm>
            <a:custGeom>
              <a:avLst/>
              <a:gdLst/>
              <a:ahLst/>
              <a:cxnLst/>
              <a:rect l="l" t="t" r="r" b="b"/>
              <a:pathLst>
                <a:path w="224155" h="230504" extrusionOk="0">
                  <a:moveTo>
                    <a:pt x="54610" y="212090"/>
                  </a:moveTo>
                  <a:lnTo>
                    <a:pt x="207010" y="53340"/>
                  </a:lnTo>
                  <a:lnTo>
                    <a:pt x="224155" y="34925"/>
                  </a:lnTo>
                  <a:lnTo>
                    <a:pt x="187960" y="0"/>
                  </a:lnTo>
                  <a:lnTo>
                    <a:pt x="170180" y="17780"/>
                  </a:lnTo>
                  <a:lnTo>
                    <a:pt x="17780" y="176530"/>
                  </a:lnTo>
                  <a:lnTo>
                    <a:pt x="0" y="194945"/>
                  </a:lnTo>
                  <a:lnTo>
                    <a:pt x="36830" y="23050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497" name="Google Shape;1497;p24"/>
            <p:cNvSpPr/>
            <p:nvPr/>
          </p:nvSpPr>
          <p:spPr>
            <a:xfrm>
              <a:off x="8816249" y="0"/>
              <a:ext cx="327574" cy="352349"/>
            </a:xfrm>
            <a:custGeom>
              <a:avLst/>
              <a:gdLst/>
              <a:ahLst/>
              <a:cxnLst/>
              <a:rect l="l" t="t" r="r" b="b"/>
              <a:pathLst>
                <a:path w="151130" h="162560" extrusionOk="0">
                  <a:moveTo>
                    <a:pt x="125095" y="0"/>
                  </a:moveTo>
                  <a:lnTo>
                    <a:pt x="17780" y="109220"/>
                  </a:lnTo>
                  <a:lnTo>
                    <a:pt x="0" y="127000"/>
                  </a:lnTo>
                  <a:lnTo>
                    <a:pt x="36195" y="162560"/>
                  </a:lnTo>
                  <a:lnTo>
                    <a:pt x="53975" y="144780"/>
                  </a:lnTo>
                  <a:lnTo>
                    <a:pt x="151130" y="45720"/>
                  </a:lnTo>
                  <a:lnTo>
                    <a:pt x="15113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grpSp>
    </p:spTree>
    <p:extLst>
      <p:ext uri="{BB962C8B-B14F-4D97-AF65-F5344CB8AC3E}">
        <p14:creationId xmlns:p14="http://schemas.microsoft.com/office/powerpoint/2010/main" val="50038170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matchingName="Divider Slide - Eclipse with Pattern">
  <p:cSld name="Divider Slide - Eclipse with Pattern">
    <p:bg>
      <p:bgPr>
        <a:solidFill>
          <a:schemeClr val="accent2"/>
        </a:solidFill>
        <a:effectLst/>
      </p:bgPr>
    </p:bg>
    <p:spTree>
      <p:nvGrpSpPr>
        <p:cNvPr id="1" name="Shape 1498"/>
        <p:cNvGrpSpPr/>
        <p:nvPr/>
      </p:nvGrpSpPr>
      <p:grpSpPr>
        <a:xfrm>
          <a:off x="0" y="0"/>
          <a:ext cx="0" cy="0"/>
          <a:chOff x="0" y="0"/>
          <a:chExt cx="0" cy="0"/>
        </a:xfrm>
      </p:grpSpPr>
      <p:sp>
        <p:nvSpPr>
          <p:cNvPr id="1499" name="Google Shape;1499;p25"/>
          <p:cNvSpPr txBox="1"/>
          <p:nvPr/>
        </p:nvSpPr>
        <p:spPr>
          <a:xfrm>
            <a:off x="481600" y="6245247"/>
            <a:ext cx="1288400" cy="273200"/>
          </a:xfrm>
          <a:prstGeom prst="rect">
            <a:avLst/>
          </a:prstGeom>
          <a:noFill/>
          <a:ln>
            <a:noFill/>
          </a:ln>
        </p:spPr>
        <p:txBody>
          <a:bodyPr spcFirstLastPara="1" wrap="square" lIns="0" tIns="0" rIns="0" bIns="0" anchor="b" anchorCtr="0">
            <a:noAutofit/>
          </a:bodyPr>
          <a:lstStyle/>
          <a:p>
            <a:pPr marL="0" lvl="0" indent="0" algn="l" rtl="0">
              <a:spcBef>
                <a:spcPts val="0"/>
              </a:spcBef>
              <a:spcAft>
                <a:spcPts val="0"/>
              </a:spcAft>
              <a:buNone/>
            </a:pPr>
            <a:r>
              <a:rPr lang="en-GB" sz="667">
                <a:solidFill>
                  <a:schemeClr val="dk2"/>
                </a:solidFill>
                <a:latin typeface="Inter"/>
                <a:ea typeface="Inter"/>
                <a:cs typeface="Inter"/>
                <a:sym typeface="Inter"/>
              </a:rPr>
              <a:t>Multiverse</a:t>
            </a:r>
            <a:endParaRPr sz="667">
              <a:solidFill>
                <a:schemeClr val="dk2"/>
              </a:solidFill>
              <a:latin typeface="Inter"/>
              <a:ea typeface="Inter"/>
              <a:cs typeface="Inter"/>
              <a:sym typeface="Inter"/>
            </a:endParaRPr>
          </a:p>
        </p:txBody>
      </p:sp>
      <p:sp>
        <p:nvSpPr>
          <p:cNvPr id="1500" name="Google Shape;1500;p25"/>
          <p:cNvSpPr/>
          <p:nvPr/>
        </p:nvSpPr>
        <p:spPr>
          <a:xfrm>
            <a:off x="481601" y="414630"/>
            <a:ext cx="349111" cy="305471"/>
          </a:xfrm>
          <a:custGeom>
            <a:avLst/>
            <a:gdLst/>
            <a:ahLst/>
            <a:cxnLst/>
            <a:rect l="l" t="t" r="r" b="b"/>
            <a:pathLst>
              <a:path w="1586865" h="1388506" extrusionOk="0">
                <a:moveTo>
                  <a:pt x="1083683" y="969931"/>
                </a:moveTo>
                <a:lnTo>
                  <a:pt x="1083683" y="579692"/>
                </a:lnTo>
                <a:lnTo>
                  <a:pt x="849297" y="969931"/>
                </a:lnTo>
                <a:lnTo>
                  <a:pt x="848892" y="969931"/>
                </a:lnTo>
                <a:cubicBezTo>
                  <a:pt x="848892" y="969931"/>
                  <a:pt x="848892" y="969931"/>
                  <a:pt x="848892" y="969931"/>
                </a:cubicBezTo>
                <a:lnTo>
                  <a:pt x="738783" y="969931"/>
                </a:lnTo>
                <a:lnTo>
                  <a:pt x="738783" y="577668"/>
                </a:lnTo>
                <a:lnTo>
                  <a:pt x="549735" y="892612"/>
                </a:lnTo>
                <a:cubicBezTo>
                  <a:pt x="527876" y="929449"/>
                  <a:pt x="510873" y="958191"/>
                  <a:pt x="503992" y="969931"/>
                </a:cubicBezTo>
                <a:lnTo>
                  <a:pt x="393073" y="969931"/>
                </a:lnTo>
                <a:lnTo>
                  <a:pt x="393073" y="418576"/>
                </a:lnTo>
                <a:lnTo>
                  <a:pt x="503992" y="418576"/>
                </a:lnTo>
                <a:lnTo>
                  <a:pt x="502777" y="760643"/>
                </a:lnTo>
                <a:lnTo>
                  <a:pt x="503587" y="782098"/>
                </a:lnTo>
                <a:lnTo>
                  <a:pt x="721781" y="418981"/>
                </a:lnTo>
                <a:lnTo>
                  <a:pt x="721781" y="418981"/>
                </a:lnTo>
                <a:lnTo>
                  <a:pt x="721781" y="418981"/>
                </a:lnTo>
                <a:lnTo>
                  <a:pt x="739188" y="418981"/>
                </a:lnTo>
                <a:lnTo>
                  <a:pt x="847678" y="418981"/>
                </a:lnTo>
                <a:cubicBezTo>
                  <a:pt x="847678" y="418981"/>
                  <a:pt x="848487" y="722995"/>
                  <a:pt x="848892" y="783717"/>
                </a:cubicBezTo>
                <a:lnTo>
                  <a:pt x="1067895" y="418981"/>
                </a:lnTo>
                <a:lnTo>
                  <a:pt x="1067895" y="418981"/>
                </a:lnTo>
                <a:lnTo>
                  <a:pt x="1067895" y="418981"/>
                </a:lnTo>
                <a:lnTo>
                  <a:pt x="1085302" y="418981"/>
                </a:lnTo>
                <a:lnTo>
                  <a:pt x="1193387" y="418981"/>
                </a:lnTo>
                <a:lnTo>
                  <a:pt x="1193387" y="970336"/>
                </a:lnTo>
                <a:lnTo>
                  <a:pt x="1083683" y="970336"/>
                </a:lnTo>
                <a:close/>
                <a:moveTo>
                  <a:pt x="1190149" y="0"/>
                </a:moveTo>
                <a:lnTo>
                  <a:pt x="396716" y="0"/>
                </a:lnTo>
                <a:lnTo>
                  <a:pt x="0" y="694253"/>
                </a:lnTo>
                <a:lnTo>
                  <a:pt x="396716" y="1388507"/>
                </a:lnTo>
                <a:lnTo>
                  <a:pt x="1190149" y="1388507"/>
                </a:lnTo>
                <a:lnTo>
                  <a:pt x="1586865" y="694253"/>
                </a:lnTo>
                <a:lnTo>
                  <a:pt x="1190149" y="0"/>
                </a:lnTo>
                <a:close/>
              </a:path>
            </a:pathLst>
          </a:custGeom>
          <a:solidFill>
            <a:schemeClr val="dk2"/>
          </a:solidFill>
          <a:ln>
            <a:noFill/>
          </a:ln>
        </p:spPr>
        <p:txBody>
          <a:bodyPr spcFirstLastPara="1" wrap="square" lIns="91433" tIns="45700" rIns="91433" bIns="45700"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501" name="Google Shape;1501;p25"/>
          <p:cNvSpPr txBox="1">
            <a:spLocks noGrp="1"/>
          </p:cNvSpPr>
          <p:nvPr>
            <p:ph type="title"/>
          </p:nvPr>
        </p:nvSpPr>
        <p:spPr>
          <a:xfrm>
            <a:off x="470667" y="2309467"/>
            <a:ext cx="8660800" cy="2564000"/>
          </a:xfrm>
          <a:prstGeom prst="rect">
            <a:avLst/>
          </a:prstGeom>
        </p:spPr>
        <p:txBody>
          <a:bodyPr spcFirstLastPara="1" wrap="square" lIns="0" tIns="91425" rIns="91425" bIns="91425" anchor="t" anchorCtr="0">
            <a:noAutofit/>
          </a:bodyPr>
          <a:lstStyle>
            <a:lvl1pPr lvl="0" rtl="0">
              <a:lnSpc>
                <a:spcPct val="85000"/>
              </a:lnSpc>
              <a:spcBef>
                <a:spcPts val="0"/>
              </a:spcBef>
              <a:spcAft>
                <a:spcPts val="0"/>
              </a:spcAft>
              <a:buSzPts val="4600"/>
              <a:buFont typeface="Inter Medium"/>
              <a:buNone/>
              <a:defRPr sz="6133">
                <a:latin typeface="Inter Medium"/>
                <a:ea typeface="Inter Medium"/>
                <a:cs typeface="Inter Medium"/>
                <a:sym typeface="Inter Medium"/>
              </a:defRPr>
            </a:lvl1pPr>
            <a:lvl2pPr lvl="1" rtl="0">
              <a:lnSpc>
                <a:spcPct val="75000"/>
              </a:lnSpc>
              <a:spcBef>
                <a:spcPts val="0"/>
              </a:spcBef>
              <a:spcAft>
                <a:spcPts val="0"/>
              </a:spcAft>
              <a:buSzPts val="1100"/>
              <a:buNone/>
              <a:defRPr/>
            </a:lvl2pPr>
            <a:lvl3pPr lvl="2" rtl="0">
              <a:lnSpc>
                <a:spcPct val="75000"/>
              </a:lnSpc>
              <a:spcBef>
                <a:spcPts val="0"/>
              </a:spcBef>
              <a:spcAft>
                <a:spcPts val="0"/>
              </a:spcAft>
              <a:buSzPts val="1100"/>
              <a:buNone/>
              <a:defRPr/>
            </a:lvl3pPr>
            <a:lvl4pPr lvl="3" rtl="0">
              <a:lnSpc>
                <a:spcPct val="75000"/>
              </a:lnSpc>
              <a:spcBef>
                <a:spcPts val="0"/>
              </a:spcBef>
              <a:spcAft>
                <a:spcPts val="0"/>
              </a:spcAft>
              <a:buSzPts val="1100"/>
              <a:buNone/>
              <a:defRPr/>
            </a:lvl4pPr>
            <a:lvl5pPr lvl="4" rtl="0">
              <a:lnSpc>
                <a:spcPct val="75000"/>
              </a:lnSpc>
              <a:spcBef>
                <a:spcPts val="0"/>
              </a:spcBef>
              <a:spcAft>
                <a:spcPts val="0"/>
              </a:spcAft>
              <a:buSzPts val="1100"/>
              <a:buNone/>
              <a:defRPr/>
            </a:lvl5pPr>
            <a:lvl6pPr lvl="5" rtl="0">
              <a:lnSpc>
                <a:spcPct val="75000"/>
              </a:lnSpc>
              <a:spcBef>
                <a:spcPts val="0"/>
              </a:spcBef>
              <a:spcAft>
                <a:spcPts val="0"/>
              </a:spcAft>
              <a:buSzPts val="1100"/>
              <a:buNone/>
              <a:defRPr/>
            </a:lvl6pPr>
            <a:lvl7pPr lvl="6" rtl="0">
              <a:lnSpc>
                <a:spcPct val="75000"/>
              </a:lnSpc>
              <a:spcBef>
                <a:spcPts val="0"/>
              </a:spcBef>
              <a:spcAft>
                <a:spcPts val="0"/>
              </a:spcAft>
              <a:buSzPts val="1100"/>
              <a:buNone/>
              <a:defRPr/>
            </a:lvl7pPr>
            <a:lvl8pPr lvl="7" rtl="0">
              <a:lnSpc>
                <a:spcPct val="75000"/>
              </a:lnSpc>
              <a:spcBef>
                <a:spcPts val="0"/>
              </a:spcBef>
              <a:spcAft>
                <a:spcPts val="0"/>
              </a:spcAft>
              <a:buSzPts val="1100"/>
              <a:buNone/>
              <a:defRPr/>
            </a:lvl8pPr>
            <a:lvl9pPr lvl="8" rtl="0">
              <a:lnSpc>
                <a:spcPct val="75000"/>
              </a:lnSpc>
              <a:spcBef>
                <a:spcPts val="0"/>
              </a:spcBef>
              <a:spcAft>
                <a:spcPts val="0"/>
              </a:spcAft>
              <a:buSzPts val="1100"/>
              <a:buNone/>
              <a:defRPr/>
            </a:lvl9pPr>
          </a:lstStyle>
          <a:p>
            <a:endParaRPr/>
          </a:p>
        </p:txBody>
      </p:sp>
      <p:grpSp>
        <p:nvGrpSpPr>
          <p:cNvPr id="1502" name="Google Shape;1502;p25"/>
          <p:cNvGrpSpPr/>
          <p:nvPr/>
        </p:nvGrpSpPr>
        <p:grpSpPr>
          <a:xfrm>
            <a:off x="3969314" y="0"/>
            <a:ext cx="8222452" cy="1523637"/>
            <a:chOff x="2976985" y="0"/>
            <a:chExt cx="6166839" cy="1142728"/>
          </a:xfrm>
        </p:grpSpPr>
        <p:sp>
          <p:nvSpPr>
            <p:cNvPr id="1503" name="Google Shape;1503;p25"/>
            <p:cNvSpPr/>
            <p:nvPr/>
          </p:nvSpPr>
          <p:spPr>
            <a:xfrm>
              <a:off x="2976985" y="692685"/>
              <a:ext cx="484477" cy="400521"/>
            </a:xfrm>
            <a:custGeom>
              <a:avLst/>
              <a:gdLst/>
              <a:ahLst/>
              <a:cxnLst/>
              <a:rect l="l" t="t" r="r" b="b"/>
              <a:pathLst>
                <a:path w="223519" h="184785" extrusionOk="0">
                  <a:moveTo>
                    <a:pt x="50800" y="169545"/>
                  </a:moveTo>
                  <a:lnTo>
                    <a:pt x="203200" y="55880"/>
                  </a:lnTo>
                  <a:lnTo>
                    <a:pt x="223520" y="40640"/>
                  </a:lnTo>
                  <a:lnTo>
                    <a:pt x="193040" y="0"/>
                  </a:lnTo>
                  <a:lnTo>
                    <a:pt x="172720" y="15240"/>
                  </a:lnTo>
                  <a:lnTo>
                    <a:pt x="20320" y="128905"/>
                  </a:lnTo>
                  <a:lnTo>
                    <a:pt x="0" y="143510"/>
                  </a:lnTo>
                  <a:lnTo>
                    <a:pt x="30480" y="184785"/>
                  </a:lnTo>
                  <a:close/>
                </a:path>
              </a:pathLst>
            </a:custGeom>
            <a:solidFill>
              <a:schemeClr val="dk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504" name="Google Shape;1504;p25"/>
            <p:cNvSpPr/>
            <p:nvPr/>
          </p:nvSpPr>
          <p:spPr>
            <a:xfrm>
              <a:off x="4741061" y="670653"/>
              <a:ext cx="485856" cy="444563"/>
            </a:xfrm>
            <a:custGeom>
              <a:avLst/>
              <a:gdLst/>
              <a:ahLst/>
              <a:cxnLst/>
              <a:rect l="l" t="t" r="r" b="b"/>
              <a:pathLst>
                <a:path w="224155" h="205104" extrusionOk="0">
                  <a:moveTo>
                    <a:pt x="52705" y="187960"/>
                  </a:moveTo>
                  <a:lnTo>
                    <a:pt x="205105" y="54610"/>
                  </a:lnTo>
                  <a:lnTo>
                    <a:pt x="224155" y="38100"/>
                  </a:lnTo>
                  <a:lnTo>
                    <a:pt x="190500" y="0"/>
                  </a:lnTo>
                  <a:lnTo>
                    <a:pt x="171450" y="16510"/>
                  </a:lnTo>
                  <a:lnTo>
                    <a:pt x="19050" y="149860"/>
                  </a:lnTo>
                  <a:lnTo>
                    <a:pt x="0" y="166370"/>
                  </a:lnTo>
                  <a:lnTo>
                    <a:pt x="33020" y="205105"/>
                  </a:lnTo>
                  <a:close/>
                </a:path>
              </a:pathLst>
            </a:custGeom>
            <a:solidFill>
              <a:schemeClr val="dk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505" name="Google Shape;1505;p25"/>
            <p:cNvSpPr/>
            <p:nvPr/>
          </p:nvSpPr>
          <p:spPr>
            <a:xfrm>
              <a:off x="3223803" y="0"/>
              <a:ext cx="432178" cy="345467"/>
            </a:xfrm>
            <a:custGeom>
              <a:avLst/>
              <a:gdLst/>
              <a:ahLst/>
              <a:cxnLst/>
              <a:rect l="l" t="t" r="r" b="b"/>
              <a:pathLst>
                <a:path w="199390" h="159385" extrusionOk="0">
                  <a:moveTo>
                    <a:pt x="53340" y="141605"/>
                  </a:moveTo>
                  <a:lnTo>
                    <a:pt x="199390" y="0"/>
                  </a:lnTo>
                  <a:lnTo>
                    <a:pt x="126365" y="0"/>
                  </a:lnTo>
                  <a:lnTo>
                    <a:pt x="17780" y="105410"/>
                  </a:lnTo>
                  <a:lnTo>
                    <a:pt x="0" y="123190"/>
                  </a:lnTo>
                  <a:lnTo>
                    <a:pt x="34925" y="159385"/>
                  </a:lnTo>
                  <a:close/>
                </a:path>
              </a:pathLst>
            </a:custGeom>
            <a:solidFill>
              <a:schemeClr val="dk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506" name="Google Shape;1506;p25"/>
            <p:cNvSpPr/>
            <p:nvPr/>
          </p:nvSpPr>
          <p:spPr>
            <a:xfrm>
              <a:off x="5077394" y="0"/>
              <a:ext cx="423920" cy="355099"/>
            </a:xfrm>
            <a:custGeom>
              <a:avLst/>
              <a:gdLst/>
              <a:ahLst/>
              <a:cxnLst/>
              <a:rect l="l" t="t" r="r" b="b"/>
              <a:pathLst>
                <a:path w="195580" h="163829" extrusionOk="0">
                  <a:moveTo>
                    <a:pt x="53975" y="145415"/>
                  </a:moveTo>
                  <a:lnTo>
                    <a:pt x="195580" y="0"/>
                  </a:lnTo>
                  <a:lnTo>
                    <a:pt x="125095" y="0"/>
                  </a:lnTo>
                  <a:lnTo>
                    <a:pt x="17780" y="109855"/>
                  </a:lnTo>
                  <a:lnTo>
                    <a:pt x="0" y="128270"/>
                  </a:lnTo>
                  <a:lnTo>
                    <a:pt x="36195" y="163830"/>
                  </a:lnTo>
                  <a:close/>
                </a:path>
              </a:pathLst>
            </a:custGeom>
            <a:solidFill>
              <a:schemeClr val="dk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507" name="Google Shape;1507;p25"/>
            <p:cNvSpPr/>
            <p:nvPr/>
          </p:nvSpPr>
          <p:spPr>
            <a:xfrm>
              <a:off x="6454505" y="644486"/>
              <a:ext cx="485856" cy="495490"/>
            </a:xfrm>
            <a:custGeom>
              <a:avLst/>
              <a:gdLst/>
              <a:ahLst/>
              <a:cxnLst/>
              <a:rect l="l" t="t" r="r" b="b"/>
              <a:pathLst>
                <a:path w="224155" h="228600" extrusionOk="0">
                  <a:moveTo>
                    <a:pt x="53975" y="210185"/>
                  </a:moveTo>
                  <a:lnTo>
                    <a:pt x="206375" y="53975"/>
                  </a:lnTo>
                  <a:lnTo>
                    <a:pt x="224155" y="35560"/>
                  </a:lnTo>
                  <a:lnTo>
                    <a:pt x="187961" y="0"/>
                  </a:lnTo>
                  <a:lnTo>
                    <a:pt x="170180" y="18415"/>
                  </a:lnTo>
                  <a:lnTo>
                    <a:pt x="17780" y="174625"/>
                  </a:lnTo>
                  <a:lnTo>
                    <a:pt x="0" y="193040"/>
                  </a:lnTo>
                  <a:lnTo>
                    <a:pt x="36195" y="228600"/>
                  </a:lnTo>
                  <a:close/>
                </a:path>
              </a:pathLst>
            </a:custGeom>
            <a:solidFill>
              <a:schemeClr val="dk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508" name="Google Shape;1508;p25"/>
            <p:cNvSpPr/>
            <p:nvPr/>
          </p:nvSpPr>
          <p:spPr>
            <a:xfrm>
              <a:off x="6947512" y="0"/>
              <a:ext cx="422541" cy="357854"/>
            </a:xfrm>
            <a:custGeom>
              <a:avLst/>
              <a:gdLst/>
              <a:ahLst/>
              <a:cxnLst/>
              <a:rect l="l" t="t" r="r" b="b"/>
              <a:pathLst>
                <a:path w="194944" h="165100" extrusionOk="0">
                  <a:moveTo>
                    <a:pt x="54610" y="146685"/>
                  </a:moveTo>
                  <a:lnTo>
                    <a:pt x="194945" y="0"/>
                  </a:lnTo>
                  <a:lnTo>
                    <a:pt x="124460" y="0"/>
                  </a:lnTo>
                  <a:lnTo>
                    <a:pt x="17780" y="111125"/>
                  </a:lnTo>
                  <a:lnTo>
                    <a:pt x="0" y="129540"/>
                  </a:lnTo>
                  <a:lnTo>
                    <a:pt x="36830" y="165100"/>
                  </a:lnTo>
                  <a:close/>
                </a:path>
              </a:pathLst>
            </a:custGeom>
            <a:solidFill>
              <a:schemeClr val="dk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509" name="Google Shape;1509;p25"/>
            <p:cNvSpPr/>
            <p:nvPr/>
          </p:nvSpPr>
          <p:spPr>
            <a:xfrm>
              <a:off x="8324623" y="643111"/>
              <a:ext cx="485856" cy="499617"/>
            </a:xfrm>
            <a:custGeom>
              <a:avLst/>
              <a:gdLst/>
              <a:ahLst/>
              <a:cxnLst/>
              <a:rect l="l" t="t" r="r" b="b"/>
              <a:pathLst>
                <a:path w="224155" h="230504" extrusionOk="0">
                  <a:moveTo>
                    <a:pt x="54610" y="212090"/>
                  </a:moveTo>
                  <a:lnTo>
                    <a:pt x="207010" y="53340"/>
                  </a:lnTo>
                  <a:lnTo>
                    <a:pt x="224155" y="34925"/>
                  </a:lnTo>
                  <a:lnTo>
                    <a:pt x="187960" y="0"/>
                  </a:lnTo>
                  <a:lnTo>
                    <a:pt x="170180" y="17780"/>
                  </a:lnTo>
                  <a:lnTo>
                    <a:pt x="17780" y="176530"/>
                  </a:lnTo>
                  <a:lnTo>
                    <a:pt x="0" y="194945"/>
                  </a:lnTo>
                  <a:lnTo>
                    <a:pt x="36830" y="230505"/>
                  </a:lnTo>
                  <a:close/>
                </a:path>
              </a:pathLst>
            </a:custGeom>
            <a:solidFill>
              <a:schemeClr val="dk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510" name="Google Shape;1510;p25"/>
            <p:cNvSpPr/>
            <p:nvPr/>
          </p:nvSpPr>
          <p:spPr>
            <a:xfrm>
              <a:off x="8816249" y="0"/>
              <a:ext cx="327574" cy="352349"/>
            </a:xfrm>
            <a:custGeom>
              <a:avLst/>
              <a:gdLst/>
              <a:ahLst/>
              <a:cxnLst/>
              <a:rect l="l" t="t" r="r" b="b"/>
              <a:pathLst>
                <a:path w="151130" h="162560" extrusionOk="0">
                  <a:moveTo>
                    <a:pt x="125095" y="0"/>
                  </a:moveTo>
                  <a:lnTo>
                    <a:pt x="17780" y="109220"/>
                  </a:lnTo>
                  <a:lnTo>
                    <a:pt x="0" y="127000"/>
                  </a:lnTo>
                  <a:lnTo>
                    <a:pt x="36195" y="162560"/>
                  </a:lnTo>
                  <a:lnTo>
                    <a:pt x="53975" y="144780"/>
                  </a:lnTo>
                  <a:lnTo>
                    <a:pt x="151130" y="45720"/>
                  </a:lnTo>
                  <a:lnTo>
                    <a:pt x="151130" y="0"/>
                  </a:lnTo>
                  <a:close/>
                </a:path>
              </a:pathLst>
            </a:custGeom>
            <a:solidFill>
              <a:schemeClr val="dk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grpSp>
    </p:spTree>
    <p:extLst>
      <p:ext uri="{BB962C8B-B14F-4D97-AF65-F5344CB8AC3E}">
        <p14:creationId xmlns:p14="http://schemas.microsoft.com/office/powerpoint/2010/main" val="378349975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matchingName="Divider Slide - Dark Ultraviolet with Pattern">
  <p:cSld name="Divider Slide - Dark Ultraviolet with Pattern">
    <p:bg>
      <p:bgPr>
        <a:solidFill>
          <a:schemeClr val="accent5"/>
        </a:solidFill>
        <a:effectLst/>
      </p:bgPr>
    </p:bg>
    <p:spTree>
      <p:nvGrpSpPr>
        <p:cNvPr id="1" name="Shape 1511"/>
        <p:cNvGrpSpPr/>
        <p:nvPr/>
      </p:nvGrpSpPr>
      <p:grpSpPr>
        <a:xfrm>
          <a:off x="0" y="0"/>
          <a:ext cx="0" cy="0"/>
          <a:chOff x="0" y="0"/>
          <a:chExt cx="0" cy="0"/>
        </a:xfrm>
      </p:grpSpPr>
      <p:sp>
        <p:nvSpPr>
          <p:cNvPr id="1512" name="Google Shape;1512;p26"/>
          <p:cNvSpPr txBox="1"/>
          <p:nvPr/>
        </p:nvSpPr>
        <p:spPr>
          <a:xfrm>
            <a:off x="481600" y="6245247"/>
            <a:ext cx="1288400" cy="273200"/>
          </a:xfrm>
          <a:prstGeom prst="rect">
            <a:avLst/>
          </a:prstGeom>
          <a:noFill/>
          <a:ln>
            <a:noFill/>
          </a:ln>
        </p:spPr>
        <p:txBody>
          <a:bodyPr spcFirstLastPara="1" wrap="square" lIns="0" tIns="0" rIns="0" bIns="0" anchor="b" anchorCtr="0">
            <a:noAutofit/>
          </a:bodyPr>
          <a:lstStyle/>
          <a:p>
            <a:pPr marL="0" lvl="0" indent="0" algn="l" rtl="0">
              <a:spcBef>
                <a:spcPts val="0"/>
              </a:spcBef>
              <a:spcAft>
                <a:spcPts val="0"/>
              </a:spcAft>
              <a:buNone/>
            </a:pPr>
            <a:r>
              <a:rPr lang="en-GB" sz="667">
                <a:solidFill>
                  <a:schemeClr val="lt1"/>
                </a:solidFill>
                <a:latin typeface="Inter"/>
                <a:ea typeface="Inter"/>
                <a:cs typeface="Inter"/>
                <a:sym typeface="Inter"/>
              </a:rPr>
              <a:t>Multiverse</a:t>
            </a:r>
            <a:endParaRPr sz="667">
              <a:solidFill>
                <a:schemeClr val="lt1"/>
              </a:solidFill>
              <a:latin typeface="Inter"/>
              <a:ea typeface="Inter"/>
              <a:cs typeface="Inter"/>
              <a:sym typeface="Inter"/>
            </a:endParaRPr>
          </a:p>
        </p:txBody>
      </p:sp>
      <p:sp>
        <p:nvSpPr>
          <p:cNvPr id="1513" name="Google Shape;1513;p26"/>
          <p:cNvSpPr/>
          <p:nvPr/>
        </p:nvSpPr>
        <p:spPr>
          <a:xfrm>
            <a:off x="481601" y="414630"/>
            <a:ext cx="349111" cy="305471"/>
          </a:xfrm>
          <a:custGeom>
            <a:avLst/>
            <a:gdLst/>
            <a:ahLst/>
            <a:cxnLst/>
            <a:rect l="l" t="t" r="r" b="b"/>
            <a:pathLst>
              <a:path w="1586865" h="1388506" extrusionOk="0">
                <a:moveTo>
                  <a:pt x="1083683" y="969931"/>
                </a:moveTo>
                <a:lnTo>
                  <a:pt x="1083683" y="579692"/>
                </a:lnTo>
                <a:lnTo>
                  <a:pt x="849297" y="969931"/>
                </a:lnTo>
                <a:lnTo>
                  <a:pt x="848892" y="969931"/>
                </a:lnTo>
                <a:cubicBezTo>
                  <a:pt x="848892" y="969931"/>
                  <a:pt x="848892" y="969931"/>
                  <a:pt x="848892" y="969931"/>
                </a:cubicBezTo>
                <a:lnTo>
                  <a:pt x="738783" y="969931"/>
                </a:lnTo>
                <a:lnTo>
                  <a:pt x="738783" y="577668"/>
                </a:lnTo>
                <a:lnTo>
                  <a:pt x="549735" y="892612"/>
                </a:lnTo>
                <a:cubicBezTo>
                  <a:pt x="527876" y="929449"/>
                  <a:pt x="510873" y="958191"/>
                  <a:pt x="503992" y="969931"/>
                </a:cubicBezTo>
                <a:lnTo>
                  <a:pt x="393073" y="969931"/>
                </a:lnTo>
                <a:lnTo>
                  <a:pt x="393073" y="418576"/>
                </a:lnTo>
                <a:lnTo>
                  <a:pt x="503992" y="418576"/>
                </a:lnTo>
                <a:lnTo>
                  <a:pt x="502777" y="760643"/>
                </a:lnTo>
                <a:lnTo>
                  <a:pt x="503587" y="782098"/>
                </a:lnTo>
                <a:lnTo>
                  <a:pt x="721781" y="418981"/>
                </a:lnTo>
                <a:lnTo>
                  <a:pt x="721781" y="418981"/>
                </a:lnTo>
                <a:lnTo>
                  <a:pt x="721781" y="418981"/>
                </a:lnTo>
                <a:lnTo>
                  <a:pt x="739188" y="418981"/>
                </a:lnTo>
                <a:lnTo>
                  <a:pt x="847678" y="418981"/>
                </a:lnTo>
                <a:cubicBezTo>
                  <a:pt x="847678" y="418981"/>
                  <a:pt x="848487" y="722995"/>
                  <a:pt x="848892" y="783717"/>
                </a:cubicBezTo>
                <a:lnTo>
                  <a:pt x="1067895" y="418981"/>
                </a:lnTo>
                <a:lnTo>
                  <a:pt x="1067895" y="418981"/>
                </a:lnTo>
                <a:lnTo>
                  <a:pt x="1067895" y="418981"/>
                </a:lnTo>
                <a:lnTo>
                  <a:pt x="1085302" y="418981"/>
                </a:lnTo>
                <a:lnTo>
                  <a:pt x="1193387" y="418981"/>
                </a:lnTo>
                <a:lnTo>
                  <a:pt x="1193387" y="970336"/>
                </a:lnTo>
                <a:lnTo>
                  <a:pt x="1083683" y="970336"/>
                </a:lnTo>
                <a:close/>
                <a:moveTo>
                  <a:pt x="1190149" y="0"/>
                </a:moveTo>
                <a:lnTo>
                  <a:pt x="396716" y="0"/>
                </a:lnTo>
                <a:lnTo>
                  <a:pt x="0" y="694253"/>
                </a:lnTo>
                <a:lnTo>
                  <a:pt x="396716" y="1388507"/>
                </a:lnTo>
                <a:lnTo>
                  <a:pt x="1190149" y="1388507"/>
                </a:lnTo>
                <a:lnTo>
                  <a:pt x="1586865" y="694253"/>
                </a:lnTo>
                <a:lnTo>
                  <a:pt x="1190149" y="0"/>
                </a:lnTo>
                <a:close/>
              </a:path>
            </a:pathLst>
          </a:custGeom>
          <a:solidFill>
            <a:schemeClr val="dk2"/>
          </a:solidFill>
          <a:ln>
            <a:noFill/>
          </a:ln>
        </p:spPr>
        <p:txBody>
          <a:bodyPr spcFirstLastPara="1" wrap="square" lIns="91433" tIns="45700" rIns="91433" bIns="45700"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514" name="Google Shape;1514;p26"/>
          <p:cNvSpPr txBox="1">
            <a:spLocks noGrp="1"/>
          </p:cNvSpPr>
          <p:nvPr>
            <p:ph type="title"/>
          </p:nvPr>
        </p:nvSpPr>
        <p:spPr>
          <a:xfrm>
            <a:off x="470667" y="2309467"/>
            <a:ext cx="8660800" cy="2564000"/>
          </a:xfrm>
          <a:prstGeom prst="rect">
            <a:avLst/>
          </a:prstGeom>
        </p:spPr>
        <p:txBody>
          <a:bodyPr spcFirstLastPara="1" wrap="square" lIns="0" tIns="91425" rIns="91425" bIns="91425" anchor="t" anchorCtr="0">
            <a:noAutofit/>
          </a:bodyPr>
          <a:lstStyle>
            <a:lvl1pPr lvl="0" rtl="0">
              <a:lnSpc>
                <a:spcPct val="85000"/>
              </a:lnSpc>
              <a:spcBef>
                <a:spcPts val="0"/>
              </a:spcBef>
              <a:spcAft>
                <a:spcPts val="0"/>
              </a:spcAft>
              <a:buClr>
                <a:schemeClr val="lt1"/>
              </a:buClr>
              <a:buSzPts val="4600"/>
              <a:buFont typeface="Inter Medium"/>
              <a:buNone/>
              <a:defRPr sz="6133">
                <a:solidFill>
                  <a:schemeClr val="lt1"/>
                </a:solidFill>
                <a:latin typeface="Inter Medium"/>
                <a:ea typeface="Inter Medium"/>
                <a:cs typeface="Inter Medium"/>
                <a:sym typeface="Inter Medium"/>
              </a:defRPr>
            </a:lvl1pPr>
            <a:lvl2pPr lvl="1" rtl="0">
              <a:lnSpc>
                <a:spcPct val="75000"/>
              </a:lnSpc>
              <a:spcBef>
                <a:spcPts val="0"/>
              </a:spcBef>
              <a:spcAft>
                <a:spcPts val="0"/>
              </a:spcAft>
              <a:buSzPts val="1100"/>
              <a:buNone/>
              <a:defRPr/>
            </a:lvl2pPr>
            <a:lvl3pPr lvl="2" rtl="0">
              <a:lnSpc>
                <a:spcPct val="75000"/>
              </a:lnSpc>
              <a:spcBef>
                <a:spcPts val="0"/>
              </a:spcBef>
              <a:spcAft>
                <a:spcPts val="0"/>
              </a:spcAft>
              <a:buSzPts val="1100"/>
              <a:buNone/>
              <a:defRPr/>
            </a:lvl3pPr>
            <a:lvl4pPr lvl="3" rtl="0">
              <a:lnSpc>
                <a:spcPct val="75000"/>
              </a:lnSpc>
              <a:spcBef>
                <a:spcPts val="0"/>
              </a:spcBef>
              <a:spcAft>
                <a:spcPts val="0"/>
              </a:spcAft>
              <a:buSzPts val="1100"/>
              <a:buNone/>
              <a:defRPr/>
            </a:lvl4pPr>
            <a:lvl5pPr lvl="4" rtl="0">
              <a:lnSpc>
                <a:spcPct val="75000"/>
              </a:lnSpc>
              <a:spcBef>
                <a:spcPts val="0"/>
              </a:spcBef>
              <a:spcAft>
                <a:spcPts val="0"/>
              </a:spcAft>
              <a:buSzPts val="1100"/>
              <a:buNone/>
              <a:defRPr/>
            </a:lvl5pPr>
            <a:lvl6pPr lvl="5" rtl="0">
              <a:lnSpc>
                <a:spcPct val="75000"/>
              </a:lnSpc>
              <a:spcBef>
                <a:spcPts val="0"/>
              </a:spcBef>
              <a:spcAft>
                <a:spcPts val="0"/>
              </a:spcAft>
              <a:buSzPts val="1100"/>
              <a:buNone/>
              <a:defRPr/>
            </a:lvl6pPr>
            <a:lvl7pPr lvl="6" rtl="0">
              <a:lnSpc>
                <a:spcPct val="75000"/>
              </a:lnSpc>
              <a:spcBef>
                <a:spcPts val="0"/>
              </a:spcBef>
              <a:spcAft>
                <a:spcPts val="0"/>
              </a:spcAft>
              <a:buSzPts val="1100"/>
              <a:buNone/>
              <a:defRPr/>
            </a:lvl7pPr>
            <a:lvl8pPr lvl="7" rtl="0">
              <a:lnSpc>
                <a:spcPct val="75000"/>
              </a:lnSpc>
              <a:spcBef>
                <a:spcPts val="0"/>
              </a:spcBef>
              <a:spcAft>
                <a:spcPts val="0"/>
              </a:spcAft>
              <a:buSzPts val="1100"/>
              <a:buNone/>
              <a:defRPr/>
            </a:lvl8pPr>
            <a:lvl9pPr lvl="8" rtl="0">
              <a:lnSpc>
                <a:spcPct val="75000"/>
              </a:lnSpc>
              <a:spcBef>
                <a:spcPts val="0"/>
              </a:spcBef>
              <a:spcAft>
                <a:spcPts val="0"/>
              </a:spcAft>
              <a:buSzPts val="1100"/>
              <a:buNone/>
              <a:defRPr/>
            </a:lvl9pPr>
          </a:lstStyle>
          <a:p>
            <a:endParaRPr/>
          </a:p>
        </p:txBody>
      </p:sp>
      <p:grpSp>
        <p:nvGrpSpPr>
          <p:cNvPr id="1515" name="Google Shape;1515;p26"/>
          <p:cNvGrpSpPr/>
          <p:nvPr/>
        </p:nvGrpSpPr>
        <p:grpSpPr>
          <a:xfrm>
            <a:off x="3969314" y="0"/>
            <a:ext cx="8222452" cy="1523637"/>
            <a:chOff x="2976985" y="0"/>
            <a:chExt cx="6166839" cy="1142728"/>
          </a:xfrm>
        </p:grpSpPr>
        <p:sp>
          <p:nvSpPr>
            <p:cNvPr id="1516" name="Google Shape;1516;p26"/>
            <p:cNvSpPr/>
            <p:nvPr/>
          </p:nvSpPr>
          <p:spPr>
            <a:xfrm>
              <a:off x="2976985" y="692685"/>
              <a:ext cx="484477" cy="400521"/>
            </a:xfrm>
            <a:custGeom>
              <a:avLst/>
              <a:gdLst/>
              <a:ahLst/>
              <a:cxnLst/>
              <a:rect l="l" t="t" r="r" b="b"/>
              <a:pathLst>
                <a:path w="223519" h="184785" extrusionOk="0">
                  <a:moveTo>
                    <a:pt x="50800" y="169545"/>
                  </a:moveTo>
                  <a:lnTo>
                    <a:pt x="203200" y="55880"/>
                  </a:lnTo>
                  <a:lnTo>
                    <a:pt x="223520" y="40640"/>
                  </a:lnTo>
                  <a:lnTo>
                    <a:pt x="193040" y="0"/>
                  </a:lnTo>
                  <a:lnTo>
                    <a:pt x="172720" y="15240"/>
                  </a:lnTo>
                  <a:lnTo>
                    <a:pt x="20320" y="128905"/>
                  </a:lnTo>
                  <a:lnTo>
                    <a:pt x="0" y="143510"/>
                  </a:lnTo>
                  <a:lnTo>
                    <a:pt x="30480" y="184785"/>
                  </a:lnTo>
                  <a:close/>
                </a:path>
              </a:pathLst>
            </a:custGeom>
            <a:solidFill>
              <a:schemeClr val="dk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517" name="Google Shape;1517;p26"/>
            <p:cNvSpPr/>
            <p:nvPr/>
          </p:nvSpPr>
          <p:spPr>
            <a:xfrm>
              <a:off x="4741061" y="670653"/>
              <a:ext cx="485856" cy="444563"/>
            </a:xfrm>
            <a:custGeom>
              <a:avLst/>
              <a:gdLst/>
              <a:ahLst/>
              <a:cxnLst/>
              <a:rect l="l" t="t" r="r" b="b"/>
              <a:pathLst>
                <a:path w="224155" h="205104" extrusionOk="0">
                  <a:moveTo>
                    <a:pt x="52705" y="187960"/>
                  </a:moveTo>
                  <a:lnTo>
                    <a:pt x="205105" y="54610"/>
                  </a:lnTo>
                  <a:lnTo>
                    <a:pt x="224155" y="38100"/>
                  </a:lnTo>
                  <a:lnTo>
                    <a:pt x="190500" y="0"/>
                  </a:lnTo>
                  <a:lnTo>
                    <a:pt x="171450" y="16510"/>
                  </a:lnTo>
                  <a:lnTo>
                    <a:pt x="19050" y="149860"/>
                  </a:lnTo>
                  <a:lnTo>
                    <a:pt x="0" y="166370"/>
                  </a:lnTo>
                  <a:lnTo>
                    <a:pt x="33020" y="205105"/>
                  </a:lnTo>
                  <a:close/>
                </a:path>
              </a:pathLst>
            </a:custGeom>
            <a:solidFill>
              <a:schemeClr val="dk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518" name="Google Shape;1518;p26"/>
            <p:cNvSpPr/>
            <p:nvPr/>
          </p:nvSpPr>
          <p:spPr>
            <a:xfrm>
              <a:off x="3223803" y="0"/>
              <a:ext cx="432178" cy="345467"/>
            </a:xfrm>
            <a:custGeom>
              <a:avLst/>
              <a:gdLst/>
              <a:ahLst/>
              <a:cxnLst/>
              <a:rect l="l" t="t" r="r" b="b"/>
              <a:pathLst>
                <a:path w="199390" h="159385" extrusionOk="0">
                  <a:moveTo>
                    <a:pt x="53340" y="141605"/>
                  </a:moveTo>
                  <a:lnTo>
                    <a:pt x="199390" y="0"/>
                  </a:lnTo>
                  <a:lnTo>
                    <a:pt x="126365" y="0"/>
                  </a:lnTo>
                  <a:lnTo>
                    <a:pt x="17780" y="105410"/>
                  </a:lnTo>
                  <a:lnTo>
                    <a:pt x="0" y="123190"/>
                  </a:lnTo>
                  <a:lnTo>
                    <a:pt x="34925" y="159385"/>
                  </a:lnTo>
                  <a:close/>
                </a:path>
              </a:pathLst>
            </a:custGeom>
            <a:solidFill>
              <a:schemeClr val="dk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519" name="Google Shape;1519;p26"/>
            <p:cNvSpPr/>
            <p:nvPr/>
          </p:nvSpPr>
          <p:spPr>
            <a:xfrm>
              <a:off x="5077394" y="0"/>
              <a:ext cx="423920" cy="355099"/>
            </a:xfrm>
            <a:custGeom>
              <a:avLst/>
              <a:gdLst/>
              <a:ahLst/>
              <a:cxnLst/>
              <a:rect l="l" t="t" r="r" b="b"/>
              <a:pathLst>
                <a:path w="195580" h="163829" extrusionOk="0">
                  <a:moveTo>
                    <a:pt x="53975" y="145415"/>
                  </a:moveTo>
                  <a:lnTo>
                    <a:pt x="195580" y="0"/>
                  </a:lnTo>
                  <a:lnTo>
                    <a:pt x="125095" y="0"/>
                  </a:lnTo>
                  <a:lnTo>
                    <a:pt x="17780" y="109855"/>
                  </a:lnTo>
                  <a:lnTo>
                    <a:pt x="0" y="128270"/>
                  </a:lnTo>
                  <a:lnTo>
                    <a:pt x="36195" y="163830"/>
                  </a:lnTo>
                  <a:close/>
                </a:path>
              </a:pathLst>
            </a:custGeom>
            <a:solidFill>
              <a:schemeClr val="dk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520" name="Google Shape;1520;p26"/>
            <p:cNvSpPr/>
            <p:nvPr/>
          </p:nvSpPr>
          <p:spPr>
            <a:xfrm>
              <a:off x="6454505" y="644486"/>
              <a:ext cx="485856" cy="495490"/>
            </a:xfrm>
            <a:custGeom>
              <a:avLst/>
              <a:gdLst/>
              <a:ahLst/>
              <a:cxnLst/>
              <a:rect l="l" t="t" r="r" b="b"/>
              <a:pathLst>
                <a:path w="224155" h="228600" extrusionOk="0">
                  <a:moveTo>
                    <a:pt x="53975" y="210185"/>
                  </a:moveTo>
                  <a:lnTo>
                    <a:pt x="206375" y="53975"/>
                  </a:lnTo>
                  <a:lnTo>
                    <a:pt x="224155" y="35560"/>
                  </a:lnTo>
                  <a:lnTo>
                    <a:pt x="187961" y="0"/>
                  </a:lnTo>
                  <a:lnTo>
                    <a:pt x="170180" y="18415"/>
                  </a:lnTo>
                  <a:lnTo>
                    <a:pt x="17780" y="174625"/>
                  </a:lnTo>
                  <a:lnTo>
                    <a:pt x="0" y="193040"/>
                  </a:lnTo>
                  <a:lnTo>
                    <a:pt x="36195" y="228600"/>
                  </a:lnTo>
                  <a:close/>
                </a:path>
              </a:pathLst>
            </a:custGeom>
            <a:solidFill>
              <a:schemeClr val="dk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521" name="Google Shape;1521;p26"/>
            <p:cNvSpPr/>
            <p:nvPr/>
          </p:nvSpPr>
          <p:spPr>
            <a:xfrm>
              <a:off x="6947512" y="0"/>
              <a:ext cx="422541" cy="357854"/>
            </a:xfrm>
            <a:custGeom>
              <a:avLst/>
              <a:gdLst/>
              <a:ahLst/>
              <a:cxnLst/>
              <a:rect l="l" t="t" r="r" b="b"/>
              <a:pathLst>
                <a:path w="194944" h="165100" extrusionOk="0">
                  <a:moveTo>
                    <a:pt x="54610" y="146685"/>
                  </a:moveTo>
                  <a:lnTo>
                    <a:pt x="194945" y="0"/>
                  </a:lnTo>
                  <a:lnTo>
                    <a:pt x="124460" y="0"/>
                  </a:lnTo>
                  <a:lnTo>
                    <a:pt x="17780" y="111125"/>
                  </a:lnTo>
                  <a:lnTo>
                    <a:pt x="0" y="129540"/>
                  </a:lnTo>
                  <a:lnTo>
                    <a:pt x="36830" y="165100"/>
                  </a:lnTo>
                  <a:close/>
                </a:path>
              </a:pathLst>
            </a:custGeom>
            <a:solidFill>
              <a:schemeClr val="dk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522" name="Google Shape;1522;p26"/>
            <p:cNvSpPr/>
            <p:nvPr/>
          </p:nvSpPr>
          <p:spPr>
            <a:xfrm>
              <a:off x="8324623" y="643111"/>
              <a:ext cx="485856" cy="499617"/>
            </a:xfrm>
            <a:custGeom>
              <a:avLst/>
              <a:gdLst/>
              <a:ahLst/>
              <a:cxnLst/>
              <a:rect l="l" t="t" r="r" b="b"/>
              <a:pathLst>
                <a:path w="224155" h="230504" extrusionOk="0">
                  <a:moveTo>
                    <a:pt x="54610" y="212090"/>
                  </a:moveTo>
                  <a:lnTo>
                    <a:pt x="207010" y="53340"/>
                  </a:lnTo>
                  <a:lnTo>
                    <a:pt x="224155" y="34925"/>
                  </a:lnTo>
                  <a:lnTo>
                    <a:pt x="187960" y="0"/>
                  </a:lnTo>
                  <a:lnTo>
                    <a:pt x="170180" y="17780"/>
                  </a:lnTo>
                  <a:lnTo>
                    <a:pt x="17780" y="176530"/>
                  </a:lnTo>
                  <a:lnTo>
                    <a:pt x="0" y="194945"/>
                  </a:lnTo>
                  <a:lnTo>
                    <a:pt x="36830" y="230505"/>
                  </a:lnTo>
                  <a:close/>
                </a:path>
              </a:pathLst>
            </a:custGeom>
            <a:solidFill>
              <a:schemeClr val="dk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523" name="Google Shape;1523;p26"/>
            <p:cNvSpPr/>
            <p:nvPr/>
          </p:nvSpPr>
          <p:spPr>
            <a:xfrm>
              <a:off x="8816249" y="0"/>
              <a:ext cx="327574" cy="352349"/>
            </a:xfrm>
            <a:custGeom>
              <a:avLst/>
              <a:gdLst/>
              <a:ahLst/>
              <a:cxnLst/>
              <a:rect l="l" t="t" r="r" b="b"/>
              <a:pathLst>
                <a:path w="151130" h="162560" extrusionOk="0">
                  <a:moveTo>
                    <a:pt x="125095" y="0"/>
                  </a:moveTo>
                  <a:lnTo>
                    <a:pt x="17780" y="109220"/>
                  </a:lnTo>
                  <a:lnTo>
                    <a:pt x="0" y="127000"/>
                  </a:lnTo>
                  <a:lnTo>
                    <a:pt x="36195" y="162560"/>
                  </a:lnTo>
                  <a:lnTo>
                    <a:pt x="53975" y="144780"/>
                  </a:lnTo>
                  <a:lnTo>
                    <a:pt x="151130" y="45720"/>
                  </a:lnTo>
                  <a:lnTo>
                    <a:pt x="151130" y="0"/>
                  </a:lnTo>
                  <a:close/>
                </a:path>
              </a:pathLst>
            </a:custGeom>
            <a:solidFill>
              <a:schemeClr val="dk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grpSp>
      <p:sp>
        <p:nvSpPr>
          <p:cNvPr id="1524" name="Google Shape;1524;p26"/>
          <p:cNvSpPr txBox="1"/>
          <p:nvPr/>
        </p:nvSpPr>
        <p:spPr>
          <a:xfrm>
            <a:off x="5451800" y="6245247"/>
            <a:ext cx="1288400" cy="273200"/>
          </a:xfrm>
          <a:prstGeom prst="rect">
            <a:avLst/>
          </a:prstGeom>
          <a:noFill/>
          <a:ln>
            <a:noFill/>
          </a:ln>
        </p:spPr>
        <p:txBody>
          <a:bodyPr spcFirstLastPara="1" wrap="square" lIns="0" tIns="0" rIns="0" bIns="0" anchor="b" anchorCtr="0">
            <a:noAutofit/>
          </a:bodyPr>
          <a:lstStyle/>
          <a:p>
            <a:pPr marL="0" lvl="0" indent="0" algn="ctr" rtl="0">
              <a:spcBef>
                <a:spcPts val="0"/>
              </a:spcBef>
              <a:spcAft>
                <a:spcPts val="0"/>
              </a:spcAft>
              <a:buNone/>
            </a:pPr>
            <a:r>
              <a:rPr lang="en-GB" sz="667">
                <a:solidFill>
                  <a:schemeClr val="lt1"/>
                </a:solidFill>
                <a:latin typeface="Inter"/>
                <a:ea typeface="Inter"/>
                <a:cs typeface="Inter"/>
                <a:sym typeface="Inter"/>
              </a:rPr>
              <a:t>Private and Confidential</a:t>
            </a:r>
            <a:endParaRPr sz="667">
              <a:solidFill>
                <a:schemeClr val="lt1"/>
              </a:solidFill>
              <a:latin typeface="Inter"/>
              <a:ea typeface="Inter"/>
              <a:cs typeface="Inter"/>
              <a:sym typeface="Inter"/>
            </a:endParaRPr>
          </a:p>
        </p:txBody>
      </p:sp>
    </p:spTree>
    <p:extLst>
      <p:ext uri="{BB962C8B-B14F-4D97-AF65-F5344CB8AC3E}">
        <p14:creationId xmlns:p14="http://schemas.microsoft.com/office/powerpoint/2010/main" val="226024651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matchingName="Divider Slide - Starlight with Pattern">
  <p:cSld name="Divider Slide - Starlight with Pattern">
    <p:bg>
      <p:bgPr>
        <a:solidFill>
          <a:schemeClr val="accent1"/>
        </a:solidFill>
        <a:effectLst/>
      </p:bgPr>
    </p:bg>
    <p:spTree>
      <p:nvGrpSpPr>
        <p:cNvPr id="1" name="Shape 1525"/>
        <p:cNvGrpSpPr/>
        <p:nvPr/>
      </p:nvGrpSpPr>
      <p:grpSpPr>
        <a:xfrm>
          <a:off x="0" y="0"/>
          <a:ext cx="0" cy="0"/>
          <a:chOff x="0" y="0"/>
          <a:chExt cx="0" cy="0"/>
        </a:xfrm>
      </p:grpSpPr>
      <p:sp>
        <p:nvSpPr>
          <p:cNvPr id="1526" name="Google Shape;1526;p27"/>
          <p:cNvSpPr txBox="1"/>
          <p:nvPr/>
        </p:nvSpPr>
        <p:spPr>
          <a:xfrm>
            <a:off x="481600" y="6245247"/>
            <a:ext cx="1288400" cy="273200"/>
          </a:xfrm>
          <a:prstGeom prst="rect">
            <a:avLst/>
          </a:prstGeom>
          <a:noFill/>
          <a:ln>
            <a:noFill/>
          </a:ln>
        </p:spPr>
        <p:txBody>
          <a:bodyPr spcFirstLastPara="1" wrap="square" lIns="0" tIns="0" rIns="0" bIns="0" anchor="b" anchorCtr="0">
            <a:noAutofit/>
          </a:bodyPr>
          <a:lstStyle/>
          <a:p>
            <a:pPr marL="0" lvl="0" indent="0" algn="l" rtl="0">
              <a:spcBef>
                <a:spcPts val="0"/>
              </a:spcBef>
              <a:spcAft>
                <a:spcPts val="0"/>
              </a:spcAft>
              <a:buNone/>
            </a:pPr>
            <a:r>
              <a:rPr lang="en-GB" sz="667">
                <a:solidFill>
                  <a:schemeClr val="lt1"/>
                </a:solidFill>
                <a:latin typeface="Inter"/>
                <a:ea typeface="Inter"/>
                <a:cs typeface="Inter"/>
                <a:sym typeface="Inter"/>
              </a:rPr>
              <a:t>Multiverse</a:t>
            </a:r>
            <a:endParaRPr sz="667">
              <a:solidFill>
                <a:schemeClr val="lt1"/>
              </a:solidFill>
              <a:latin typeface="Inter"/>
              <a:ea typeface="Inter"/>
              <a:cs typeface="Inter"/>
              <a:sym typeface="Inter"/>
            </a:endParaRPr>
          </a:p>
        </p:txBody>
      </p:sp>
      <p:sp>
        <p:nvSpPr>
          <p:cNvPr id="1527" name="Google Shape;1527;p27"/>
          <p:cNvSpPr/>
          <p:nvPr/>
        </p:nvSpPr>
        <p:spPr>
          <a:xfrm>
            <a:off x="481601" y="414630"/>
            <a:ext cx="349111" cy="305471"/>
          </a:xfrm>
          <a:custGeom>
            <a:avLst/>
            <a:gdLst/>
            <a:ahLst/>
            <a:cxnLst/>
            <a:rect l="l" t="t" r="r" b="b"/>
            <a:pathLst>
              <a:path w="1586865" h="1388506" extrusionOk="0">
                <a:moveTo>
                  <a:pt x="1083683" y="969931"/>
                </a:moveTo>
                <a:lnTo>
                  <a:pt x="1083683" y="579692"/>
                </a:lnTo>
                <a:lnTo>
                  <a:pt x="849297" y="969931"/>
                </a:lnTo>
                <a:lnTo>
                  <a:pt x="848892" y="969931"/>
                </a:lnTo>
                <a:cubicBezTo>
                  <a:pt x="848892" y="969931"/>
                  <a:pt x="848892" y="969931"/>
                  <a:pt x="848892" y="969931"/>
                </a:cubicBezTo>
                <a:lnTo>
                  <a:pt x="738783" y="969931"/>
                </a:lnTo>
                <a:lnTo>
                  <a:pt x="738783" y="577668"/>
                </a:lnTo>
                <a:lnTo>
                  <a:pt x="549735" y="892612"/>
                </a:lnTo>
                <a:cubicBezTo>
                  <a:pt x="527876" y="929449"/>
                  <a:pt x="510873" y="958191"/>
                  <a:pt x="503992" y="969931"/>
                </a:cubicBezTo>
                <a:lnTo>
                  <a:pt x="393073" y="969931"/>
                </a:lnTo>
                <a:lnTo>
                  <a:pt x="393073" y="418576"/>
                </a:lnTo>
                <a:lnTo>
                  <a:pt x="503992" y="418576"/>
                </a:lnTo>
                <a:lnTo>
                  <a:pt x="502777" y="760643"/>
                </a:lnTo>
                <a:lnTo>
                  <a:pt x="503587" y="782098"/>
                </a:lnTo>
                <a:lnTo>
                  <a:pt x="721781" y="418981"/>
                </a:lnTo>
                <a:lnTo>
                  <a:pt x="721781" y="418981"/>
                </a:lnTo>
                <a:lnTo>
                  <a:pt x="721781" y="418981"/>
                </a:lnTo>
                <a:lnTo>
                  <a:pt x="739188" y="418981"/>
                </a:lnTo>
                <a:lnTo>
                  <a:pt x="847678" y="418981"/>
                </a:lnTo>
                <a:cubicBezTo>
                  <a:pt x="847678" y="418981"/>
                  <a:pt x="848487" y="722995"/>
                  <a:pt x="848892" y="783717"/>
                </a:cubicBezTo>
                <a:lnTo>
                  <a:pt x="1067895" y="418981"/>
                </a:lnTo>
                <a:lnTo>
                  <a:pt x="1067895" y="418981"/>
                </a:lnTo>
                <a:lnTo>
                  <a:pt x="1067895" y="418981"/>
                </a:lnTo>
                <a:lnTo>
                  <a:pt x="1085302" y="418981"/>
                </a:lnTo>
                <a:lnTo>
                  <a:pt x="1193387" y="418981"/>
                </a:lnTo>
                <a:lnTo>
                  <a:pt x="1193387" y="970336"/>
                </a:lnTo>
                <a:lnTo>
                  <a:pt x="1083683" y="970336"/>
                </a:lnTo>
                <a:close/>
                <a:moveTo>
                  <a:pt x="1190149" y="0"/>
                </a:moveTo>
                <a:lnTo>
                  <a:pt x="396716" y="0"/>
                </a:lnTo>
                <a:lnTo>
                  <a:pt x="0" y="694253"/>
                </a:lnTo>
                <a:lnTo>
                  <a:pt x="396716" y="1388507"/>
                </a:lnTo>
                <a:lnTo>
                  <a:pt x="1190149" y="1388507"/>
                </a:lnTo>
                <a:lnTo>
                  <a:pt x="1586865" y="694253"/>
                </a:lnTo>
                <a:lnTo>
                  <a:pt x="1190149" y="0"/>
                </a:lnTo>
                <a:close/>
              </a:path>
            </a:pathLst>
          </a:custGeom>
          <a:solidFill>
            <a:schemeClr val="dk2"/>
          </a:solidFill>
          <a:ln>
            <a:noFill/>
          </a:ln>
        </p:spPr>
        <p:txBody>
          <a:bodyPr spcFirstLastPara="1" wrap="square" lIns="91433" tIns="45700" rIns="91433" bIns="45700"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528" name="Google Shape;1528;p27"/>
          <p:cNvSpPr txBox="1">
            <a:spLocks noGrp="1"/>
          </p:cNvSpPr>
          <p:nvPr>
            <p:ph type="title"/>
          </p:nvPr>
        </p:nvSpPr>
        <p:spPr>
          <a:xfrm>
            <a:off x="470667" y="2309467"/>
            <a:ext cx="8660800" cy="2564000"/>
          </a:xfrm>
          <a:prstGeom prst="rect">
            <a:avLst/>
          </a:prstGeom>
        </p:spPr>
        <p:txBody>
          <a:bodyPr spcFirstLastPara="1" wrap="square" lIns="0" tIns="91425" rIns="91425" bIns="91425" anchor="t" anchorCtr="0">
            <a:noAutofit/>
          </a:bodyPr>
          <a:lstStyle>
            <a:lvl1pPr lvl="0" rtl="0">
              <a:lnSpc>
                <a:spcPct val="85000"/>
              </a:lnSpc>
              <a:spcBef>
                <a:spcPts val="0"/>
              </a:spcBef>
              <a:spcAft>
                <a:spcPts val="0"/>
              </a:spcAft>
              <a:buSzPts val="4600"/>
              <a:buFont typeface="Inter Medium"/>
              <a:buNone/>
              <a:defRPr sz="6133">
                <a:latin typeface="Inter Medium"/>
                <a:ea typeface="Inter Medium"/>
                <a:cs typeface="Inter Medium"/>
                <a:sym typeface="Inter Medium"/>
              </a:defRPr>
            </a:lvl1pPr>
            <a:lvl2pPr lvl="1" rtl="0">
              <a:lnSpc>
                <a:spcPct val="75000"/>
              </a:lnSpc>
              <a:spcBef>
                <a:spcPts val="0"/>
              </a:spcBef>
              <a:spcAft>
                <a:spcPts val="0"/>
              </a:spcAft>
              <a:buSzPts val="1100"/>
              <a:buNone/>
              <a:defRPr/>
            </a:lvl2pPr>
            <a:lvl3pPr lvl="2" rtl="0">
              <a:lnSpc>
                <a:spcPct val="75000"/>
              </a:lnSpc>
              <a:spcBef>
                <a:spcPts val="0"/>
              </a:spcBef>
              <a:spcAft>
                <a:spcPts val="0"/>
              </a:spcAft>
              <a:buSzPts val="1100"/>
              <a:buNone/>
              <a:defRPr/>
            </a:lvl3pPr>
            <a:lvl4pPr lvl="3" rtl="0">
              <a:lnSpc>
                <a:spcPct val="75000"/>
              </a:lnSpc>
              <a:spcBef>
                <a:spcPts val="0"/>
              </a:spcBef>
              <a:spcAft>
                <a:spcPts val="0"/>
              </a:spcAft>
              <a:buSzPts val="1100"/>
              <a:buNone/>
              <a:defRPr/>
            </a:lvl4pPr>
            <a:lvl5pPr lvl="4" rtl="0">
              <a:lnSpc>
                <a:spcPct val="75000"/>
              </a:lnSpc>
              <a:spcBef>
                <a:spcPts val="0"/>
              </a:spcBef>
              <a:spcAft>
                <a:spcPts val="0"/>
              </a:spcAft>
              <a:buSzPts val="1100"/>
              <a:buNone/>
              <a:defRPr/>
            </a:lvl5pPr>
            <a:lvl6pPr lvl="5" rtl="0">
              <a:lnSpc>
                <a:spcPct val="75000"/>
              </a:lnSpc>
              <a:spcBef>
                <a:spcPts val="0"/>
              </a:spcBef>
              <a:spcAft>
                <a:spcPts val="0"/>
              </a:spcAft>
              <a:buSzPts val="1100"/>
              <a:buNone/>
              <a:defRPr/>
            </a:lvl6pPr>
            <a:lvl7pPr lvl="6" rtl="0">
              <a:lnSpc>
                <a:spcPct val="75000"/>
              </a:lnSpc>
              <a:spcBef>
                <a:spcPts val="0"/>
              </a:spcBef>
              <a:spcAft>
                <a:spcPts val="0"/>
              </a:spcAft>
              <a:buSzPts val="1100"/>
              <a:buNone/>
              <a:defRPr/>
            </a:lvl7pPr>
            <a:lvl8pPr lvl="7" rtl="0">
              <a:lnSpc>
                <a:spcPct val="75000"/>
              </a:lnSpc>
              <a:spcBef>
                <a:spcPts val="0"/>
              </a:spcBef>
              <a:spcAft>
                <a:spcPts val="0"/>
              </a:spcAft>
              <a:buSzPts val="1100"/>
              <a:buNone/>
              <a:defRPr/>
            </a:lvl8pPr>
            <a:lvl9pPr lvl="8" rtl="0">
              <a:lnSpc>
                <a:spcPct val="75000"/>
              </a:lnSpc>
              <a:spcBef>
                <a:spcPts val="0"/>
              </a:spcBef>
              <a:spcAft>
                <a:spcPts val="0"/>
              </a:spcAft>
              <a:buSzPts val="1100"/>
              <a:buNone/>
              <a:defRPr/>
            </a:lvl9pPr>
          </a:lstStyle>
          <a:p>
            <a:endParaRPr/>
          </a:p>
        </p:txBody>
      </p:sp>
      <p:grpSp>
        <p:nvGrpSpPr>
          <p:cNvPr id="1529" name="Google Shape;1529;p27"/>
          <p:cNvGrpSpPr/>
          <p:nvPr/>
        </p:nvGrpSpPr>
        <p:grpSpPr>
          <a:xfrm>
            <a:off x="3969314" y="0"/>
            <a:ext cx="8222452" cy="1523637"/>
            <a:chOff x="2976985" y="0"/>
            <a:chExt cx="6166839" cy="1142728"/>
          </a:xfrm>
        </p:grpSpPr>
        <p:sp>
          <p:nvSpPr>
            <p:cNvPr id="1530" name="Google Shape;1530;p27"/>
            <p:cNvSpPr/>
            <p:nvPr/>
          </p:nvSpPr>
          <p:spPr>
            <a:xfrm>
              <a:off x="2976985" y="692685"/>
              <a:ext cx="484477" cy="400521"/>
            </a:xfrm>
            <a:custGeom>
              <a:avLst/>
              <a:gdLst/>
              <a:ahLst/>
              <a:cxnLst/>
              <a:rect l="l" t="t" r="r" b="b"/>
              <a:pathLst>
                <a:path w="223519" h="184785" extrusionOk="0">
                  <a:moveTo>
                    <a:pt x="50800" y="169545"/>
                  </a:moveTo>
                  <a:lnTo>
                    <a:pt x="203200" y="55880"/>
                  </a:lnTo>
                  <a:lnTo>
                    <a:pt x="223520" y="40640"/>
                  </a:lnTo>
                  <a:lnTo>
                    <a:pt x="193040" y="0"/>
                  </a:lnTo>
                  <a:lnTo>
                    <a:pt x="172720" y="15240"/>
                  </a:lnTo>
                  <a:lnTo>
                    <a:pt x="20320" y="128905"/>
                  </a:lnTo>
                  <a:lnTo>
                    <a:pt x="0" y="143510"/>
                  </a:lnTo>
                  <a:lnTo>
                    <a:pt x="30480" y="184785"/>
                  </a:lnTo>
                  <a:close/>
                </a:path>
              </a:pathLst>
            </a:custGeom>
            <a:solidFill>
              <a:schemeClr val="dk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531" name="Google Shape;1531;p27"/>
            <p:cNvSpPr/>
            <p:nvPr/>
          </p:nvSpPr>
          <p:spPr>
            <a:xfrm>
              <a:off x="4741061" y="670653"/>
              <a:ext cx="485856" cy="444563"/>
            </a:xfrm>
            <a:custGeom>
              <a:avLst/>
              <a:gdLst/>
              <a:ahLst/>
              <a:cxnLst/>
              <a:rect l="l" t="t" r="r" b="b"/>
              <a:pathLst>
                <a:path w="224155" h="205104" extrusionOk="0">
                  <a:moveTo>
                    <a:pt x="52705" y="187960"/>
                  </a:moveTo>
                  <a:lnTo>
                    <a:pt x="205105" y="54610"/>
                  </a:lnTo>
                  <a:lnTo>
                    <a:pt x="224155" y="38100"/>
                  </a:lnTo>
                  <a:lnTo>
                    <a:pt x="190500" y="0"/>
                  </a:lnTo>
                  <a:lnTo>
                    <a:pt x="171450" y="16510"/>
                  </a:lnTo>
                  <a:lnTo>
                    <a:pt x="19050" y="149860"/>
                  </a:lnTo>
                  <a:lnTo>
                    <a:pt x="0" y="166370"/>
                  </a:lnTo>
                  <a:lnTo>
                    <a:pt x="33020" y="205105"/>
                  </a:lnTo>
                  <a:close/>
                </a:path>
              </a:pathLst>
            </a:custGeom>
            <a:solidFill>
              <a:schemeClr val="dk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532" name="Google Shape;1532;p27"/>
            <p:cNvSpPr/>
            <p:nvPr/>
          </p:nvSpPr>
          <p:spPr>
            <a:xfrm>
              <a:off x="3223803" y="0"/>
              <a:ext cx="432178" cy="345467"/>
            </a:xfrm>
            <a:custGeom>
              <a:avLst/>
              <a:gdLst/>
              <a:ahLst/>
              <a:cxnLst/>
              <a:rect l="l" t="t" r="r" b="b"/>
              <a:pathLst>
                <a:path w="199390" h="159385" extrusionOk="0">
                  <a:moveTo>
                    <a:pt x="53340" y="141605"/>
                  </a:moveTo>
                  <a:lnTo>
                    <a:pt x="199390" y="0"/>
                  </a:lnTo>
                  <a:lnTo>
                    <a:pt x="126365" y="0"/>
                  </a:lnTo>
                  <a:lnTo>
                    <a:pt x="17780" y="105410"/>
                  </a:lnTo>
                  <a:lnTo>
                    <a:pt x="0" y="123190"/>
                  </a:lnTo>
                  <a:lnTo>
                    <a:pt x="34925" y="159385"/>
                  </a:lnTo>
                  <a:close/>
                </a:path>
              </a:pathLst>
            </a:custGeom>
            <a:solidFill>
              <a:schemeClr val="dk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533" name="Google Shape;1533;p27"/>
            <p:cNvSpPr/>
            <p:nvPr/>
          </p:nvSpPr>
          <p:spPr>
            <a:xfrm>
              <a:off x="5077394" y="0"/>
              <a:ext cx="423920" cy="355099"/>
            </a:xfrm>
            <a:custGeom>
              <a:avLst/>
              <a:gdLst/>
              <a:ahLst/>
              <a:cxnLst/>
              <a:rect l="l" t="t" r="r" b="b"/>
              <a:pathLst>
                <a:path w="195580" h="163829" extrusionOk="0">
                  <a:moveTo>
                    <a:pt x="53975" y="145415"/>
                  </a:moveTo>
                  <a:lnTo>
                    <a:pt x="195580" y="0"/>
                  </a:lnTo>
                  <a:lnTo>
                    <a:pt x="125095" y="0"/>
                  </a:lnTo>
                  <a:lnTo>
                    <a:pt x="17780" y="109855"/>
                  </a:lnTo>
                  <a:lnTo>
                    <a:pt x="0" y="128270"/>
                  </a:lnTo>
                  <a:lnTo>
                    <a:pt x="36195" y="163830"/>
                  </a:lnTo>
                  <a:close/>
                </a:path>
              </a:pathLst>
            </a:custGeom>
            <a:solidFill>
              <a:schemeClr val="dk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534" name="Google Shape;1534;p27"/>
            <p:cNvSpPr/>
            <p:nvPr/>
          </p:nvSpPr>
          <p:spPr>
            <a:xfrm>
              <a:off x="6454505" y="644486"/>
              <a:ext cx="485856" cy="495490"/>
            </a:xfrm>
            <a:custGeom>
              <a:avLst/>
              <a:gdLst/>
              <a:ahLst/>
              <a:cxnLst/>
              <a:rect l="l" t="t" r="r" b="b"/>
              <a:pathLst>
                <a:path w="224155" h="228600" extrusionOk="0">
                  <a:moveTo>
                    <a:pt x="53975" y="210185"/>
                  </a:moveTo>
                  <a:lnTo>
                    <a:pt x="206375" y="53975"/>
                  </a:lnTo>
                  <a:lnTo>
                    <a:pt x="224155" y="35560"/>
                  </a:lnTo>
                  <a:lnTo>
                    <a:pt x="187961" y="0"/>
                  </a:lnTo>
                  <a:lnTo>
                    <a:pt x="170180" y="18415"/>
                  </a:lnTo>
                  <a:lnTo>
                    <a:pt x="17780" y="174625"/>
                  </a:lnTo>
                  <a:lnTo>
                    <a:pt x="0" y="193040"/>
                  </a:lnTo>
                  <a:lnTo>
                    <a:pt x="36195" y="228600"/>
                  </a:lnTo>
                  <a:close/>
                </a:path>
              </a:pathLst>
            </a:custGeom>
            <a:solidFill>
              <a:schemeClr val="dk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535" name="Google Shape;1535;p27"/>
            <p:cNvSpPr/>
            <p:nvPr/>
          </p:nvSpPr>
          <p:spPr>
            <a:xfrm>
              <a:off x="6947512" y="0"/>
              <a:ext cx="422541" cy="357854"/>
            </a:xfrm>
            <a:custGeom>
              <a:avLst/>
              <a:gdLst/>
              <a:ahLst/>
              <a:cxnLst/>
              <a:rect l="l" t="t" r="r" b="b"/>
              <a:pathLst>
                <a:path w="194944" h="165100" extrusionOk="0">
                  <a:moveTo>
                    <a:pt x="54610" y="146685"/>
                  </a:moveTo>
                  <a:lnTo>
                    <a:pt x="194945" y="0"/>
                  </a:lnTo>
                  <a:lnTo>
                    <a:pt x="124460" y="0"/>
                  </a:lnTo>
                  <a:lnTo>
                    <a:pt x="17780" y="111125"/>
                  </a:lnTo>
                  <a:lnTo>
                    <a:pt x="0" y="129540"/>
                  </a:lnTo>
                  <a:lnTo>
                    <a:pt x="36830" y="165100"/>
                  </a:lnTo>
                  <a:close/>
                </a:path>
              </a:pathLst>
            </a:custGeom>
            <a:solidFill>
              <a:schemeClr val="dk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536" name="Google Shape;1536;p27"/>
            <p:cNvSpPr/>
            <p:nvPr/>
          </p:nvSpPr>
          <p:spPr>
            <a:xfrm>
              <a:off x="8324623" y="643111"/>
              <a:ext cx="485856" cy="499617"/>
            </a:xfrm>
            <a:custGeom>
              <a:avLst/>
              <a:gdLst/>
              <a:ahLst/>
              <a:cxnLst/>
              <a:rect l="l" t="t" r="r" b="b"/>
              <a:pathLst>
                <a:path w="224155" h="230504" extrusionOk="0">
                  <a:moveTo>
                    <a:pt x="54610" y="212090"/>
                  </a:moveTo>
                  <a:lnTo>
                    <a:pt x="207010" y="53340"/>
                  </a:lnTo>
                  <a:lnTo>
                    <a:pt x="224155" y="34925"/>
                  </a:lnTo>
                  <a:lnTo>
                    <a:pt x="187960" y="0"/>
                  </a:lnTo>
                  <a:lnTo>
                    <a:pt x="170180" y="17780"/>
                  </a:lnTo>
                  <a:lnTo>
                    <a:pt x="17780" y="176530"/>
                  </a:lnTo>
                  <a:lnTo>
                    <a:pt x="0" y="194945"/>
                  </a:lnTo>
                  <a:lnTo>
                    <a:pt x="36830" y="230505"/>
                  </a:lnTo>
                  <a:close/>
                </a:path>
              </a:pathLst>
            </a:custGeom>
            <a:solidFill>
              <a:schemeClr val="dk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537" name="Google Shape;1537;p27"/>
            <p:cNvSpPr/>
            <p:nvPr/>
          </p:nvSpPr>
          <p:spPr>
            <a:xfrm>
              <a:off x="8816249" y="0"/>
              <a:ext cx="327574" cy="352349"/>
            </a:xfrm>
            <a:custGeom>
              <a:avLst/>
              <a:gdLst/>
              <a:ahLst/>
              <a:cxnLst/>
              <a:rect l="l" t="t" r="r" b="b"/>
              <a:pathLst>
                <a:path w="151130" h="162560" extrusionOk="0">
                  <a:moveTo>
                    <a:pt x="125095" y="0"/>
                  </a:moveTo>
                  <a:lnTo>
                    <a:pt x="17780" y="109220"/>
                  </a:lnTo>
                  <a:lnTo>
                    <a:pt x="0" y="127000"/>
                  </a:lnTo>
                  <a:lnTo>
                    <a:pt x="36195" y="162560"/>
                  </a:lnTo>
                  <a:lnTo>
                    <a:pt x="53975" y="144780"/>
                  </a:lnTo>
                  <a:lnTo>
                    <a:pt x="151130" y="45720"/>
                  </a:lnTo>
                  <a:lnTo>
                    <a:pt x="151130" y="0"/>
                  </a:lnTo>
                  <a:close/>
                </a:path>
              </a:pathLst>
            </a:custGeom>
            <a:solidFill>
              <a:schemeClr val="dk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grpSp>
      <p:sp>
        <p:nvSpPr>
          <p:cNvPr id="1538" name="Google Shape;1538;p27"/>
          <p:cNvSpPr txBox="1"/>
          <p:nvPr/>
        </p:nvSpPr>
        <p:spPr>
          <a:xfrm>
            <a:off x="5451800" y="6245247"/>
            <a:ext cx="1288400" cy="273200"/>
          </a:xfrm>
          <a:prstGeom prst="rect">
            <a:avLst/>
          </a:prstGeom>
          <a:noFill/>
          <a:ln>
            <a:noFill/>
          </a:ln>
        </p:spPr>
        <p:txBody>
          <a:bodyPr spcFirstLastPara="1" wrap="square" lIns="0" tIns="0" rIns="0" bIns="0" anchor="b" anchorCtr="0">
            <a:noAutofit/>
          </a:bodyPr>
          <a:lstStyle/>
          <a:p>
            <a:pPr marL="0" lvl="0" indent="0" algn="ctr" rtl="0">
              <a:spcBef>
                <a:spcPts val="0"/>
              </a:spcBef>
              <a:spcAft>
                <a:spcPts val="0"/>
              </a:spcAft>
              <a:buNone/>
            </a:pPr>
            <a:r>
              <a:rPr lang="en-GB" sz="667">
                <a:solidFill>
                  <a:schemeClr val="lt1"/>
                </a:solidFill>
                <a:latin typeface="Inter"/>
                <a:ea typeface="Inter"/>
                <a:cs typeface="Inter"/>
                <a:sym typeface="Inter"/>
              </a:rPr>
              <a:t>Private and Confidential</a:t>
            </a:r>
            <a:endParaRPr sz="667">
              <a:solidFill>
                <a:schemeClr val="lt1"/>
              </a:solidFill>
              <a:latin typeface="Inter"/>
              <a:ea typeface="Inter"/>
              <a:cs typeface="Inter"/>
              <a:sym typeface="Inter"/>
            </a:endParaRPr>
          </a:p>
        </p:txBody>
      </p:sp>
    </p:spTree>
    <p:extLst>
      <p:ext uri="{BB962C8B-B14F-4D97-AF65-F5344CB8AC3E}">
        <p14:creationId xmlns:p14="http://schemas.microsoft.com/office/powerpoint/2010/main" val="234322450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matchingName="Title and Content 2 Column">
  <p:cSld name="Title and Content 2 Column">
    <p:bg>
      <p:bgPr>
        <a:solidFill>
          <a:schemeClr val="lt2"/>
        </a:solidFill>
        <a:effectLst/>
      </p:bgPr>
    </p:bg>
    <p:spTree>
      <p:nvGrpSpPr>
        <p:cNvPr id="1" name="Shape 1539"/>
        <p:cNvGrpSpPr/>
        <p:nvPr/>
      </p:nvGrpSpPr>
      <p:grpSpPr>
        <a:xfrm>
          <a:off x="0" y="0"/>
          <a:ext cx="0" cy="0"/>
          <a:chOff x="0" y="0"/>
          <a:chExt cx="0" cy="0"/>
        </a:xfrm>
      </p:grpSpPr>
      <p:sp>
        <p:nvSpPr>
          <p:cNvPr id="1540" name="Google Shape;1540;p28"/>
          <p:cNvSpPr txBox="1">
            <a:spLocks noGrp="1"/>
          </p:cNvSpPr>
          <p:nvPr>
            <p:ph type="title"/>
          </p:nvPr>
        </p:nvSpPr>
        <p:spPr>
          <a:xfrm>
            <a:off x="951700" y="359997"/>
            <a:ext cx="10515600" cy="975200"/>
          </a:xfrm>
          <a:prstGeom prst="rect">
            <a:avLst/>
          </a:prstGeom>
          <a:noFill/>
          <a:ln>
            <a:noFill/>
          </a:ln>
        </p:spPr>
        <p:txBody>
          <a:bodyPr spcFirstLastPara="1" wrap="square" lIns="0" tIns="0" rIns="68575" bIns="34275" anchor="t" anchorCtr="0">
            <a:normAutofit/>
          </a:bodyPr>
          <a:lstStyle>
            <a:lvl1pPr lvl="0" algn="l" rtl="0">
              <a:lnSpc>
                <a:spcPct val="90000"/>
              </a:lnSpc>
              <a:spcBef>
                <a:spcPts val="0"/>
              </a:spcBef>
              <a:spcAft>
                <a:spcPts val="0"/>
              </a:spcAft>
              <a:buClr>
                <a:schemeClr val="dk1"/>
              </a:buClr>
              <a:buSzPts val="2400"/>
              <a:buFont typeface="Inter Medium"/>
              <a:buNone/>
              <a:defRPr sz="3200">
                <a:latin typeface="Inter Medium"/>
                <a:ea typeface="Inter Medium"/>
                <a:cs typeface="Inter Medium"/>
                <a:sym typeface="Inter Medium"/>
              </a:defRPr>
            </a:lvl1pPr>
            <a:lvl2pPr lvl="1" rtl="0">
              <a:spcBef>
                <a:spcPts val="0"/>
              </a:spcBef>
              <a:spcAft>
                <a:spcPts val="0"/>
              </a:spcAft>
              <a:buSzPts val="1100"/>
              <a:buNone/>
              <a:defRPr b="1"/>
            </a:lvl2pPr>
            <a:lvl3pPr lvl="2" rtl="0">
              <a:spcBef>
                <a:spcPts val="0"/>
              </a:spcBef>
              <a:spcAft>
                <a:spcPts val="0"/>
              </a:spcAft>
              <a:buSzPts val="1100"/>
              <a:buNone/>
              <a:defRPr b="1"/>
            </a:lvl3pPr>
            <a:lvl4pPr lvl="3" rtl="0">
              <a:spcBef>
                <a:spcPts val="0"/>
              </a:spcBef>
              <a:spcAft>
                <a:spcPts val="0"/>
              </a:spcAft>
              <a:buSzPts val="1100"/>
              <a:buNone/>
              <a:defRPr b="1"/>
            </a:lvl4pPr>
            <a:lvl5pPr lvl="4" rtl="0">
              <a:spcBef>
                <a:spcPts val="0"/>
              </a:spcBef>
              <a:spcAft>
                <a:spcPts val="0"/>
              </a:spcAft>
              <a:buSzPts val="1100"/>
              <a:buNone/>
              <a:defRPr b="1"/>
            </a:lvl5pPr>
            <a:lvl6pPr lvl="5" rtl="0">
              <a:spcBef>
                <a:spcPts val="0"/>
              </a:spcBef>
              <a:spcAft>
                <a:spcPts val="0"/>
              </a:spcAft>
              <a:buSzPts val="1100"/>
              <a:buNone/>
              <a:defRPr b="1"/>
            </a:lvl6pPr>
            <a:lvl7pPr lvl="6" rtl="0">
              <a:spcBef>
                <a:spcPts val="0"/>
              </a:spcBef>
              <a:spcAft>
                <a:spcPts val="0"/>
              </a:spcAft>
              <a:buSzPts val="1100"/>
              <a:buNone/>
              <a:defRPr b="1"/>
            </a:lvl7pPr>
            <a:lvl8pPr lvl="7" rtl="0">
              <a:spcBef>
                <a:spcPts val="0"/>
              </a:spcBef>
              <a:spcAft>
                <a:spcPts val="0"/>
              </a:spcAft>
              <a:buSzPts val="1100"/>
              <a:buNone/>
              <a:defRPr b="1"/>
            </a:lvl8pPr>
            <a:lvl9pPr lvl="8" rtl="0">
              <a:spcBef>
                <a:spcPts val="0"/>
              </a:spcBef>
              <a:spcAft>
                <a:spcPts val="0"/>
              </a:spcAft>
              <a:buSzPts val="1100"/>
              <a:buNone/>
              <a:defRPr b="1"/>
            </a:lvl9pPr>
          </a:lstStyle>
          <a:p>
            <a:endParaRPr/>
          </a:p>
        </p:txBody>
      </p:sp>
      <p:sp>
        <p:nvSpPr>
          <p:cNvPr id="1541" name="Google Shape;1541;p28"/>
          <p:cNvSpPr txBox="1">
            <a:spLocks noGrp="1"/>
          </p:cNvSpPr>
          <p:nvPr>
            <p:ph type="body" idx="1"/>
          </p:nvPr>
        </p:nvSpPr>
        <p:spPr>
          <a:xfrm>
            <a:off x="481600" y="1335200"/>
            <a:ext cx="5117600" cy="4351200"/>
          </a:xfrm>
          <a:prstGeom prst="rect">
            <a:avLst/>
          </a:prstGeom>
          <a:noFill/>
          <a:ln>
            <a:noFill/>
          </a:ln>
        </p:spPr>
        <p:txBody>
          <a:bodyPr spcFirstLastPara="1" wrap="square" lIns="0" tIns="34275" rIns="68575" bIns="34275" anchor="t" anchorCtr="0">
            <a:noAutofit/>
          </a:bodyPr>
          <a:lstStyle>
            <a:lvl1pPr marL="609585" lvl="0" indent="-380990" algn="l" rtl="0">
              <a:lnSpc>
                <a:spcPct val="125000"/>
              </a:lnSpc>
              <a:spcBef>
                <a:spcPts val="0"/>
              </a:spcBef>
              <a:spcAft>
                <a:spcPts val="0"/>
              </a:spcAft>
              <a:buClr>
                <a:schemeClr val="dk2"/>
              </a:buClr>
              <a:buSzPts val="900"/>
              <a:buChar char="●"/>
              <a:defRPr sz="1200"/>
            </a:lvl1pPr>
            <a:lvl2pPr marL="1219170" lvl="1" indent="-380990" algn="l" rtl="0">
              <a:lnSpc>
                <a:spcPct val="125000"/>
              </a:lnSpc>
              <a:spcBef>
                <a:spcPts val="1200"/>
              </a:spcBef>
              <a:spcAft>
                <a:spcPts val="0"/>
              </a:spcAft>
              <a:buClr>
                <a:schemeClr val="dk2"/>
              </a:buClr>
              <a:buSzPts val="900"/>
              <a:buChar char="●"/>
              <a:defRPr sz="1200"/>
            </a:lvl2pPr>
            <a:lvl3pPr marL="1828754" lvl="2" indent="-380990" algn="l" rtl="0">
              <a:lnSpc>
                <a:spcPct val="125000"/>
              </a:lnSpc>
              <a:spcBef>
                <a:spcPts val="1200"/>
              </a:spcBef>
              <a:spcAft>
                <a:spcPts val="0"/>
              </a:spcAft>
              <a:buClr>
                <a:schemeClr val="dk2"/>
              </a:buClr>
              <a:buSzPts val="900"/>
              <a:buChar char="●"/>
              <a:defRPr sz="1200"/>
            </a:lvl3pPr>
            <a:lvl4pPr marL="2438339" lvl="3" indent="-380990" algn="l" rtl="0">
              <a:lnSpc>
                <a:spcPct val="125000"/>
              </a:lnSpc>
              <a:spcBef>
                <a:spcPts val="1200"/>
              </a:spcBef>
              <a:spcAft>
                <a:spcPts val="0"/>
              </a:spcAft>
              <a:buClr>
                <a:schemeClr val="dk2"/>
              </a:buClr>
              <a:buSzPts val="900"/>
              <a:buChar char="●"/>
              <a:defRPr sz="1200"/>
            </a:lvl4pPr>
            <a:lvl5pPr marL="3047924" lvl="4" indent="-380990" algn="l" rtl="0">
              <a:lnSpc>
                <a:spcPct val="125000"/>
              </a:lnSpc>
              <a:spcBef>
                <a:spcPts val="1200"/>
              </a:spcBef>
              <a:spcAft>
                <a:spcPts val="0"/>
              </a:spcAft>
              <a:buClr>
                <a:schemeClr val="dk2"/>
              </a:buClr>
              <a:buSzPts val="900"/>
              <a:buChar char="●"/>
              <a:defRPr sz="1200"/>
            </a:lvl5pPr>
            <a:lvl6pPr marL="3657509" lvl="5" indent="-380990" algn="l" rtl="0">
              <a:lnSpc>
                <a:spcPct val="125000"/>
              </a:lnSpc>
              <a:spcBef>
                <a:spcPts val="1200"/>
              </a:spcBef>
              <a:spcAft>
                <a:spcPts val="0"/>
              </a:spcAft>
              <a:buClr>
                <a:schemeClr val="dk2"/>
              </a:buClr>
              <a:buSzPts val="900"/>
              <a:buChar char="●"/>
              <a:defRPr sz="1200"/>
            </a:lvl6pPr>
            <a:lvl7pPr marL="4267093" lvl="6" indent="-380990" algn="l" rtl="0">
              <a:lnSpc>
                <a:spcPct val="125000"/>
              </a:lnSpc>
              <a:spcBef>
                <a:spcPts val="1200"/>
              </a:spcBef>
              <a:spcAft>
                <a:spcPts val="0"/>
              </a:spcAft>
              <a:buClr>
                <a:schemeClr val="dk2"/>
              </a:buClr>
              <a:buSzPts val="900"/>
              <a:buChar char="●"/>
              <a:defRPr sz="1200"/>
            </a:lvl7pPr>
            <a:lvl8pPr marL="4876678" lvl="7" indent="-380990" algn="l" rtl="0">
              <a:lnSpc>
                <a:spcPct val="125000"/>
              </a:lnSpc>
              <a:spcBef>
                <a:spcPts val="1200"/>
              </a:spcBef>
              <a:spcAft>
                <a:spcPts val="0"/>
              </a:spcAft>
              <a:buClr>
                <a:schemeClr val="dk2"/>
              </a:buClr>
              <a:buSzPts val="900"/>
              <a:buChar char="●"/>
              <a:defRPr sz="1200"/>
            </a:lvl8pPr>
            <a:lvl9pPr marL="5486263" lvl="8" indent="-380990" algn="l" rtl="0">
              <a:lnSpc>
                <a:spcPct val="125000"/>
              </a:lnSpc>
              <a:spcBef>
                <a:spcPts val="1200"/>
              </a:spcBef>
              <a:spcAft>
                <a:spcPts val="1200"/>
              </a:spcAft>
              <a:buClr>
                <a:schemeClr val="dk2"/>
              </a:buClr>
              <a:buSzPts val="900"/>
              <a:buChar char="●"/>
              <a:defRPr sz="1200"/>
            </a:lvl9pPr>
          </a:lstStyle>
          <a:p>
            <a:endParaRPr/>
          </a:p>
        </p:txBody>
      </p:sp>
      <p:sp>
        <p:nvSpPr>
          <p:cNvPr id="1542" name="Google Shape;1542;p28"/>
          <p:cNvSpPr txBox="1">
            <a:spLocks noGrp="1"/>
          </p:cNvSpPr>
          <p:nvPr>
            <p:ph type="sldNum" idx="12"/>
          </p:nvPr>
        </p:nvSpPr>
        <p:spPr>
          <a:xfrm>
            <a:off x="10978812" y="5993647"/>
            <a:ext cx="731600" cy="524800"/>
          </a:xfrm>
          <a:prstGeom prst="rect">
            <a:avLst/>
          </a:prstGeom>
        </p:spPr>
        <p:txBody>
          <a:bodyPr spcFirstLastPara="1" wrap="square" lIns="91425" tIns="91425" rIns="0" bIns="0" anchor="b" anchorCtr="0">
            <a:noAutofit/>
          </a:bodyPr>
          <a:lstStyle>
            <a:lvl1pPr lvl="0" algn="r" rtl="0">
              <a:buNone/>
              <a:defRPr sz="667">
                <a:solidFill>
                  <a:schemeClr val="dk2"/>
                </a:solidFill>
                <a:latin typeface="Inter"/>
                <a:ea typeface="Inter"/>
                <a:cs typeface="Inter"/>
                <a:sym typeface="Inter"/>
              </a:defRPr>
            </a:lvl1pPr>
            <a:lvl2pPr lvl="1" algn="r" rtl="0">
              <a:buNone/>
              <a:defRPr sz="667">
                <a:solidFill>
                  <a:schemeClr val="dk2"/>
                </a:solidFill>
                <a:latin typeface="Inter"/>
                <a:ea typeface="Inter"/>
                <a:cs typeface="Inter"/>
                <a:sym typeface="Inter"/>
              </a:defRPr>
            </a:lvl2pPr>
            <a:lvl3pPr lvl="2" algn="r" rtl="0">
              <a:buNone/>
              <a:defRPr sz="667">
                <a:solidFill>
                  <a:schemeClr val="dk2"/>
                </a:solidFill>
                <a:latin typeface="Inter"/>
                <a:ea typeface="Inter"/>
                <a:cs typeface="Inter"/>
                <a:sym typeface="Inter"/>
              </a:defRPr>
            </a:lvl3pPr>
            <a:lvl4pPr lvl="3" algn="r" rtl="0">
              <a:buNone/>
              <a:defRPr sz="667">
                <a:solidFill>
                  <a:schemeClr val="dk2"/>
                </a:solidFill>
                <a:latin typeface="Inter"/>
                <a:ea typeface="Inter"/>
                <a:cs typeface="Inter"/>
                <a:sym typeface="Inter"/>
              </a:defRPr>
            </a:lvl4pPr>
            <a:lvl5pPr lvl="4" algn="r" rtl="0">
              <a:buNone/>
              <a:defRPr sz="667">
                <a:solidFill>
                  <a:schemeClr val="dk2"/>
                </a:solidFill>
                <a:latin typeface="Inter"/>
                <a:ea typeface="Inter"/>
                <a:cs typeface="Inter"/>
                <a:sym typeface="Inter"/>
              </a:defRPr>
            </a:lvl5pPr>
            <a:lvl6pPr lvl="5" algn="r" rtl="0">
              <a:buNone/>
              <a:defRPr sz="667">
                <a:solidFill>
                  <a:schemeClr val="dk2"/>
                </a:solidFill>
                <a:latin typeface="Inter"/>
                <a:ea typeface="Inter"/>
                <a:cs typeface="Inter"/>
                <a:sym typeface="Inter"/>
              </a:defRPr>
            </a:lvl6pPr>
            <a:lvl7pPr lvl="6" algn="r" rtl="0">
              <a:buNone/>
              <a:defRPr sz="667">
                <a:solidFill>
                  <a:schemeClr val="dk2"/>
                </a:solidFill>
                <a:latin typeface="Inter"/>
                <a:ea typeface="Inter"/>
                <a:cs typeface="Inter"/>
                <a:sym typeface="Inter"/>
              </a:defRPr>
            </a:lvl7pPr>
            <a:lvl8pPr lvl="7" algn="r" rtl="0">
              <a:buNone/>
              <a:defRPr sz="667">
                <a:solidFill>
                  <a:schemeClr val="dk2"/>
                </a:solidFill>
                <a:latin typeface="Inter"/>
                <a:ea typeface="Inter"/>
                <a:cs typeface="Inter"/>
                <a:sym typeface="Inter"/>
              </a:defRPr>
            </a:lvl8pPr>
            <a:lvl9pPr lvl="8" algn="r" rtl="0">
              <a:buNone/>
              <a:defRPr sz="667">
                <a:solidFill>
                  <a:schemeClr val="dk2"/>
                </a:solidFill>
                <a:latin typeface="Inter"/>
                <a:ea typeface="Inter"/>
                <a:cs typeface="Inter"/>
                <a:sym typeface="Inter"/>
              </a:defRPr>
            </a:lvl9pPr>
          </a:lstStyle>
          <a:p>
            <a:fld id="{00000000-1234-1234-1234-123412341234}" type="slidenum">
              <a:rPr lang="en-GB" smtClean="0"/>
              <a:pPr/>
              <a:t>‹#›</a:t>
            </a:fld>
            <a:endParaRPr lang="en-GB"/>
          </a:p>
        </p:txBody>
      </p:sp>
      <p:sp>
        <p:nvSpPr>
          <p:cNvPr id="1543" name="Google Shape;1543;p28"/>
          <p:cNvSpPr txBox="1"/>
          <p:nvPr/>
        </p:nvSpPr>
        <p:spPr>
          <a:xfrm>
            <a:off x="481600" y="6245247"/>
            <a:ext cx="1288400" cy="273200"/>
          </a:xfrm>
          <a:prstGeom prst="rect">
            <a:avLst/>
          </a:prstGeom>
          <a:noFill/>
          <a:ln>
            <a:noFill/>
          </a:ln>
        </p:spPr>
        <p:txBody>
          <a:bodyPr spcFirstLastPara="1" wrap="square" lIns="0" tIns="0" rIns="0" bIns="0" anchor="b" anchorCtr="0">
            <a:noAutofit/>
          </a:bodyPr>
          <a:lstStyle/>
          <a:p>
            <a:pPr marL="0" lvl="0" indent="0" algn="l" rtl="0">
              <a:spcBef>
                <a:spcPts val="0"/>
              </a:spcBef>
              <a:spcAft>
                <a:spcPts val="0"/>
              </a:spcAft>
              <a:buNone/>
            </a:pPr>
            <a:r>
              <a:rPr lang="en-GB" sz="667">
                <a:solidFill>
                  <a:schemeClr val="dk2"/>
                </a:solidFill>
                <a:latin typeface="Inter"/>
                <a:ea typeface="Inter"/>
                <a:cs typeface="Inter"/>
                <a:sym typeface="Inter"/>
              </a:rPr>
              <a:t>Multiverse</a:t>
            </a:r>
            <a:endParaRPr sz="667">
              <a:solidFill>
                <a:schemeClr val="dk2"/>
              </a:solidFill>
              <a:latin typeface="Inter"/>
              <a:ea typeface="Inter"/>
              <a:cs typeface="Inter"/>
              <a:sym typeface="Inter"/>
            </a:endParaRPr>
          </a:p>
        </p:txBody>
      </p:sp>
      <p:sp>
        <p:nvSpPr>
          <p:cNvPr id="1544" name="Google Shape;1544;p28"/>
          <p:cNvSpPr/>
          <p:nvPr/>
        </p:nvSpPr>
        <p:spPr>
          <a:xfrm>
            <a:off x="481601" y="414630"/>
            <a:ext cx="349111" cy="305471"/>
          </a:xfrm>
          <a:custGeom>
            <a:avLst/>
            <a:gdLst/>
            <a:ahLst/>
            <a:cxnLst/>
            <a:rect l="l" t="t" r="r" b="b"/>
            <a:pathLst>
              <a:path w="1586865" h="1388506" extrusionOk="0">
                <a:moveTo>
                  <a:pt x="1083683" y="969931"/>
                </a:moveTo>
                <a:lnTo>
                  <a:pt x="1083683" y="579692"/>
                </a:lnTo>
                <a:lnTo>
                  <a:pt x="849297" y="969931"/>
                </a:lnTo>
                <a:lnTo>
                  <a:pt x="848892" y="969931"/>
                </a:lnTo>
                <a:cubicBezTo>
                  <a:pt x="848892" y="969931"/>
                  <a:pt x="848892" y="969931"/>
                  <a:pt x="848892" y="969931"/>
                </a:cubicBezTo>
                <a:lnTo>
                  <a:pt x="738783" y="969931"/>
                </a:lnTo>
                <a:lnTo>
                  <a:pt x="738783" y="577668"/>
                </a:lnTo>
                <a:lnTo>
                  <a:pt x="549735" y="892612"/>
                </a:lnTo>
                <a:cubicBezTo>
                  <a:pt x="527876" y="929449"/>
                  <a:pt x="510873" y="958191"/>
                  <a:pt x="503992" y="969931"/>
                </a:cubicBezTo>
                <a:lnTo>
                  <a:pt x="393073" y="969931"/>
                </a:lnTo>
                <a:lnTo>
                  <a:pt x="393073" y="418576"/>
                </a:lnTo>
                <a:lnTo>
                  <a:pt x="503992" y="418576"/>
                </a:lnTo>
                <a:lnTo>
                  <a:pt x="502777" y="760643"/>
                </a:lnTo>
                <a:lnTo>
                  <a:pt x="503587" y="782098"/>
                </a:lnTo>
                <a:lnTo>
                  <a:pt x="721781" y="418981"/>
                </a:lnTo>
                <a:lnTo>
                  <a:pt x="721781" y="418981"/>
                </a:lnTo>
                <a:lnTo>
                  <a:pt x="721781" y="418981"/>
                </a:lnTo>
                <a:lnTo>
                  <a:pt x="739188" y="418981"/>
                </a:lnTo>
                <a:lnTo>
                  <a:pt x="847678" y="418981"/>
                </a:lnTo>
                <a:cubicBezTo>
                  <a:pt x="847678" y="418981"/>
                  <a:pt x="848487" y="722995"/>
                  <a:pt x="848892" y="783717"/>
                </a:cubicBezTo>
                <a:lnTo>
                  <a:pt x="1067895" y="418981"/>
                </a:lnTo>
                <a:lnTo>
                  <a:pt x="1067895" y="418981"/>
                </a:lnTo>
                <a:lnTo>
                  <a:pt x="1067895" y="418981"/>
                </a:lnTo>
                <a:lnTo>
                  <a:pt x="1085302" y="418981"/>
                </a:lnTo>
                <a:lnTo>
                  <a:pt x="1193387" y="418981"/>
                </a:lnTo>
                <a:lnTo>
                  <a:pt x="1193387" y="970336"/>
                </a:lnTo>
                <a:lnTo>
                  <a:pt x="1083683" y="970336"/>
                </a:lnTo>
                <a:close/>
                <a:moveTo>
                  <a:pt x="1190149" y="0"/>
                </a:moveTo>
                <a:lnTo>
                  <a:pt x="396716" y="0"/>
                </a:lnTo>
                <a:lnTo>
                  <a:pt x="0" y="694253"/>
                </a:lnTo>
                <a:lnTo>
                  <a:pt x="396716" y="1388507"/>
                </a:lnTo>
                <a:lnTo>
                  <a:pt x="1190149" y="1388507"/>
                </a:lnTo>
                <a:lnTo>
                  <a:pt x="1586865" y="694253"/>
                </a:lnTo>
                <a:lnTo>
                  <a:pt x="1190149" y="0"/>
                </a:lnTo>
                <a:close/>
              </a:path>
            </a:pathLst>
          </a:custGeom>
          <a:solidFill>
            <a:schemeClr val="dk2"/>
          </a:solidFill>
          <a:ln>
            <a:noFill/>
          </a:ln>
        </p:spPr>
        <p:txBody>
          <a:bodyPr spcFirstLastPara="1" wrap="square" lIns="91433" tIns="45700" rIns="91433" bIns="45700"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545" name="Google Shape;1545;p28"/>
          <p:cNvSpPr txBox="1">
            <a:spLocks noGrp="1"/>
          </p:cNvSpPr>
          <p:nvPr>
            <p:ph type="body" idx="2"/>
          </p:nvPr>
        </p:nvSpPr>
        <p:spPr>
          <a:xfrm>
            <a:off x="6122933" y="1335200"/>
            <a:ext cx="5117600" cy="4351200"/>
          </a:xfrm>
          <a:prstGeom prst="rect">
            <a:avLst/>
          </a:prstGeom>
          <a:noFill/>
          <a:ln>
            <a:noFill/>
          </a:ln>
        </p:spPr>
        <p:txBody>
          <a:bodyPr spcFirstLastPara="1" wrap="square" lIns="0" tIns="34275" rIns="68575" bIns="34275" anchor="t" anchorCtr="0">
            <a:noAutofit/>
          </a:bodyPr>
          <a:lstStyle>
            <a:lvl1pPr marL="609585" lvl="0" indent="-380990" algn="l" rtl="0">
              <a:lnSpc>
                <a:spcPct val="125000"/>
              </a:lnSpc>
              <a:spcBef>
                <a:spcPts val="0"/>
              </a:spcBef>
              <a:spcAft>
                <a:spcPts val="0"/>
              </a:spcAft>
              <a:buClr>
                <a:schemeClr val="dk2"/>
              </a:buClr>
              <a:buSzPts val="900"/>
              <a:buChar char="●"/>
              <a:defRPr sz="1200"/>
            </a:lvl1pPr>
            <a:lvl2pPr marL="1219170" lvl="1" indent="-380990" algn="l" rtl="0">
              <a:lnSpc>
                <a:spcPct val="125000"/>
              </a:lnSpc>
              <a:spcBef>
                <a:spcPts val="1200"/>
              </a:spcBef>
              <a:spcAft>
                <a:spcPts val="0"/>
              </a:spcAft>
              <a:buClr>
                <a:schemeClr val="dk2"/>
              </a:buClr>
              <a:buSzPts val="900"/>
              <a:buChar char="●"/>
              <a:defRPr sz="1200"/>
            </a:lvl2pPr>
            <a:lvl3pPr marL="1828754" lvl="2" indent="-380990" algn="l" rtl="0">
              <a:lnSpc>
                <a:spcPct val="125000"/>
              </a:lnSpc>
              <a:spcBef>
                <a:spcPts val="1200"/>
              </a:spcBef>
              <a:spcAft>
                <a:spcPts val="0"/>
              </a:spcAft>
              <a:buClr>
                <a:schemeClr val="dk2"/>
              </a:buClr>
              <a:buSzPts val="900"/>
              <a:buChar char="●"/>
              <a:defRPr sz="1200"/>
            </a:lvl3pPr>
            <a:lvl4pPr marL="2438339" lvl="3" indent="-380990" algn="l" rtl="0">
              <a:lnSpc>
                <a:spcPct val="125000"/>
              </a:lnSpc>
              <a:spcBef>
                <a:spcPts val="1200"/>
              </a:spcBef>
              <a:spcAft>
                <a:spcPts val="0"/>
              </a:spcAft>
              <a:buClr>
                <a:schemeClr val="dk2"/>
              </a:buClr>
              <a:buSzPts val="900"/>
              <a:buChar char="●"/>
              <a:defRPr sz="1200"/>
            </a:lvl4pPr>
            <a:lvl5pPr marL="3047924" lvl="4" indent="-380990" algn="l" rtl="0">
              <a:lnSpc>
                <a:spcPct val="125000"/>
              </a:lnSpc>
              <a:spcBef>
                <a:spcPts val="1200"/>
              </a:spcBef>
              <a:spcAft>
                <a:spcPts val="0"/>
              </a:spcAft>
              <a:buClr>
                <a:schemeClr val="dk2"/>
              </a:buClr>
              <a:buSzPts val="900"/>
              <a:buChar char="●"/>
              <a:defRPr sz="1200"/>
            </a:lvl5pPr>
            <a:lvl6pPr marL="3657509" lvl="5" indent="-380990" algn="l" rtl="0">
              <a:lnSpc>
                <a:spcPct val="125000"/>
              </a:lnSpc>
              <a:spcBef>
                <a:spcPts val="1200"/>
              </a:spcBef>
              <a:spcAft>
                <a:spcPts val="0"/>
              </a:spcAft>
              <a:buClr>
                <a:schemeClr val="dk2"/>
              </a:buClr>
              <a:buSzPts val="900"/>
              <a:buChar char="●"/>
              <a:defRPr sz="1200"/>
            </a:lvl6pPr>
            <a:lvl7pPr marL="4267093" lvl="6" indent="-380990" algn="l" rtl="0">
              <a:lnSpc>
                <a:spcPct val="125000"/>
              </a:lnSpc>
              <a:spcBef>
                <a:spcPts val="1200"/>
              </a:spcBef>
              <a:spcAft>
                <a:spcPts val="0"/>
              </a:spcAft>
              <a:buClr>
                <a:schemeClr val="dk2"/>
              </a:buClr>
              <a:buSzPts val="900"/>
              <a:buChar char="●"/>
              <a:defRPr sz="1200"/>
            </a:lvl7pPr>
            <a:lvl8pPr marL="4876678" lvl="7" indent="-380990" algn="l" rtl="0">
              <a:lnSpc>
                <a:spcPct val="125000"/>
              </a:lnSpc>
              <a:spcBef>
                <a:spcPts val="1200"/>
              </a:spcBef>
              <a:spcAft>
                <a:spcPts val="0"/>
              </a:spcAft>
              <a:buClr>
                <a:schemeClr val="dk2"/>
              </a:buClr>
              <a:buSzPts val="900"/>
              <a:buChar char="●"/>
              <a:defRPr sz="1200"/>
            </a:lvl8pPr>
            <a:lvl9pPr marL="5486263" lvl="8" indent="-380990" algn="l" rtl="0">
              <a:lnSpc>
                <a:spcPct val="125000"/>
              </a:lnSpc>
              <a:spcBef>
                <a:spcPts val="1200"/>
              </a:spcBef>
              <a:spcAft>
                <a:spcPts val="1200"/>
              </a:spcAft>
              <a:buClr>
                <a:schemeClr val="dk2"/>
              </a:buClr>
              <a:buSzPts val="900"/>
              <a:buChar char="●"/>
              <a:defRPr sz="1200"/>
            </a:lvl9pPr>
          </a:lstStyle>
          <a:p>
            <a:endParaRPr/>
          </a:p>
        </p:txBody>
      </p:sp>
    </p:spTree>
    <p:extLst>
      <p:ext uri="{BB962C8B-B14F-4D97-AF65-F5344CB8AC3E}">
        <p14:creationId xmlns:p14="http://schemas.microsoft.com/office/powerpoint/2010/main" val="93397136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matchingName="Title and Content 3 Column">
  <p:cSld name="Title and Content 3 Column">
    <p:bg>
      <p:bgPr>
        <a:solidFill>
          <a:schemeClr val="lt2"/>
        </a:solidFill>
        <a:effectLst/>
      </p:bgPr>
    </p:bg>
    <p:spTree>
      <p:nvGrpSpPr>
        <p:cNvPr id="1" name="Shape 1546"/>
        <p:cNvGrpSpPr/>
        <p:nvPr/>
      </p:nvGrpSpPr>
      <p:grpSpPr>
        <a:xfrm>
          <a:off x="0" y="0"/>
          <a:ext cx="0" cy="0"/>
          <a:chOff x="0" y="0"/>
          <a:chExt cx="0" cy="0"/>
        </a:xfrm>
      </p:grpSpPr>
      <p:sp>
        <p:nvSpPr>
          <p:cNvPr id="1547" name="Google Shape;1547;p29"/>
          <p:cNvSpPr txBox="1">
            <a:spLocks noGrp="1"/>
          </p:cNvSpPr>
          <p:nvPr>
            <p:ph type="title"/>
          </p:nvPr>
        </p:nvSpPr>
        <p:spPr>
          <a:xfrm>
            <a:off x="951700" y="359997"/>
            <a:ext cx="10515600" cy="975200"/>
          </a:xfrm>
          <a:prstGeom prst="rect">
            <a:avLst/>
          </a:prstGeom>
          <a:noFill/>
          <a:ln>
            <a:noFill/>
          </a:ln>
        </p:spPr>
        <p:txBody>
          <a:bodyPr spcFirstLastPara="1" wrap="square" lIns="0" tIns="0" rIns="68575" bIns="34275" anchor="t" anchorCtr="0">
            <a:normAutofit/>
          </a:bodyPr>
          <a:lstStyle>
            <a:lvl1pPr lvl="0" algn="l" rtl="0">
              <a:lnSpc>
                <a:spcPct val="90000"/>
              </a:lnSpc>
              <a:spcBef>
                <a:spcPts val="0"/>
              </a:spcBef>
              <a:spcAft>
                <a:spcPts val="0"/>
              </a:spcAft>
              <a:buClr>
                <a:schemeClr val="dk1"/>
              </a:buClr>
              <a:buSzPts val="2400"/>
              <a:buFont typeface="Inter Medium"/>
              <a:buNone/>
              <a:defRPr sz="3200">
                <a:latin typeface="Inter Medium"/>
                <a:ea typeface="Inter Medium"/>
                <a:cs typeface="Inter Medium"/>
                <a:sym typeface="Inter Medium"/>
              </a:defRPr>
            </a:lvl1pPr>
            <a:lvl2pPr lvl="1" rtl="0">
              <a:spcBef>
                <a:spcPts val="0"/>
              </a:spcBef>
              <a:spcAft>
                <a:spcPts val="0"/>
              </a:spcAft>
              <a:buSzPts val="1100"/>
              <a:buNone/>
              <a:defRPr b="1"/>
            </a:lvl2pPr>
            <a:lvl3pPr lvl="2" rtl="0">
              <a:spcBef>
                <a:spcPts val="0"/>
              </a:spcBef>
              <a:spcAft>
                <a:spcPts val="0"/>
              </a:spcAft>
              <a:buSzPts val="1100"/>
              <a:buNone/>
              <a:defRPr b="1"/>
            </a:lvl3pPr>
            <a:lvl4pPr lvl="3" rtl="0">
              <a:spcBef>
                <a:spcPts val="0"/>
              </a:spcBef>
              <a:spcAft>
                <a:spcPts val="0"/>
              </a:spcAft>
              <a:buSzPts val="1100"/>
              <a:buNone/>
              <a:defRPr b="1"/>
            </a:lvl4pPr>
            <a:lvl5pPr lvl="4" rtl="0">
              <a:spcBef>
                <a:spcPts val="0"/>
              </a:spcBef>
              <a:spcAft>
                <a:spcPts val="0"/>
              </a:spcAft>
              <a:buSzPts val="1100"/>
              <a:buNone/>
              <a:defRPr b="1"/>
            </a:lvl5pPr>
            <a:lvl6pPr lvl="5" rtl="0">
              <a:spcBef>
                <a:spcPts val="0"/>
              </a:spcBef>
              <a:spcAft>
                <a:spcPts val="0"/>
              </a:spcAft>
              <a:buSzPts val="1100"/>
              <a:buNone/>
              <a:defRPr b="1"/>
            </a:lvl6pPr>
            <a:lvl7pPr lvl="6" rtl="0">
              <a:spcBef>
                <a:spcPts val="0"/>
              </a:spcBef>
              <a:spcAft>
                <a:spcPts val="0"/>
              </a:spcAft>
              <a:buSzPts val="1100"/>
              <a:buNone/>
              <a:defRPr b="1"/>
            </a:lvl7pPr>
            <a:lvl8pPr lvl="7" rtl="0">
              <a:spcBef>
                <a:spcPts val="0"/>
              </a:spcBef>
              <a:spcAft>
                <a:spcPts val="0"/>
              </a:spcAft>
              <a:buSzPts val="1100"/>
              <a:buNone/>
              <a:defRPr b="1"/>
            </a:lvl8pPr>
            <a:lvl9pPr lvl="8" rtl="0">
              <a:spcBef>
                <a:spcPts val="0"/>
              </a:spcBef>
              <a:spcAft>
                <a:spcPts val="0"/>
              </a:spcAft>
              <a:buSzPts val="1100"/>
              <a:buNone/>
              <a:defRPr b="1"/>
            </a:lvl9pPr>
          </a:lstStyle>
          <a:p>
            <a:endParaRPr/>
          </a:p>
        </p:txBody>
      </p:sp>
      <p:sp>
        <p:nvSpPr>
          <p:cNvPr id="1548" name="Google Shape;1548;p29"/>
          <p:cNvSpPr txBox="1">
            <a:spLocks noGrp="1"/>
          </p:cNvSpPr>
          <p:nvPr>
            <p:ph type="body" idx="1"/>
          </p:nvPr>
        </p:nvSpPr>
        <p:spPr>
          <a:xfrm>
            <a:off x="481600" y="1335200"/>
            <a:ext cx="3237200" cy="4351200"/>
          </a:xfrm>
          <a:prstGeom prst="rect">
            <a:avLst/>
          </a:prstGeom>
          <a:noFill/>
          <a:ln>
            <a:noFill/>
          </a:ln>
        </p:spPr>
        <p:txBody>
          <a:bodyPr spcFirstLastPara="1" wrap="square" lIns="0" tIns="34275" rIns="68575" bIns="34275" anchor="t" anchorCtr="0">
            <a:noAutofit/>
          </a:bodyPr>
          <a:lstStyle>
            <a:lvl1pPr marL="609585" lvl="0" indent="-380990" algn="l" rtl="0">
              <a:lnSpc>
                <a:spcPct val="125000"/>
              </a:lnSpc>
              <a:spcBef>
                <a:spcPts val="0"/>
              </a:spcBef>
              <a:spcAft>
                <a:spcPts val="0"/>
              </a:spcAft>
              <a:buClr>
                <a:schemeClr val="dk2"/>
              </a:buClr>
              <a:buSzPts val="900"/>
              <a:buChar char="●"/>
              <a:defRPr sz="1200"/>
            </a:lvl1pPr>
            <a:lvl2pPr marL="1219170" lvl="1" indent="-380990" algn="l" rtl="0">
              <a:lnSpc>
                <a:spcPct val="125000"/>
              </a:lnSpc>
              <a:spcBef>
                <a:spcPts val="1200"/>
              </a:spcBef>
              <a:spcAft>
                <a:spcPts val="0"/>
              </a:spcAft>
              <a:buClr>
                <a:schemeClr val="dk2"/>
              </a:buClr>
              <a:buSzPts val="900"/>
              <a:buChar char="●"/>
              <a:defRPr sz="1200"/>
            </a:lvl2pPr>
            <a:lvl3pPr marL="1828754" lvl="2" indent="-380990" algn="l" rtl="0">
              <a:lnSpc>
                <a:spcPct val="125000"/>
              </a:lnSpc>
              <a:spcBef>
                <a:spcPts val="1200"/>
              </a:spcBef>
              <a:spcAft>
                <a:spcPts val="0"/>
              </a:spcAft>
              <a:buClr>
                <a:schemeClr val="dk2"/>
              </a:buClr>
              <a:buSzPts val="900"/>
              <a:buChar char="●"/>
              <a:defRPr sz="1200"/>
            </a:lvl3pPr>
            <a:lvl4pPr marL="2438339" lvl="3" indent="-380990" algn="l" rtl="0">
              <a:lnSpc>
                <a:spcPct val="125000"/>
              </a:lnSpc>
              <a:spcBef>
                <a:spcPts val="1200"/>
              </a:spcBef>
              <a:spcAft>
                <a:spcPts val="0"/>
              </a:spcAft>
              <a:buClr>
                <a:schemeClr val="dk2"/>
              </a:buClr>
              <a:buSzPts val="900"/>
              <a:buChar char="●"/>
              <a:defRPr sz="1200"/>
            </a:lvl4pPr>
            <a:lvl5pPr marL="3047924" lvl="4" indent="-380990" algn="l" rtl="0">
              <a:lnSpc>
                <a:spcPct val="125000"/>
              </a:lnSpc>
              <a:spcBef>
                <a:spcPts val="1200"/>
              </a:spcBef>
              <a:spcAft>
                <a:spcPts val="0"/>
              </a:spcAft>
              <a:buClr>
                <a:schemeClr val="dk2"/>
              </a:buClr>
              <a:buSzPts val="900"/>
              <a:buChar char="●"/>
              <a:defRPr sz="1200"/>
            </a:lvl5pPr>
            <a:lvl6pPr marL="3657509" lvl="5" indent="-380990" algn="l" rtl="0">
              <a:lnSpc>
                <a:spcPct val="125000"/>
              </a:lnSpc>
              <a:spcBef>
                <a:spcPts val="1200"/>
              </a:spcBef>
              <a:spcAft>
                <a:spcPts val="0"/>
              </a:spcAft>
              <a:buClr>
                <a:schemeClr val="dk2"/>
              </a:buClr>
              <a:buSzPts val="900"/>
              <a:buChar char="●"/>
              <a:defRPr sz="1200"/>
            </a:lvl6pPr>
            <a:lvl7pPr marL="4267093" lvl="6" indent="-380990" algn="l" rtl="0">
              <a:lnSpc>
                <a:spcPct val="125000"/>
              </a:lnSpc>
              <a:spcBef>
                <a:spcPts val="1200"/>
              </a:spcBef>
              <a:spcAft>
                <a:spcPts val="0"/>
              </a:spcAft>
              <a:buClr>
                <a:schemeClr val="dk2"/>
              </a:buClr>
              <a:buSzPts val="900"/>
              <a:buChar char="●"/>
              <a:defRPr sz="1200"/>
            </a:lvl7pPr>
            <a:lvl8pPr marL="4876678" lvl="7" indent="-380990" algn="l" rtl="0">
              <a:lnSpc>
                <a:spcPct val="125000"/>
              </a:lnSpc>
              <a:spcBef>
                <a:spcPts val="1200"/>
              </a:spcBef>
              <a:spcAft>
                <a:spcPts val="0"/>
              </a:spcAft>
              <a:buClr>
                <a:schemeClr val="dk2"/>
              </a:buClr>
              <a:buSzPts val="900"/>
              <a:buChar char="●"/>
              <a:defRPr sz="1200"/>
            </a:lvl8pPr>
            <a:lvl9pPr marL="5486263" lvl="8" indent="-380990" algn="l" rtl="0">
              <a:lnSpc>
                <a:spcPct val="125000"/>
              </a:lnSpc>
              <a:spcBef>
                <a:spcPts val="1200"/>
              </a:spcBef>
              <a:spcAft>
                <a:spcPts val="1200"/>
              </a:spcAft>
              <a:buClr>
                <a:schemeClr val="dk2"/>
              </a:buClr>
              <a:buSzPts val="900"/>
              <a:buChar char="●"/>
              <a:defRPr sz="1200"/>
            </a:lvl9pPr>
          </a:lstStyle>
          <a:p>
            <a:endParaRPr/>
          </a:p>
        </p:txBody>
      </p:sp>
      <p:sp>
        <p:nvSpPr>
          <p:cNvPr id="1549" name="Google Shape;1549;p29"/>
          <p:cNvSpPr txBox="1">
            <a:spLocks noGrp="1"/>
          </p:cNvSpPr>
          <p:nvPr>
            <p:ph type="sldNum" idx="12"/>
          </p:nvPr>
        </p:nvSpPr>
        <p:spPr>
          <a:xfrm>
            <a:off x="10978812" y="5993647"/>
            <a:ext cx="731600" cy="524800"/>
          </a:xfrm>
          <a:prstGeom prst="rect">
            <a:avLst/>
          </a:prstGeom>
        </p:spPr>
        <p:txBody>
          <a:bodyPr spcFirstLastPara="1" wrap="square" lIns="91425" tIns="91425" rIns="0" bIns="0" anchor="b" anchorCtr="0">
            <a:noAutofit/>
          </a:bodyPr>
          <a:lstStyle>
            <a:lvl1pPr lvl="0" algn="r" rtl="0">
              <a:buNone/>
              <a:defRPr sz="667">
                <a:solidFill>
                  <a:schemeClr val="dk2"/>
                </a:solidFill>
                <a:latin typeface="Inter"/>
                <a:ea typeface="Inter"/>
                <a:cs typeface="Inter"/>
                <a:sym typeface="Inter"/>
              </a:defRPr>
            </a:lvl1pPr>
            <a:lvl2pPr lvl="1" algn="r" rtl="0">
              <a:buNone/>
              <a:defRPr sz="667">
                <a:solidFill>
                  <a:schemeClr val="dk2"/>
                </a:solidFill>
                <a:latin typeface="Inter"/>
                <a:ea typeface="Inter"/>
                <a:cs typeface="Inter"/>
                <a:sym typeface="Inter"/>
              </a:defRPr>
            </a:lvl2pPr>
            <a:lvl3pPr lvl="2" algn="r" rtl="0">
              <a:buNone/>
              <a:defRPr sz="667">
                <a:solidFill>
                  <a:schemeClr val="dk2"/>
                </a:solidFill>
                <a:latin typeface="Inter"/>
                <a:ea typeface="Inter"/>
                <a:cs typeface="Inter"/>
                <a:sym typeface="Inter"/>
              </a:defRPr>
            </a:lvl3pPr>
            <a:lvl4pPr lvl="3" algn="r" rtl="0">
              <a:buNone/>
              <a:defRPr sz="667">
                <a:solidFill>
                  <a:schemeClr val="dk2"/>
                </a:solidFill>
                <a:latin typeface="Inter"/>
                <a:ea typeface="Inter"/>
                <a:cs typeface="Inter"/>
                <a:sym typeface="Inter"/>
              </a:defRPr>
            </a:lvl4pPr>
            <a:lvl5pPr lvl="4" algn="r" rtl="0">
              <a:buNone/>
              <a:defRPr sz="667">
                <a:solidFill>
                  <a:schemeClr val="dk2"/>
                </a:solidFill>
                <a:latin typeface="Inter"/>
                <a:ea typeface="Inter"/>
                <a:cs typeface="Inter"/>
                <a:sym typeface="Inter"/>
              </a:defRPr>
            </a:lvl5pPr>
            <a:lvl6pPr lvl="5" algn="r" rtl="0">
              <a:buNone/>
              <a:defRPr sz="667">
                <a:solidFill>
                  <a:schemeClr val="dk2"/>
                </a:solidFill>
                <a:latin typeface="Inter"/>
                <a:ea typeface="Inter"/>
                <a:cs typeface="Inter"/>
                <a:sym typeface="Inter"/>
              </a:defRPr>
            </a:lvl6pPr>
            <a:lvl7pPr lvl="6" algn="r" rtl="0">
              <a:buNone/>
              <a:defRPr sz="667">
                <a:solidFill>
                  <a:schemeClr val="dk2"/>
                </a:solidFill>
                <a:latin typeface="Inter"/>
                <a:ea typeface="Inter"/>
                <a:cs typeface="Inter"/>
                <a:sym typeface="Inter"/>
              </a:defRPr>
            </a:lvl7pPr>
            <a:lvl8pPr lvl="7" algn="r" rtl="0">
              <a:buNone/>
              <a:defRPr sz="667">
                <a:solidFill>
                  <a:schemeClr val="dk2"/>
                </a:solidFill>
                <a:latin typeface="Inter"/>
                <a:ea typeface="Inter"/>
                <a:cs typeface="Inter"/>
                <a:sym typeface="Inter"/>
              </a:defRPr>
            </a:lvl8pPr>
            <a:lvl9pPr lvl="8" algn="r" rtl="0">
              <a:buNone/>
              <a:defRPr sz="667">
                <a:solidFill>
                  <a:schemeClr val="dk2"/>
                </a:solidFill>
                <a:latin typeface="Inter"/>
                <a:ea typeface="Inter"/>
                <a:cs typeface="Inter"/>
                <a:sym typeface="Inter"/>
              </a:defRPr>
            </a:lvl9pPr>
          </a:lstStyle>
          <a:p>
            <a:fld id="{00000000-1234-1234-1234-123412341234}" type="slidenum">
              <a:rPr lang="en-GB" smtClean="0"/>
              <a:pPr/>
              <a:t>‹#›</a:t>
            </a:fld>
            <a:endParaRPr lang="en-GB"/>
          </a:p>
        </p:txBody>
      </p:sp>
      <p:sp>
        <p:nvSpPr>
          <p:cNvPr id="1550" name="Google Shape;1550;p29"/>
          <p:cNvSpPr txBox="1"/>
          <p:nvPr/>
        </p:nvSpPr>
        <p:spPr>
          <a:xfrm>
            <a:off x="481600" y="6245247"/>
            <a:ext cx="1288400" cy="273200"/>
          </a:xfrm>
          <a:prstGeom prst="rect">
            <a:avLst/>
          </a:prstGeom>
          <a:noFill/>
          <a:ln>
            <a:noFill/>
          </a:ln>
        </p:spPr>
        <p:txBody>
          <a:bodyPr spcFirstLastPara="1" wrap="square" lIns="0" tIns="0" rIns="0" bIns="0" anchor="b" anchorCtr="0">
            <a:noAutofit/>
          </a:bodyPr>
          <a:lstStyle/>
          <a:p>
            <a:pPr marL="0" lvl="0" indent="0" algn="l" rtl="0">
              <a:spcBef>
                <a:spcPts val="0"/>
              </a:spcBef>
              <a:spcAft>
                <a:spcPts val="0"/>
              </a:spcAft>
              <a:buNone/>
            </a:pPr>
            <a:r>
              <a:rPr lang="en-GB" sz="667">
                <a:solidFill>
                  <a:schemeClr val="dk2"/>
                </a:solidFill>
                <a:latin typeface="Inter"/>
                <a:ea typeface="Inter"/>
                <a:cs typeface="Inter"/>
                <a:sym typeface="Inter"/>
              </a:rPr>
              <a:t>Multiverse</a:t>
            </a:r>
            <a:endParaRPr sz="667">
              <a:solidFill>
                <a:schemeClr val="dk2"/>
              </a:solidFill>
              <a:latin typeface="Inter"/>
              <a:ea typeface="Inter"/>
              <a:cs typeface="Inter"/>
              <a:sym typeface="Inter"/>
            </a:endParaRPr>
          </a:p>
        </p:txBody>
      </p:sp>
      <p:sp>
        <p:nvSpPr>
          <p:cNvPr id="1551" name="Google Shape;1551;p29"/>
          <p:cNvSpPr/>
          <p:nvPr/>
        </p:nvSpPr>
        <p:spPr>
          <a:xfrm>
            <a:off x="481601" y="414630"/>
            <a:ext cx="349111" cy="305471"/>
          </a:xfrm>
          <a:custGeom>
            <a:avLst/>
            <a:gdLst/>
            <a:ahLst/>
            <a:cxnLst/>
            <a:rect l="l" t="t" r="r" b="b"/>
            <a:pathLst>
              <a:path w="1586865" h="1388506" extrusionOk="0">
                <a:moveTo>
                  <a:pt x="1083683" y="969931"/>
                </a:moveTo>
                <a:lnTo>
                  <a:pt x="1083683" y="579692"/>
                </a:lnTo>
                <a:lnTo>
                  <a:pt x="849297" y="969931"/>
                </a:lnTo>
                <a:lnTo>
                  <a:pt x="848892" y="969931"/>
                </a:lnTo>
                <a:cubicBezTo>
                  <a:pt x="848892" y="969931"/>
                  <a:pt x="848892" y="969931"/>
                  <a:pt x="848892" y="969931"/>
                </a:cubicBezTo>
                <a:lnTo>
                  <a:pt x="738783" y="969931"/>
                </a:lnTo>
                <a:lnTo>
                  <a:pt x="738783" y="577668"/>
                </a:lnTo>
                <a:lnTo>
                  <a:pt x="549735" y="892612"/>
                </a:lnTo>
                <a:cubicBezTo>
                  <a:pt x="527876" y="929449"/>
                  <a:pt x="510873" y="958191"/>
                  <a:pt x="503992" y="969931"/>
                </a:cubicBezTo>
                <a:lnTo>
                  <a:pt x="393073" y="969931"/>
                </a:lnTo>
                <a:lnTo>
                  <a:pt x="393073" y="418576"/>
                </a:lnTo>
                <a:lnTo>
                  <a:pt x="503992" y="418576"/>
                </a:lnTo>
                <a:lnTo>
                  <a:pt x="502777" y="760643"/>
                </a:lnTo>
                <a:lnTo>
                  <a:pt x="503587" y="782098"/>
                </a:lnTo>
                <a:lnTo>
                  <a:pt x="721781" y="418981"/>
                </a:lnTo>
                <a:lnTo>
                  <a:pt x="721781" y="418981"/>
                </a:lnTo>
                <a:lnTo>
                  <a:pt x="721781" y="418981"/>
                </a:lnTo>
                <a:lnTo>
                  <a:pt x="739188" y="418981"/>
                </a:lnTo>
                <a:lnTo>
                  <a:pt x="847678" y="418981"/>
                </a:lnTo>
                <a:cubicBezTo>
                  <a:pt x="847678" y="418981"/>
                  <a:pt x="848487" y="722995"/>
                  <a:pt x="848892" y="783717"/>
                </a:cubicBezTo>
                <a:lnTo>
                  <a:pt x="1067895" y="418981"/>
                </a:lnTo>
                <a:lnTo>
                  <a:pt x="1067895" y="418981"/>
                </a:lnTo>
                <a:lnTo>
                  <a:pt x="1067895" y="418981"/>
                </a:lnTo>
                <a:lnTo>
                  <a:pt x="1085302" y="418981"/>
                </a:lnTo>
                <a:lnTo>
                  <a:pt x="1193387" y="418981"/>
                </a:lnTo>
                <a:lnTo>
                  <a:pt x="1193387" y="970336"/>
                </a:lnTo>
                <a:lnTo>
                  <a:pt x="1083683" y="970336"/>
                </a:lnTo>
                <a:close/>
                <a:moveTo>
                  <a:pt x="1190149" y="0"/>
                </a:moveTo>
                <a:lnTo>
                  <a:pt x="396716" y="0"/>
                </a:lnTo>
                <a:lnTo>
                  <a:pt x="0" y="694253"/>
                </a:lnTo>
                <a:lnTo>
                  <a:pt x="396716" y="1388507"/>
                </a:lnTo>
                <a:lnTo>
                  <a:pt x="1190149" y="1388507"/>
                </a:lnTo>
                <a:lnTo>
                  <a:pt x="1586865" y="694253"/>
                </a:lnTo>
                <a:lnTo>
                  <a:pt x="1190149" y="0"/>
                </a:lnTo>
                <a:close/>
              </a:path>
            </a:pathLst>
          </a:custGeom>
          <a:solidFill>
            <a:schemeClr val="dk2"/>
          </a:solidFill>
          <a:ln>
            <a:noFill/>
          </a:ln>
        </p:spPr>
        <p:txBody>
          <a:bodyPr spcFirstLastPara="1" wrap="square" lIns="91433" tIns="45700" rIns="91433" bIns="45700"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552" name="Google Shape;1552;p29"/>
          <p:cNvSpPr txBox="1">
            <a:spLocks noGrp="1"/>
          </p:cNvSpPr>
          <p:nvPr>
            <p:ph type="body" idx="2"/>
          </p:nvPr>
        </p:nvSpPr>
        <p:spPr>
          <a:xfrm>
            <a:off x="4242500" y="1335200"/>
            <a:ext cx="3237200" cy="4351200"/>
          </a:xfrm>
          <a:prstGeom prst="rect">
            <a:avLst/>
          </a:prstGeom>
          <a:noFill/>
          <a:ln>
            <a:noFill/>
          </a:ln>
        </p:spPr>
        <p:txBody>
          <a:bodyPr spcFirstLastPara="1" wrap="square" lIns="0" tIns="34275" rIns="68575" bIns="34275" anchor="t" anchorCtr="0">
            <a:noAutofit/>
          </a:bodyPr>
          <a:lstStyle>
            <a:lvl1pPr marL="609585" lvl="0" indent="-380990" algn="l" rtl="0">
              <a:lnSpc>
                <a:spcPct val="125000"/>
              </a:lnSpc>
              <a:spcBef>
                <a:spcPts val="0"/>
              </a:spcBef>
              <a:spcAft>
                <a:spcPts val="0"/>
              </a:spcAft>
              <a:buClr>
                <a:schemeClr val="dk2"/>
              </a:buClr>
              <a:buSzPts val="900"/>
              <a:buChar char="●"/>
              <a:defRPr sz="1200"/>
            </a:lvl1pPr>
            <a:lvl2pPr marL="1219170" lvl="1" indent="-380990" algn="l" rtl="0">
              <a:lnSpc>
                <a:spcPct val="125000"/>
              </a:lnSpc>
              <a:spcBef>
                <a:spcPts val="1200"/>
              </a:spcBef>
              <a:spcAft>
                <a:spcPts val="0"/>
              </a:spcAft>
              <a:buClr>
                <a:schemeClr val="dk2"/>
              </a:buClr>
              <a:buSzPts val="900"/>
              <a:buChar char="●"/>
              <a:defRPr sz="1200"/>
            </a:lvl2pPr>
            <a:lvl3pPr marL="1828754" lvl="2" indent="-380990" algn="l" rtl="0">
              <a:lnSpc>
                <a:spcPct val="125000"/>
              </a:lnSpc>
              <a:spcBef>
                <a:spcPts val="1200"/>
              </a:spcBef>
              <a:spcAft>
                <a:spcPts val="0"/>
              </a:spcAft>
              <a:buClr>
                <a:schemeClr val="dk2"/>
              </a:buClr>
              <a:buSzPts val="900"/>
              <a:buChar char="●"/>
              <a:defRPr sz="1200"/>
            </a:lvl3pPr>
            <a:lvl4pPr marL="2438339" lvl="3" indent="-380990" algn="l" rtl="0">
              <a:lnSpc>
                <a:spcPct val="125000"/>
              </a:lnSpc>
              <a:spcBef>
                <a:spcPts val="1200"/>
              </a:spcBef>
              <a:spcAft>
                <a:spcPts val="0"/>
              </a:spcAft>
              <a:buClr>
                <a:schemeClr val="dk2"/>
              </a:buClr>
              <a:buSzPts val="900"/>
              <a:buChar char="●"/>
              <a:defRPr sz="1200"/>
            </a:lvl4pPr>
            <a:lvl5pPr marL="3047924" lvl="4" indent="-380990" algn="l" rtl="0">
              <a:lnSpc>
                <a:spcPct val="125000"/>
              </a:lnSpc>
              <a:spcBef>
                <a:spcPts val="1200"/>
              </a:spcBef>
              <a:spcAft>
                <a:spcPts val="0"/>
              </a:spcAft>
              <a:buClr>
                <a:schemeClr val="dk2"/>
              </a:buClr>
              <a:buSzPts val="900"/>
              <a:buChar char="●"/>
              <a:defRPr sz="1200"/>
            </a:lvl5pPr>
            <a:lvl6pPr marL="3657509" lvl="5" indent="-380990" algn="l" rtl="0">
              <a:lnSpc>
                <a:spcPct val="125000"/>
              </a:lnSpc>
              <a:spcBef>
                <a:spcPts val="1200"/>
              </a:spcBef>
              <a:spcAft>
                <a:spcPts val="0"/>
              </a:spcAft>
              <a:buClr>
                <a:schemeClr val="dk2"/>
              </a:buClr>
              <a:buSzPts val="900"/>
              <a:buChar char="●"/>
              <a:defRPr sz="1200"/>
            </a:lvl6pPr>
            <a:lvl7pPr marL="4267093" lvl="6" indent="-380990" algn="l" rtl="0">
              <a:lnSpc>
                <a:spcPct val="125000"/>
              </a:lnSpc>
              <a:spcBef>
                <a:spcPts val="1200"/>
              </a:spcBef>
              <a:spcAft>
                <a:spcPts val="0"/>
              </a:spcAft>
              <a:buClr>
                <a:schemeClr val="dk2"/>
              </a:buClr>
              <a:buSzPts val="900"/>
              <a:buChar char="●"/>
              <a:defRPr sz="1200"/>
            </a:lvl7pPr>
            <a:lvl8pPr marL="4876678" lvl="7" indent="-380990" algn="l" rtl="0">
              <a:lnSpc>
                <a:spcPct val="125000"/>
              </a:lnSpc>
              <a:spcBef>
                <a:spcPts val="1200"/>
              </a:spcBef>
              <a:spcAft>
                <a:spcPts val="0"/>
              </a:spcAft>
              <a:buClr>
                <a:schemeClr val="dk2"/>
              </a:buClr>
              <a:buSzPts val="900"/>
              <a:buChar char="●"/>
              <a:defRPr sz="1200"/>
            </a:lvl8pPr>
            <a:lvl9pPr marL="5486263" lvl="8" indent="-380990" algn="l" rtl="0">
              <a:lnSpc>
                <a:spcPct val="125000"/>
              </a:lnSpc>
              <a:spcBef>
                <a:spcPts val="1200"/>
              </a:spcBef>
              <a:spcAft>
                <a:spcPts val="1200"/>
              </a:spcAft>
              <a:buClr>
                <a:schemeClr val="dk2"/>
              </a:buClr>
              <a:buSzPts val="900"/>
              <a:buChar char="●"/>
              <a:defRPr sz="1200"/>
            </a:lvl9pPr>
          </a:lstStyle>
          <a:p>
            <a:endParaRPr/>
          </a:p>
        </p:txBody>
      </p:sp>
      <p:sp>
        <p:nvSpPr>
          <p:cNvPr id="1553" name="Google Shape;1553;p29"/>
          <p:cNvSpPr txBox="1">
            <a:spLocks noGrp="1"/>
          </p:cNvSpPr>
          <p:nvPr>
            <p:ph type="body" idx="3"/>
          </p:nvPr>
        </p:nvSpPr>
        <p:spPr>
          <a:xfrm>
            <a:off x="8003400" y="1335200"/>
            <a:ext cx="3237200" cy="4351200"/>
          </a:xfrm>
          <a:prstGeom prst="rect">
            <a:avLst/>
          </a:prstGeom>
          <a:noFill/>
          <a:ln>
            <a:noFill/>
          </a:ln>
        </p:spPr>
        <p:txBody>
          <a:bodyPr spcFirstLastPara="1" wrap="square" lIns="0" tIns="34275" rIns="68575" bIns="34275" anchor="t" anchorCtr="0">
            <a:noAutofit/>
          </a:bodyPr>
          <a:lstStyle>
            <a:lvl1pPr marL="609585" lvl="0" indent="-380990" algn="l" rtl="0">
              <a:lnSpc>
                <a:spcPct val="125000"/>
              </a:lnSpc>
              <a:spcBef>
                <a:spcPts val="0"/>
              </a:spcBef>
              <a:spcAft>
                <a:spcPts val="0"/>
              </a:spcAft>
              <a:buClr>
                <a:schemeClr val="dk2"/>
              </a:buClr>
              <a:buSzPts val="900"/>
              <a:buChar char="●"/>
              <a:defRPr sz="1200"/>
            </a:lvl1pPr>
            <a:lvl2pPr marL="1219170" lvl="1" indent="-380990" algn="l" rtl="0">
              <a:lnSpc>
                <a:spcPct val="125000"/>
              </a:lnSpc>
              <a:spcBef>
                <a:spcPts val="1200"/>
              </a:spcBef>
              <a:spcAft>
                <a:spcPts val="0"/>
              </a:spcAft>
              <a:buClr>
                <a:schemeClr val="dk2"/>
              </a:buClr>
              <a:buSzPts val="900"/>
              <a:buChar char="●"/>
              <a:defRPr sz="1200"/>
            </a:lvl2pPr>
            <a:lvl3pPr marL="1828754" lvl="2" indent="-380990" algn="l" rtl="0">
              <a:lnSpc>
                <a:spcPct val="125000"/>
              </a:lnSpc>
              <a:spcBef>
                <a:spcPts val="1200"/>
              </a:spcBef>
              <a:spcAft>
                <a:spcPts val="0"/>
              </a:spcAft>
              <a:buClr>
                <a:schemeClr val="dk2"/>
              </a:buClr>
              <a:buSzPts val="900"/>
              <a:buChar char="●"/>
              <a:defRPr sz="1200"/>
            </a:lvl3pPr>
            <a:lvl4pPr marL="2438339" lvl="3" indent="-380990" algn="l" rtl="0">
              <a:lnSpc>
                <a:spcPct val="125000"/>
              </a:lnSpc>
              <a:spcBef>
                <a:spcPts val="1200"/>
              </a:spcBef>
              <a:spcAft>
                <a:spcPts val="0"/>
              </a:spcAft>
              <a:buClr>
                <a:schemeClr val="dk2"/>
              </a:buClr>
              <a:buSzPts val="900"/>
              <a:buChar char="●"/>
              <a:defRPr sz="1200"/>
            </a:lvl4pPr>
            <a:lvl5pPr marL="3047924" lvl="4" indent="-380990" algn="l" rtl="0">
              <a:lnSpc>
                <a:spcPct val="125000"/>
              </a:lnSpc>
              <a:spcBef>
                <a:spcPts val="1200"/>
              </a:spcBef>
              <a:spcAft>
                <a:spcPts val="0"/>
              </a:spcAft>
              <a:buClr>
                <a:schemeClr val="dk2"/>
              </a:buClr>
              <a:buSzPts val="900"/>
              <a:buChar char="●"/>
              <a:defRPr sz="1200"/>
            </a:lvl5pPr>
            <a:lvl6pPr marL="3657509" lvl="5" indent="-380990" algn="l" rtl="0">
              <a:lnSpc>
                <a:spcPct val="125000"/>
              </a:lnSpc>
              <a:spcBef>
                <a:spcPts val="1200"/>
              </a:spcBef>
              <a:spcAft>
                <a:spcPts val="0"/>
              </a:spcAft>
              <a:buClr>
                <a:schemeClr val="dk2"/>
              </a:buClr>
              <a:buSzPts val="900"/>
              <a:buChar char="●"/>
              <a:defRPr sz="1200"/>
            </a:lvl6pPr>
            <a:lvl7pPr marL="4267093" lvl="6" indent="-380990" algn="l" rtl="0">
              <a:lnSpc>
                <a:spcPct val="125000"/>
              </a:lnSpc>
              <a:spcBef>
                <a:spcPts val="1200"/>
              </a:spcBef>
              <a:spcAft>
                <a:spcPts val="0"/>
              </a:spcAft>
              <a:buClr>
                <a:schemeClr val="dk2"/>
              </a:buClr>
              <a:buSzPts val="900"/>
              <a:buChar char="●"/>
              <a:defRPr sz="1200"/>
            </a:lvl7pPr>
            <a:lvl8pPr marL="4876678" lvl="7" indent="-380990" algn="l" rtl="0">
              <a:lnSpc>
                <a:spcPct val="125000"/>
              </a:lnSpc>
              <a:spcBef>
                <a:spcPts val="1200"/>
              </a:spcBef>
              <a:spcAft>
                <a:spcPts val="0"/>
              </a:spcAft>
              <a:buClr>
                <a:schemeClr val="dk2"/>
              </a:buClr>
              <a:buSzPts val="900"/>
              <a:buChar char="●"/>
              <a:defRPr sz="1200"/>
            </a:lvl8pPr>
            <a:lvl9pPr marL="5486263" lvl="8" indent="-380990" algn="l" rtl="0">
              <a:lnSpc>
                <a:spcPct val="125000"/>
              </a:lnSpc>
              <a:spcBef>
                <a:spcPts val="1200"/>
              </a:spcBef>
              <a:spcAft>
                <a:spcPts val="1200"/>
              </a:spcAft>
              <a:buClr>
                <a:schemeClr val="dk2"/>
              </a:buClr>
              <a:buSzPts val="900"/>
              <a:buChar char="●"/>
              <a:defRPr sz="1200"/>
            </a:lvl9pPr>
          </a:lstStyle>
          <a:p>
            <a:endParaRPr/>
          </a:p>
        </p:txBody>
      </p:sp>
    </p:spTree>
    <p:extLst>
      <p:ext uri="{BB962C8B-B14F-4D97-AF65-F5344CB8AC3E}">
        <p14:creationId xmlns:p14="http://schemas.microsoft.com/office/powerpoint/2010/main" val="166295236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matchingName="Title only - White">
  <p:cSld name="Title only - White">
    <p:bg>
      <p:bgPr>
        <a:solidFill>
          <a:schemeClr val="lt1"/>
        </a:solidFill>
        <a:effectLst/>
      </p:bgPr>
    </p:bg>
    <p:spTree>
      <p:nvGrpSpPr>
        <p:cNvPr id="1" name="Shape 1554"/>
        <p:cNvGrpSpPr/>
        <p:nvPr/>
      </p:nvGrpSpPr>
      <p:grpSpPr>
        <a:xfrm>
          <a:off x="0" y="0"/>
          <a:ext cx="0" cy="0"/>
          <a:chOff x="0" y="0"/>
          <a:chExt cx="0" cy="0"/>
        </a:xfrm>
      </p:grpSpPr>
      <p:sp>
        <p:nvSpPr>
          <p:cNvPr id="1555" name="Google Shape;1555;p30"/>
          <p:cNvSpPr txBox="1">
            <a:spLocks noGrp="1"/>
          </p:cNvSpPr>
          <p:nvPr>
            <p:ph type="title"/>
          </p:nvPr>
        </p:nvSpPr>
        <p:spPr>
          <a:xfrm>
            <a:off x="951700" y="359997"/>
            <a:ext cx="10515600" cy="975200"/>
          </a:xfrm>
          <a:prstGeom prst="rect">
            <a:avLst/>
          </a:prstGeom>
          <a:noFill/>
          <a:ln>
            <a:noFill/>
          </a:ln>
        </p:spPr>
        <p:txBody>
          <a:bodyPr spcFirstLastPara="1" wrap="square" lIns="0" tIns="0" rIns="68575" bIns="34275" anchor="t" anchorCtr="0">
            <a:normAutofit/>
          </a:bodyPr>
          <a:lstStyle>
            <a:lvl1pPr lvl="0" algn="l" rtl="0">
              <a:lnSpc>
                <a:spcPct val="90000"/>
              </a:lnSpc>
              <a:spcBef>
                <a:spcPts val="0"/>
              </a:spcBef>
              <a:spcAft>
                <a:spcPts val="0"/>
              </a:spcAft>
              <a:buClr>
                <a:schemeClr val="dk1"/>
              </a:buClr>
              <a:buSzPts val="2400"/>
              <a:buFont typeface="Inter Medium"/>
              <a:buNone/>
              <a:defRPr sz="3200">
                <a:latin typeface="Inter Medium"/>
                <a:ea typeface="Inter Medium"/>
                <a:cs typeface="Inter Medium"/>
                <a:sym typeface="Inter Medium"/>
              </a:defRPr>
            </a:lvl1pPr>
            <a:lvl2pPr lvl="1" rtl="0">
              <a:spcBef>
                <a:spcPts val="0"/>
              </a:spcBef>
              <a:spcAft>
                <a:spcPts val="0"/>
              </a:spcAft>
              <a:buSzPts val="1100"/>
              <a:buNone/>
              <a:defRPr b="1"/>
            </a:lvl2pPr>
            <a:lvl3pPr lvl="2" rtl="0">
              <a:spcBef>
                <a:spcPts val="0"/>
              </a:spcBef>
              <a:spcAft>
                <a:spcPts val="0"/>
              </a:spcAft>
              <a:buSzPts val="1100"/>
              <a:buNone/>
              <a:defRPr b="1"/>
            </a:lvl3pPr>
            <a:lvl4pPr lvl="3" rtl="0">
              <a:spcBef>
                <a:spcPts val="0"/>
              </a:spcBef>
              <a:spcAft>
                <a:spcPts val="0"/>
              </a:spcAft>
              <a:buSzPts val="1100"/>
              <a:buNone/>
              <a:defRPr b="1"/>
            </a:lvl4pPr>
            <a:lvl5pPr lvl="4" rtl="0">
              <a:spcBef>
                <a:spcPts val="0"/>
              </a:spcBef>
              <a:spcAft>
                <a:spcPts val="0"/>
              </a:spcAft>
              <a:buSzPts val="1100"/>
              <a:buNone/>
              <a:defRPr b="1"/>
            </a:lvl5pPr>
            <a:lvl6pPr lvl="5" rtl="0">
              <a:spcBef>
                <a:spcPts val="0"/>
              </a:spcBef>
              <a:spcAft>
                <a:spcPts val="0"/>
              </a:spcAft>
              <a:buSzPts val="1100"/>
              <a:buNone/>
              <a:defRPr b="1"/>
            </a:lvl6pPr>
            <a:lvl7pPr lvl="6" rtl="0">
              <a:spcBef>
                <a:spcPts val="0"/>
              </a:spcBef>
              <a:spcAft>
                <a:spcPts val="0"/>
              </a:spcAft>
              <a:buSzPts val="1100"/>
              <a:buNone/>
              <a:defRPr b="1"/>
            </a:lvl7pPr>
            <a:lvl8pPr lvl="7" rtl="0">
              <a:spcBef>
                <a:spcPts val="0"/>
              </a:spcBef>
              <a:spcAft>
                <a:spcPts val="0"/>
              </a:spcAft>
              <a:buSzPts val="1100"/>
              <a:buNone/>
              <a:defRPr b="1"/>
            </a:lvl8pPr>
            <a:lvl9pPr lvl="8" rtl="0">
              <a:spcBef>
                <a:spcPts val="0"/>
              </a:spcBef>
              <a:spcAft>
                <a:spcPts val="0"/>
              </a:spcAft>
              <a:buSzPts val="1100"/>
              <a:buNone/>
              <a:defRPr b="1"/>
            </a:lvl9pPr>
          </a:lstStyle>
          <a:p>
            <a:endParaRPr/>
          </a:p>
        </p:txBody>
      </p:sp>
      <p:sp>
        <p:nvSpPr>
          <p:cNvPr id="1556" name="Google Shape;1556;p30"/>
          <p:cNvSpPr txBox="1">
            <a:spLocks noGrp="1"/>
          </p:cNvSpPr>
          <p:nvPr>
            <p:ph type="sldNum" idx="12"/>
          </p:nvPr>
        </p:nvSpPr>
        <p:spPr>
          <a:xfrm>
            <a:off x="10978812" y="5993647"/>
            <a:ext cx="731600" cy="524800"/>
          </a:xfrm>
          <a:prstGeom prst="rect">
            <a:avLst/>
          </a:prstGeom>
        </p:spPr>
        <p:txBody>
          <a:bodyPr spcFirstLastPara="1" wrap="square" lIns="91425" tIns="91425" rIns="0" bIns="0" anchor="b" anchorCtr="0">
            <a:noAutofit/>
          </a:bodyPr>
          <a:lstStyle>
            <a:lvl1pPr lvl="0" algn="r" rtl="0">
              <a:buNone/>
              <a:defRPr sz="667">
                <a:solidFill>
                  <a:schemeClr val="dk2"/>
                </a:solidFill>
                <a:latin typeface="Inter"/>
                <a:ea typeface="Inter"/>
                <a:cs typeface="Inter"/>
                <a:sym typeface="Inter"/>
              </a:defRPr>
            </a:lvl1pPr>
            <a:lvl2pPr lvl="1" algn="r" rtl="0">
              <a:buNone/>
              <a:defRPr sz="667">
                <a:solidFill>
                  <a:schemeClr val="dk2"/>
                </a:solidFill>
                <a:latin typeface="Inter"/>
                <a:ea typeface="Inter"/>
                <a:cs typeface="Inter"/>
                <a:sym typeface="Inter"/>
              </a:defRPr>
            </a:lvl2pPr>
            <a:lvl3pPr lvl="2" algn="r" rtl="0">
              <a:buNone/>
              <a:defRPr sz="667">
                <a:solidFill>
                  <a:schemeClr val="dk2"/>
                </a:solidFill>
                <a:latin typeface="Inter"/>
                <a:ea typeface="Inter"/>
                <a:cs typeface="Inter"/>
                <a:sym typeface="Inter"/>
              </a:defRPr>
            </a:lvl3pPr>
            <a:lvl4pPr lvl="3" algn="r" rtl="0">
              <a:buNone/>
              <a:defRPr sz="667">
                <a:solidFill>
                  <a:schemeClr val="dk2"/>
                </a:solidFill>
                <a:latin typeface="Inter"/>
                <a:ea typeface="Inter"/>
                <a:cs typeface="Inter"/>
                <a:sym typeface="Inter"/>
              </a:defRPr>
            </a:lvl4pPr>
            <a:lvl5pPr lvl="4" algn="r" rtl="0">
              <a:buNone/>
              <a:defRPr sz="667">
                <a:solidFill>
                  <a:schemeClr val="dk2"/>
                </a:solidFill>
                <a:latin typeface="Inter"/>
                <a:ea typeface="Inter"/>
                <a:cs typeface="Inter"/>
                <a:sym typeface="Inter"/>
              </a:defRPr>
            </a:lvl5pPr>
            <a:lvl6pPr lvl="5" algn="r" rtl="0">
              <a:buNone/>
              <a:defRPr sz="667">
                <a:solidFill>
                  <a:schemeClr val="dk2"/>
                </a:solidFill>
                <a:latin typeface="Inter"/>
                <a:ea typeface="Inter"/>
                <a:cs typeface="Inter"/>
                <a:sym typeface="Inter"/>
              </a:defRPr>
            </a:lvl6pPr>
            <a:lvl7pPr lvl="6" algn="r" rtl="0">
              <a:buNone/>
              <a:defRPr sz="667">
                <a:solidFill>
                  <a:schemeClr val="dk2"/>
                </a:solidFill>
                <a:latin typeface="Inter"/>
                <a:ea typeface="Inter"/>
                <a:cs typeface="Inter"/>
                <a:sym typeface="Inter"/>
              </a:defRPr>
            </a:lvl7pPr>
            <a:lvl8pPr lvl="7" algn="r" rtl="0">
              <a:buNone/>
              <a:defRPr sz="667">
                <a:solidFill>
                  <a:schemeClr val="dk2"/>
                </a:solidFill>
                <a:latin typeface="Inter"/>
                <a:ea typeface="Inter"/>
                <a:cs typeface="Inter"/>
                <a:sym typeface="Inter"/>
              </a:defRPr>
            </a:lvl8pPr>
            <a:lvl9pPr lvl="8" algn="r" rtl="0">
              <a:buNone/>
              <a:defRPr sz="667">
                <a:solidFill>
                  <a:schemeClr val="dk2"/>
                </a:solidFill>
                <a:latin typeface="Inter"/>
                <a:ea typeface="Inter"/>
                <a:cs typeface="Inter"/>
                <a:sym typeface="Inter"/>
              </a:defRPr>
            </a:lvl9pPr>
          </a:lstStyle>
          <a:p>
            <a:fld id="{00000000-1234-1234-1234-123412341234}" type="slidenum">
              <a:rPr lang="en-GB" smtClean="0"/>
              <a:pPr/>
              <a:t>‹#›</a:t>
            </a:fld>
            <a:endParaRPr lang="en-GB"/>
          </a:p>
        </p:txBody>
      </p:sp>
      <p:sp>
        <p:nvSpPr>
          <p:cNvPr id="1557" name="Google Shape;1557;p30"/>
          <p:cNvSpPr txBox="1"/>
          <p:nvPr/>
        </p:nvSpPr>
        <p:spPr>
          <a:xfrm>
            <a:off x="481600" y="6245247"/>
            <a:ext cx="1288400" cy="273200"/>
          </a:xfrm>
          <a:prstGeom prst="rect">
            <a:avLst/>
          </a:prstGeom>
          <a:noFill/>
          <a:ln>
            <a:noFill/>
          </a:ln>
        </p:spPr>
        <p:txBody>
          <a:bodyPr spcFirstLastPara="1" wrap="square" lIns="0" tIns="0" rIns="0" bIns="0" anchor="b" anchorCtr="0">
            <a:noAutofit/>
          </a:bodyPr>
          <a:lstStyle/>
          <a:p>
            <a:pPr marL="0" lvl="0" indent="0" algn="l" rtl="0">
              <a:spcBef>
                <a:spcPts val="0"/>
              </a:spcBef>
              <a:spcAft>
                <a:spcPts val="0"/>
              </a:spcAft>
              <a:buNone/>
            </a:pPr>
            <a:r>
              <a:rPr lang="en-GB" sz="667">
                <a:solidFill>
                  <a:schemeClr val="dk2"/>
                </a:solidFill>
                <a:latin typeface="Inter"/>
                <a:ea typeface="Inter"/>
                <a:cs typeface="Inter"/>
                <a:sym typeface="Inter"/>
              </a:rPr>
              <a:t>Multiverse</a:t>
            </a:r>
            <a:endParaRPr sz="667">
              <a:solidFill>
                <a:schemeClr val="dk2"/>
              </a:solidFill>
              <a:latin typeface="Inter"/>
              <a:ea typeface="Inter"/>
              <a:cs typeface="Inter"/>
              <a:sym typeface="Inter"/>
            </a:endParaRPr>
          </a:p>
        </p:txBody>
      </p:sp>
      <p:sp>
        <p:nvSpPr>
          <p:cNvPr id="1558" name="Google Shape;1558;p30"/>
          <p:cNvSpPr/>
          <p:nvPr/>
        </p:nvSpPr>
        <p:spPr>
          <a:xfrm>
            <a:off x="481601" y="414630"/>
            <a:ext cx="349111" cy="305471"/>
          </a:xfrm>
          <a:custGeom>
            <a:avLst/>
            <a:gdLst/>
            <a:ahLst/>
            <a:cxnLst/>
            <a:rect l="l" t="t" r="r" b="b"/>
            <a:pathLst>
              <a:path w="1586865" h="1388506" extrusionOk="0">
                <a:moveTo>
                  <a:pt x="1083683" y="969931"/>
                </a:moveTo>
                <a:lnTo>
                  <a:pt x="1083683" y="579692"/>
                </a:lnTo>
                <a:lnTo>
                  <a:pt x="849297" y="969931"/>
                </a:lnTo>
                <a:lnTo>
                  <a:pt x="848892" y="969931"/>
                </a:lnTo>
                <a:cubicBezTo>
                  <a:pt x="848892" y="969931"/>
                  <a:pt x="848892" y="969931"/>
                  <a:pt x="848892" y="969931"/>
                </a:cubicBezTo>
                <a:lnTo>
                  <a:pt x="738783" y="969931"/>
                </a:lnTo>
                <a:lnTo>
                  <a:pt x="738783" y="577668"/>
                </a:lnTo>
                <a:lnTo>
                  <a:pt x="549735" y="892612"/>
                </a:lnTo>
                <a:cubicBezTo>
                  <a:pt x="527876" y="929449"/>
                  <a:pt x="510873" y="958191"/>
                  <a:pt x="503992" y="969931"/>
                </a:cubicBezTo>
                <a:lnTo>
                  <a:pt x="393073" y="969931"/>
                </a:lnTo>
                <a:lnTo>
                  <a:pt x="393073" y="418576"/>
                </a:lnTo>
                <a:lnTo>
                  <a:pt x="503992" y="418576"/>
                </a:lnTo>
                <a:lnTo>
                  <a:pt x="502777" y="760643"/>
                </a:lnTo>
                <a:lnTo>
                  <a:pt x="503587" y="782098"/>
                </a:lnTo>
                <a:lnTo>
                  <a:pt x="721781" y="418981"/>
                </a:lnTo>
                <a:lnTo>
                  <a:pt x="721781" y="418981"/>
                </a:lnTo>
                <a:lnTo>
                  <a:pt x="721781" y="418981"/>
                </a:lnTo>
                <a:lnTo>
                  <a:pt x="739188" y="418981"/>
                </a:lnTo>
                <a:lnTo>
                  <a:pt x="847678" y="418981"/>
                </a:lnTo>
                <a:cubicBezTo>
                  <a:pt x="847678" y="418981"/>
                  <a:pt x="848487" y="722995"/>
                  <a:pt x="848892" y="783717"/>
                </a:cubicBezTo>
                <a:lnTo>
                  <a:pt x="1067895" y="418981"/>
                </a:lnTo>
                <a:lnTo>
                  <a:pt x="1067895" y="418981"/>
                </a:lnTo>
                <a:lnTo>
                  <a:pt x="1067895" y="418981"/>
                </a:lnTo>
                <a:lnTo>
                  <a:pt x="1085302" y="418981"/>
                </a:lnTo>
                <a:lnTo>
                  <a:pt x="1193387" y="418981"/>
                </a:lnTo>
                <a:lnTo>
                  <a:pt x="1193387" y="970336"/>
                </a:lnTo>
                <a:lnTo>
                  <a:pt x="1083683" y="970336"/>
                </a:lnTo>
                <a:close/>
                <a:moveTo>
                  <a:pt x="1190149" y="0"/>
                </a:moveTo>
                <a:lnTo>
                  <a:pt x="396716" y="0"/>
                </a:lnTo>
                <a:lnTo>
                  <a:pt x="0" y="694253"/>
                </a:lnTo>
                <a:lnTo>
                  <a:pt x="396716" y="1388507"/>
                </a:lnTo>
                <a:lnTo>
                  <a:pt x="1190149" y="1388507"/>
                </a:lnTo>
                <a:lnTo>
                  <a:pt x="1586865" y="694253"/>
                </a:lnTo>
                <a:lnTo>
                  <a:pt x="1190149" y="0"/>
                </a:lnTo>
                <a:close/>
              </a:path>
            </a:pathLst>
          </a:custGeom>
          <a:solidFill>
            <a:schemeClr val="dk2"/>
          </a:solidFill>
          <a:ln>
            <a:noFill/>
          </a:ln>
        </p:spPr>
        <p:txBody>
          <a:bodyPr spcFirstLastPara="1" wrap="square" lIns="91433" tIns="45700" rIns="91433" bIns="45700"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30616315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matchingName="Blank - Starlight">
  <p:cSld name="Blank - Starlight">
    <p:bg>
      <p:bgPr>
        <a:solidFill>
          <a:schemeClr val="accent1"/>
        </a:solidFill>
        <a:effectLst/>
      </p:bgPr>
    </p:bg>
    <p:spTree>
      <p:nvGrpSpPr>
        <p:cNvPr id="1" name="Shape 1559"/>
        <p:cNvGrpSpPr/>
        <p:nvPr/>
      </p:nvGrpSpPr>
      <p:grpSpPr>
        <a:xfrm>
          <a:off x="0" y="0"/>
          <a:ext cx="0" cy="0"/>
          <a:chOff x="0" y="0"/>
          <a:chExt cx="0" cy="0"/>
        </a:xfrm>
      </p:grpSpPr>
      <p:sp>
        <p:nvSpPr>
          <p:cNvPr id="1560" name="Google Shape;1560;p31"/>
          <p:cNvSpPr txBox="1">
            <a:spLocks noGrp="1"/>
          </p:cNvSpPr>
          <p:nvPr>
            <p:ph type="sldNum" idx="12"/>
          </p:nvPr>
        </p:nvSpPr>
        <p:spPr>
          <a:xfrm>
            <a:off x="10978812" y="5993647"/>
            <a:ext cx="731600" cy="524800"/>
          </a:xfrm>
          <a:prstGeom prst="rect">
            <a:avLst/>
          </a:prstGeom>
        </p:spPr>
        <p:txBody>
          <a:bodyPr spcFirstLastPara="1" wrap="square" lIns="91425" tIns="91425" rIns="0" bIns="0" anchor="b" anchorCtr="0">
            <a:noAutofit/>
          </a:bodyPr>
          <a:lstStyle>
            <a:lvl1pPr lvl="0" algn="r" rtl="0">
              <a:buNone/>
              <a:defRPr sz="667">
                <a:solidFill>
                  <a:schemeClr val="dk2"/>
                </a:solidFill>
                <a:latin typeface="Inter"/>
                <a:ea typeface="Inter"/>
                <a:cs typeface="Inter"/>
                <a:sym typeface="Inter"/>
              </a:defRPr>
            </a:lvl1pPr>
            <a:lvl2pPr lvl="1" algn="r" rtl="0">
              <a:buNone/>
              <a:defRPr sz="667">
                <a:solidFill>
                  <a:schemeClr val="dk2"/>
                </a:solidFill>
                <a:latin typeface="Inter"/>
                <a:ea typeface="Inter"/>
                <a:cs typeface="Inter"/>
                <a:sym typeface="Inter"/>
              </a:defRPr>
            </a:lvl2pPr>
            <a:lvl3pPr lvl="2" algn="r" rtl="0">
              <a:buNone/>
              <a:defRPr sz="667">
                <a:solidFill>
                  <a:schemeClr val="dk2"/>
                </a:solidFill>
                <a:latin typeface="Inter"/>
                <a:ea typeface="Inter"/>
                <a:cs typeface="Inter"/>
                <a:sym typeface="Inter"/>
              </a:defRPr>
            </a:lvl3pPr>
            <a:lvl4pPr lvl="3" algn="r" rtl="0">
              <a:buNone/>
              <a:defRPr sz="667">
                <a:solidFill>
                  <a:schemeClr val="dk2"/>
                </a:solidFill>
                <a:latin typeface="Inter"/>
                <a:ea typeface="Inter"/>
                <a:cs typeface="Inter"/>
                <a:sym typeface="Inter"/>
              </a:defRPr>
            </a:lvl4pPr>
            <a:lvl5pPr lvl="4" algn="r" rtl="0">
              <a:buNone/>
              <a:defRPr sz="667">
                <a:solidFill>
                  <a:schemeClr val="dk2"/>
                </a:solidFill>
                <a:latin typeface="Inter"/>
                <a:ea typeface="Inter"/>
                <a:cs typeface="Inter"/>
                <a:sym typeface="Inter"/>
              </a:defRPr>
            </a:lvl5pPr>
            <a:lvl6pPr lvl="5" algn="r" rtl="0">
              <a:buNone/>
              <a:defRPr sz="667">
                <a:solidFill>
                  <a:schemeClr val="dk2"/>
                </a:solidFill>
                <a:latin typeface="Inter"/>
                <a:ea typeface="Inter"/>
                <a:cs typeface="Inter"/>
                <a:sym typeface="Inter"/>
              </a:defRPr>
            </a:lvl6pPr>
            <a:lvl7pPr lvl="6" algn="r" rtl="0">
              <a:buNone/>
              <a:defRPr sz="667">
                <a:solidFill>
                  <a:schemeClr val="dk2"/>
                </a:solidFill>
                <a:latin typeface="Inter"/>
                <a:ea typeface="Inter"/>
                <a:cs typeface="Inter"/>
                <a:sym typeface="Inter"/>
              </a:defRPr>
            </a:lvl7pPr>
            <a:lvl8pPr lvl="7" algn="r" rtl="0">
              <a:buNone/>
              <a:defRPr sz="667">
                <a:solidFill>
                  <a:schemeClr val="dk2"/>
                </a:solidFill>
                <a:latin typeface="Inter"/>
                <a:ea typeface="Inter"/>
                <a:cs typeface="Inter"/>
                <a:sym typeface="Inter"/>
              </a:defRPr>
            </a:lvl8pPr>
            <a:lvl9pPr lvl="8" algn="r" rtl="0">
              <a:buNone/>
              <a:defRPr sz="667">
                <a:solidFill>
                  <a:schemeClr val="dk2"/>
                </a:solidFill>
                <a:latin typeface="Inter"/>
                <a:ea typeface="Inter"/>
                <a:cs typeface="Inter"/>
                <a:sym typeface="Inter"/>
              </a:defRPr>
            </a:lvl9pPr>
          </a:lstStyle>
          <a:p>
            <a:fld id="{00000000-1234-1234-1234-123412341234}" type="slidenum">
              <a:rPr lang="en-GB" smtClean="0"/>
              <a:pPr/>
              <a:t>‹#›</a:t>
            </a:fld>
            <a:endParaRPr lang="en-GB"/>
          </a:p>
        </p:txBody>
      </p:sp>
      <p:sp>
        <p:nvSpPr>
          <p:cNvPr id="1561" name="Google Shape;1561;p31"/>
          <p:cNvSpPr/>
          <p:nvPr/>
        </p:nvSpPr>
        <p:spPr>
          <a:xfrm>
            <a:off x="481601" y="414630"/>
            <a:ext cx="349111" cy="305471"/>
          </a:xfrm>
          <a:custGeom>
            <a:avLst/>
            <a:gdLst/>
            <a:ahLst/>
            <a:cxnLst/>
            <a:rect l="l" t="t" r="r" b="b"/>
            <a:pathLst>
              <a:path w="1586865" h="1388506" extrusionOk="0">
                <a:moveTo>
                  <a:pt x="1083683" y="969931"/>
                </a:moveTo>
                <a:lnTo>
                  <a:pt x="1083683" y="579692"/>
                </a:lnTo>
                <a:lnTo>
                  <a:pt x="849297" y="969931"/>
                </a:lnTo>
                <a:lnTo>
                  <a:pt x="848892" y="969931"/>
                </a:lnTo>
                <a:cubicBezTo>
                  <a:pt x="848892" y="969931"/>
                  <a:pt x="848892" y="969931"/>
                  <a:pt x="848892" y="969931"/>
                </a:cubicBezTo>
                <a:lnTo>
                  <a:pt x="738783" y="969931"/>
                </a:lnTo>
                <a:lnTo>
                  <a:pt x="738783" y="577668"/>
                </a:lnTo>
                <a:lnTo>
                  <a:pt x="549735" y="892612"/>
                </a:lnTo>
                <a:cubicBezTo>
                  <a:pt x="527876" y="929449"/>
                  <a:pt x="510873" y="958191"/>
                  <a:pt x="503992" y="969931"/>
                </a:cubicBezTo>
                <a:lnTo>
                  <a:pt x="393073" y="969931"/>
                </a:lnTo>
                <a:lnTo>
                  <a:pt x="393073" y="418576"/>
                </a:lnTo>
                <a:lnTo>
                  <a:pt x="503992" y="418576"/>
                </a:lnTo>
                <a:lnTo>
                  <a:pt x="502777" y="760643"/>
                </a:lnTo>
                <a:lnTo>
                  <a:pt x="503587" y="782098"/>
                </a:lnTo>
                <a:lnTo>
                  <a:pt x="721781" y="418981"/>
                </a:lnTo>
                <a:lnTo>
                  <a:pt x="721781" y="418981"/>
                </a:lnTo>
                <a:lnTo>
                  <a:pt x="721781" y="418981"/>
                </a:lnTo>
                <a:lnTo>
                  <a:pt x="739188" y="418981"/>
                </a:lnTo>
                <a:lnTo>
                  <a:pt x="847678" y="418981"/>
                </a:lnTo>
                <a:cubicBezTo>
                  <a:pt x="847678" y="418981"/>
                  <a:pt x="848487" y="722995"/>
                  <a:pt x="848892" y="783717"/>
                </a:cubicBezTo>
                <a:lnTo>
                  <a:pt x="1067895" y="418981"/>
                </a:lnTo>
                <a:lnTo>
                  <a:pt x="1067895" y="418981"/>
                </a:lnTo>
                <a:lnTo>
                  <a:pt x="1067895" y="418981"/>
                </a:lnTo>
                <a:lnTo>
                  <a:pt x="1085302" y="418981"/>
                </a:lnTo>
                <a:lnTo>
                  <a:pt x="1193387" y="418981"/>
                </a:lnTo>
                <a:lnTo>
                  <a:pt x="1193387" y="970336"/>
                </a:lnTo>
                <a:lnTo>
                  <a:pt x="1083683" y="970336"/>
                </a:lnTo>
                <a:close/>
                <a:moveTo>
                  <a:pt x="1190149" y="0"/>
                </a:moveTo>
                <a:lnTo>
                  <a:pt x="396716" y="0"/>
                </a:lnTo>
                <a:lnTo>
                  <a:pt x="0" y="694253"/>
                </a:lnTo>
                <a:lnTo>
                  <a:pt x="396716" y="1388507"/>
                </a:lnTo>
                <a:lnTo>
                  <a:pt x="1190149" y="1388507"/>
                </a:lnTo>
                <a:lnTo>
                  <a:pt x="1586865" y="694253"/>
                </a:lnTo>
                <a:lnTo>
                  <a:pt x="1190149" y="0"/>
                </a:lnTo>
                <a:close/>
              </a:path>
            </a:pathLst>
          </a:custGeom>
          <a:solidFill>
            <a:schemeClr val="dk2"/>
          </a:solidFill>
          <a:ln>
            <a:noFill/>
          </a:ln>
        </p:spPr>
        <p:txBody>
          <a:bodyPr spcFirstLastPara="1" wrap="square" lIns="91433" tIns="45700" rIns="91433" bIns="45700"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562" name="Google Shape;1562;p31"/>
          <p:cNvSpPr txBox="1"/>
          <p:nvPr/>
        </p:nvSpPr>
        <p:spPr>
          <a:xfrm>
            <a:off x="481600" y="6245247"/>
            <a:ext cx="1288400" cy="273200"/>
          </a:xfrm>
          <a:prstGeom prst="rect">
            <a:avLst/>
          </a:prstGeom>
          <a:noFill/>
          <a:ln>
            <a:noFill/>
          </a:ln>
        </p:spPr>
        <p:txBody>
          <a:bodyPr spcFirstLastPara="1" wrap="square" lIns="0" tIns="0" rIns="0" bIns="0" anchor="b" anchorCtr="0">
            <a:noAutofit/>
          </a:bodyPr>
          <a:lstStyle/>
          <a:p>
            <a:pPr marL="0" lvl="0" indent="0" algn="l" rtl="0">
              <a:spcBef>
                <a:spcPts val="0"/>
              </a:spcBef>
              <a:spcAft>
                <a:spcPts val="0"/>
              </a:spcAft>
              <a:buNone/>
            </a:pPr>
            <a:r>
              <a:rPr lang="en-GB" sz="667">
                <a:solidFill>
                  <a:schemeClr val="dk2"/>
                </a:solidFill>
                <a:latin typeface="Inter"/>
                <a:ea typeface="Inter"/>
                <a:cs typeface="Inter"/>
                <a:sym typeface="Inter"/>
              </a:rPr>
              <a:t>Multiverse</a:t>
            </a:r>
            <a:endParaRPr sz="667">
              <a:solidFill>
                <a:schemeClr val="dk2"/>
              </a:solidFill>
              <a:latin typeface="Inter"/>
              <a:ea typeface="Inter"/>
              <a:cs typeface="Inter"/>
              <a:sym typeface="Inter"/>
            </a:endParaRPr>
          </a:p>
        </p:txBody>
      </p:sp>
    </p:spTree>
    <p:extLst>
      <p:ext uri="{BB962C8B-B14F-4D97-AF65-F5344CB8AC3E}">
        <p14:creationId xmlns:p14="http://schemas.microsoft.com/office/powerpoint/2010/main" val="125479664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matchingName="Agenda - Rectangles">
  <p:cSld name="Agenda - Rectangles">
    <p:spTree>
      <p:nvGrpSpPr>
        <p:cNvPr id="1" name="Shape 1563"/>
        <p:cNvGrpSpPr/>
        <p:nvPr/>
      </p:nvGrpSpPr>
      <p:grpSpPr>
        <a:xfrm>
          <a:off x="0" y="0"/>
          <a:ext cx="0" cy="0"/>
          <a:chOff x="0" y="0"/>
          <a:chExt cx="0" cy="0"/>
        </a:xfrm>
      </p:grpSpPr>
      <p:sp>
        <p:nvSpPr>
          <p:cNvPr id="1564" name="Google Shape;1564;p32"/>
          <p:cNvSpPr txBox="1">
            <a:spLocks noGrp="1"/>
          </p:cNvSpPr>
          <p:nvPr>
            <p:ph type="sldNum" idx="12"/>
          </p:nvPr>
        </p:nvSpPr>
        <p:spPr>
          <a:xfrm>
            <a:off x="10978635" y="5993647"/>
            <a:ext cx="731600" cy="524800"/>
          </a:xfrm>
          <a:prstGeom prst="rect">
            <a:avLst/>
          </a:prstGeom>
        </p:spPr>
        <p:txBody>
          <a:bodyPr spcFirstLastPara="1" wrap="square" lIns="91425" tIns="91425" rIns="0" bIns="0" anchor="b" anchorCtr="0">
            <a:noAutofit/>
          </a:bodyPr>
          <a:lstStyle>
            <a:lvl1pPr lvl="0" algn="r" rtl="0">
              <a:buNone/>
              <a:defRPr sz="667">
                <a:solidFill>
                  <a:schemeClr val="dk2"/>
                </a:solidFill>
                <a:latin typeface="Inter"/>
                <a:ea typeface="Inter"/>
                <a:cs typeface="Inter"/>
                <a:sym typeface="Inter"/>
              </a:defRPr>
            </a:lvl1pPr>
            <a:lvl2pPr lvl="1" algn="r" rtl="0">
              <a:buNone/>
              <a:defRPr sz="667">
                <a:solidFill>
                  <a:schemeClr val="dk2"/>
                </a:solidFill>
                <a:latin typeface="Inter"/>
                <a:ea typeface="Inter"/>
                <a:cs typeface="Inter"/>
                <a:sym typeface="Inter"/>
              </a:defRPr>
            </a:lvl2pPr>
            <a:lvl3pPr lvl="2" algn="r" rtl="0">
              <a:buNone/>
              <a:defRPr sz="667">
                <a:solidFill>
                  <a:schemeClr val="dk2"/>
                </a:solidFill>
                <a:latin typeface="Inter"/>
                <a:ea typeface="Inter"/>
                <a:cs typeface="Inter"/>
                <a:sym typeface="Inter"/>
              </a:defRPr>
            </a:lvl3pPr>
            <a:lvl4pPr lvl="3" algn="r" rtl="0">
              <a:buNone/>
              <a:defRPr sz="667">
                <a:solidFill>
                  <a:schemeClr val="dk2"/>
                </a:solidFill>
                <a:latin typeface="Inter"/>
                <a:ea typeface="Inter"/>
                <a:cs typeface="Inter"/>
                <a:sym typeface="Inter"/>
              </a:defRPr>
            </a:lvl4pPr>
            <a:lvl5pPr lvl="4" algn="r" rtl="0">
              <a:buNone/>
              <a:defRPr sz="667">
                <a:solidFill>
                  <a:schemeClr val="dk2"/>
                </a:solidFill>
                <a:latin typeface="Inter"/>
                <a:ea typeface="Inter"/>
                <a:cs typeface="Inter"/>
                <a:sym typeface="Inter"/>
              </a:defRPr>
            </a:lvl5pPr>
            <a:lvl6pPr lvl="5" algn="r" rtl="0">
              <a:buNone/>
              <a:defRPr sz="667">
                <a:solidFill>
                  <a:schemeClr val="dk2"/>
                </a:solidFill>
                <a:latin typeface="Inter"/>
                <a:ea typeface="Inter"/>
                <a:cs typeface="Inter"/>
                <a:sym typeface="Inter"/>
              </a:defRPr>
            </a:lvl6pPr>
            <a:lvl7pPr lvl="6" algn="r" rtl="0">
              <a:buNone/>
              <a:defRPr sz="667">
                <a:solidFill>
                  <a:schemeClr val="dk2"/>
                </a:solidFill>
                <a:latin typeface="Inter"/>
                <a:ea typeface="Inter"/>
                <a:cs typeface="Inter"/>
                <a:sym typeface="Inter"/>
              </a:defRPr>
            </a:lvl7pPr>
            <a:lvl8pPr lvl="7" algn="r" rtl="0">
              <a:buNone/>
              <a:defRPr sz="667">
                <a:solidFill>
                  <a:schemeClr val="dk2"/>
                </a:solidFill>
                <a:latin typeface="Inter"/>
                <a:ea typeface="Inter"/>
                <a:cs typeface="Inter"/>
                <a:sym typeface="Inter"/>
              </a:defRPr>
            </a:lvl8pPr>
            <a:lvl9pPr lvl="8" algn="r" rtl="0">
              <a:buNone/>
              <a:defRPr sz="667">
                <a:solidFill>
                  <a:schemeClr val="dk2"/>
                </a:solidFill>
                <a:latin typeface="Inter"/>
                <a:ea typeface="Inter"/>
                <a:cs typeface="Inter"/>
                <a:sym typeface="Inter"/>
              </a:defRPr>
            </a:lvl9pPr>
          </a:lstStyle>
          <a:p>
            <a:fld id="{00000000-1234-1234-1234-123412341234}" type="slidenum">
              <a:rPr lang="en-GB" smtClean="0"/>
              <a:pPr/>
              <a:t>‹#›</a:t>
            </a:fld>
            <a:endParaRPr lang="en-GB"/>
          </a:p>
        </p:txBody>
      </p:sp>
      <p:sp>
        <p:nvSpPr>
          <p:cNvPr id="1565" name="Google Shape;1565;p32"/>
          <p:cNvSpPr>
            <a:spLocks noGrp="1"/>
          </p:cNvSpPr>
          <p:nvPr>
            <p:ph type="body" idx="1"/>
          </p:nvPr>
        </p:nvSpPr>
        <p:spPr>
          <a:xfrm>
            <a:off x="481600" y="1335200"/>
            <a:ext cx="2726000" cy="1527600"/>
          </a:xfrm>
          <a:prstGeom prst="roundRect">
            <a:avLst>
              <a:gd name="adj" fmla="val 8792"/>
            </a:avLst>
          </a:prstGeom>
          <a:solidFill>
            <a:schemeClr val="accent1"/>
          </a:solidFill>
          <a:ln>
            <a:noFill/>
          </a:ln>
        </p:spPr>
        <p:txBody>
          <a:bodyPr spcFirstLastPara="1" wrap="square" lIns="108000" tIns="108000" rIns="108000" bIns="34275" anchor="t" anchorCtr="0">
            <a:normAutofit/>
          </a:bodyPr>
          <a:lstStyle>
            <a:lvl1pPr marL="609585" lvl="0" indent="-406390" rtl="0">
              <a:lnSpc>
                <a:spcPct val="90000"/>
              </a:lnSpc>
              <a:spcBef>
                <a:spcPts val="0"/>
              </a:spcBef>
              <a:spcAft>
                <a:spcPts val="0"/>
              </a:spcAft>
              <a:buClr>
                <a:schemeClr val="dk2"/>
              </a:buClr>
              <a:buSzPts val="1200"/>
              <a:buFont typeface="Inter Medium"/>
              <a:buAutoNum type="alphaUcPeriod"/>
              <a:defRPr sz="1600">
                <a:solidFill>
                  <a:schemeClr val="dk2"/>
                </a:solidFill>
                <a:latin typeface="Inter Medium"/>
                <a:ea typeface="Inter Medium"/>
                <a:cs typeface="Inter Medium"/>
                <a:sym typeface="Inter Medium"/>
              </a:defRPr>
            </a:lvl1pPr>
            <a:lvl2pPr marL="1219170" lvl="1" indent="-406390" rtl="0">
              <a:lnSpc>
                <a:spcPct val="90000"/>
              </a:lnSpc>
              <a:spcBef>
                <a:spcPts val="0"/>
              </a:spcBef>
              <a:spcAft>
                <a:spcPts val="0"/>
              </a:spcAft>
              <a:buClr>
                <a:schemeClr val="dk2"/>
              </a:buClr>
              <a:buSzPts val="1200"/>
              <a:buFont typeface="Inter Medium"/>
              <a:buAutoNum type="alphaLcPeriod"/>
              <a:defRPr sz="1600">
                <a:solidFill>
                  <a:schemeClr val="dk2"/>
                </a:solidFill>
                <a:latin typeface="Inter Medium"/>
                <a:ea typeface="Inter Medium"/>
                <a:cs typeface="Inter Medium"/>
                <a:sym typeface="Inter Medium"/>
              </a:defRPr>
            </a:lvl2pPr>
            <a:lvl3pPr marL="1828754" lvl="2" indent="-406390" rtl="0">
              <a:lnSpc>
                <a:spcPct val="90000"/>
              </a:lnSpc>
              <a:spcBef>
                <a:spcPts val="0"/>
              </a:spcBef>
              <a:spcAft>
                <a:spcPts val="0"/>
              </a:spcAft>
              <a:buClr>
                <a:schemeClr val="dk2"/>
              </a:buClr>
              <a:buSzPts val="1200"/>
              <a:buFont typeface="Inter Medium"/>
              <a:buAutoNum type="romanLcPeriod"/>
              <a:defRPr sz="1600">
                <a:solidFill>
                  <a:schemeClr val="dk2"/>
                </a:solidFill>
                <a:latin typeface="Inter Medium"/>
                <a:ea typeface="Inter Medium"/>
                <a:cs typeface="Inter Medium"/>
                <a:sym typeface="Inter Medium"/>
              </a:defRPr>
            </a:lvl3pPr>
            <a:lvl4pPr marL="2438339" lvl="3" indent="-406390" rtl="0">
              <a:lnSpc>
                <a:spcPct val="90000"/>
              </a:lnSpc>
              <a:spcBef>
                <a:spcPts val="0"/>
              </a:spcBef>
              <a:spcAft>
                <a:spcPts val="0"/>
              </a:spcAft>
              <a:buClr>
                <a:schemeClr val="dk2"/>
              </a:buClr>
              <a:buSzPts val="1200"/>
              <a:buFont typeface="Inter Medium"/>
              <a:buAutoNum type="arabicPeriod"/>
              <a:defRPr sz="1600">
                <a:solidFill>
                  <a:schemeClr val="dk2"/>
                </a:solidFill>
                <a:latin typeface="Inter Medium"/>
                <a:ea typeface="Inter Medium"/>
                <a:cs typeface="Inter Medium"/>
                <a:sym typeface="Inter Medium"/>
              </a:defRPr>
            </a:lvl4pPr>
            <a:lvl5pPr marL="3047924" lvl="4" indent="-406390" rtl="0">
              <a:lnSpc>
                <a:spcPct val="90000"/>
              </a:lnSpc>
              <a:spcBef>
                <a:spcPts val="0"/>
              </a:spcBef>
              <a:spcAft>
                <a:spcPts val="0"/>
              </a:spcAft>
              <a:buClr>
                <a:schemeClr val="dk2"/>
              </a:buClr>
              <a:buSzPts val="1200"/>
              <a:buFont typeface="Inter Medium"/>
              <a:buAutoNum type="alphaLcPeriod"/>
              <a:defRPr sz="1600">
                <a:solidFill>
                  <a:schemeClr val="dk2"/>
                </a:solidFill>
                <a:latin typeface="Inter Medium"/>
                <a:ea typeface="Inter Medium"/>
                <a:cs typeface="Inter Medium"/>
                <a:sym typeface="Inter Medium"/>
              </a:defRPr>
            </a:lvl5pPr>
            <a:lvl6pPr marL="3657509" lvl="5" indent="-406390" rtl="0">
              <a:lnSpc>
                <a:spcPct val="90000"/>
              </a:lnSpc>
              <a:spcBef>
                <a:spcPts val="0"/>
              </a:spcBef>
              <a:spcAft>
                <a:spcPts val="0"/>
              </a:spcAft>
              <a:buClr>
                <a:schemeClr val="dk2"/>
              </a:buClr>
              <a:buSzPts val="1200"/>
              <a:buFont typeface="Inter Medium"/>
              <a:buAutoNum type="romanLcPeriod"/>
              <a:defRPr sz="1600">
                <a:solidFill>
                  <a:schemeClr val="dk2"/>
                </a:solidFill>
                <a:latin typeface="Inter Medium"/>
                <a:ea typeface="Inter Medium"/>
                <a:cs typeface="Inter Medium"/>
                <a:sym typeface="Inter Medium"/>
              </a:defRPr>
            </a:lvl6pPr>
            <a:lvl7pPr marL="4267093" lvl="6" indent="-406390" rtl="0">
              <a:lnSpc>
                <a:spcPct val="90000"/>
              </a:lnSpc>
              <a:spcBef>
                <a:spcPts val="0"/>
              </a:spcBef>
              <a:spcAft>
                <a:spcPts val="0"/>
              </a:spcAft>
              <a:buClr>
                <a:schemeClr val="dk2"/>
              </a:buClr>
              <a:buSzPts val="1200"/>
              <a:buFont typeface="Inter Medium"/>
              <a:buAutoNum type="arabicPeriod"/>
              <a:defRPr sz="1600">
                <a:solidFill>
                  <a:schemeClr val="dk2"/>
                </a:solidFill>
                <a:latin typeface="Inter Medium"/>
                <a:ea typeface="Inter Medium"/>
                <a:cs typeface="Inter Medium"/>
                <a:sym typeface="Inter Medium"/>
              </a:defRPr>
            </a:lvl7pPr>
            <a:lvl8pPr marL="4876678" lvl="7" indent="-406390" rtl="0">
              <a:lnSpc>
                <a:spcPct val="90000"/>
              </a:lnSpc>
              <a:spcBef>
                <a:spcPts val="0"/>
              </a:spcBef>
              <a:spcAft>
                <a:spcPts val="0"/>
              </a:spcAft>
              <a:buClr>
                <a:schemeClr val="dk2"/>
              </a:buClr>
              <a:buSzPts val="1200"/>
              <a:buFont typeface="Inter Medium"/>
              <a:buAutoNum type="alphaLcPeriod"/>
              <a:defRPr sz="1600">
                <a:solidFill>
                  <a:schemeClr val="dk2"/>
                </a:solidFill>
                <a:latin typeface="Inter Medium"/>
                <a:ea typeface="Inter Medium"/>
                <a:cs typeface="Inter Medium"/>
                <a:sym typeface="Inter Medium"/>
              </a:defRPr>
            </a:lvl8pPr>
            <a:lvl9pPr marL="5486263" lvl="8" indent="-406390" rtl="0">
              <a:lnSpc>
                <a:spcPct val="90000"/>
              </a:lnSpc>
              <a:spcBef>
                <a:spcPts val="0"/>
              </a:spcBef>
              <a:spcAft>
                <a:spcPts val="0"/>
              </a:spcAft>
              <a:buClr>
                <a:schemeClr val="dk2"/>
              </a:buClr>
              <a:buSzPts val="1200"/>
              <a:buFont typeface="Inter Medium"/>
              <a:buAutoNum type="romanLcPeriod"/>
              <a:defRPr sz="1600">
                <a:solidFill>
                  <a:schemeClr val="dk2"/>
                </a:solidFill>
                <a:latin typeface="Inter Medium"/>
                <a:ea typeface="Inter Medium"/>
                <a:cs typeface="Inter Medium"/>
                <a:sym typeface="Inter Medium"/>
              </a:defRPr>
            </a:lvl9pPr>
          </a:lstStyle>
          <a:p>
            <a:endParaRPr/>
          </a:p>
        </p:txBody>
      </p:sp>
      <p:sp>
        <p:nvSpPr>
          <p:cNvPr id="1566" name="Google Shape;1566;p32"/>
          <p:cNvSpPr>
            <a:spLocks noGrp="1"/>
          </p:cNvSpPr>
          <p:nvPr>
            <p:ph type="body" idx="2"/>
          </p:nvPr>
        </p:nvSpPr>
        <p:spPr>
          <a:xfrm>
            <a:off x="3315904" y="1335200"/>
            <a:ext cx="2726000" cy="1527600"/>
          </a:xfrm>
          <a:prstGeom prst="roundRect">
            <a:avLst>
              <a:gd name="adj" fmla="val 8792"/>
            </a:avLst>
          </a:prstGeom>
          <a:solidFill>
            <a:schemeClr val="accent1"/>
          </a:solidFill>
          <a:ln>
            <a:noFill/>
          </a:ln>
        </p:spPr>
        <p:txBody>
          <a:bodyPr spcFirstLastPara="1" wrap="square" lIns="108000" tIns="108000" rIns="108000" bIns="34275" anchor="t" anchorCtr="0">
            <a:normAutofit/>
          </a:bodyPr>
          <a:lstStyle>
            <a:lvl1pPr marL="609585" lvl="0" indent="-406390" rtl="0">
              <a:lnSpc>
                <a:spcPct val="90000"/>
              </a:lnSpc>
              <a:spcBef>
                <a:spcPts val="0"/>
              </a:spcBef>
              <a:spcAft>
                <a:spcPts val="0"/>
              </a:spcAft>
              <a:buClr>
                <a:schemeClr val="dk2"/>
              </a:buClr>
              <a:buSzPts val="1200"/>
              <a:buFont typeface="Inter Medium"/>
              <a:buAutoNum type="alphaUcPeriod"/>
              <a:defRPr sz="1600">
                <a:solidFill>
                  <a:schemeClr val="dk2"/>
                </a:solidFill>
                <a:latin typeface="Inter Medium"/>
                <a:ea typeface="Inter Medium"/>
                <a:cs typeface="Inter Medium"/>
                <a:sym typeface="Inter Medium"/>
              </a:defRPr>
            </a:lvl1pPr>
            <a:lvl2pPr marL="1219170" lvl="1" indent="-406390" rtl="0">
              <a:lnSpc>
                <a:spcPct val="90000"/>
              </a:lnSpc>
              <a:spcBef>
                <a:spcPts val="0"/>
              </a:spcBef>
              <a:spcAft>
                <a:spcPts val="0"/>
              </a:spcAft>
              <a:buClr>
                <a:schemeClr val="dk2"/>
              </a:buClr>
              <a:buSzPts val="1200"/>
              <a:buFont typeface="Inter Medium"/>
              <a:buAutoNum type="alphaLcPeriod"/>
              <a:defRPr sz="1600">
                <a:solidFill>
                  <a:schemeClr val="dk2"/>
                </a:solidFill>
                <a:latin typeface="Inter Medium"/>
                <a:ea typeface="Inter Medium"/>
                <a:cs typeface="Inter Medium"/>
                <a:sym typeface="Inter Medium"/>
              </a:defRPr>
            </a:lvl2pPr>
            <a:lvl3pPr marL="1828754" lvl="2" indent="-406390" rtl="0">
              <a:lnSpc>
                <a:spcPct val="90000"/>
              </a:lnSpc>
              <a:spcBef>
                <a:spcPts val="0"/>
              </a:spcBef>
              <a:spcAft>
                <a:spcPts val="0"/>
              </a:spcAft>
              <a:buClr>
                <a:schemeClr val="dk2"/>
              </a:buClr>
              <a:buSzPts val="1200"/>
              <a:buFont typeface="Inter Medium"/>
              <a:buAutoNum type="romanLcPeriod"/>
              <a:defRPr sz="1600">
                <a:solidFill>
                  <a:schemeClr val="dk2"/>
                </a:solidFill>
                <a:latin typeface="Inter Medium"/>
                <a:ea typeface="Inter Medium"/>
                <a:cs typeface="Inter Medium"/>
                <a:sym typeface="Inter Medium"/>
              </a:defRPr>
            </a:lvl3pPr>
            <a:lvl4pPr marL="2438339" lvl="3" indent="-406390" rtl="0">
              <a:lnSpc>
                <a:spcPct val="90000"/>
              </a:lnSpc>
              <a:spcBef>
                <a:spcPts val="0"/>
              </a:spcBef>
              <a:spcAft>
                <a:spcPts val="0"/>
              </a:spcAft>
              <a:buClr>
                <a:schemeClr val="dk2"/>
              </a:buClr>
              <a:buSzPts val="1200"/>
              <a:buFont typeface="Inter Medium"/>
              <a:buAutoNum type="arabicPeriod"/>
              <a:defRPr sz="1600">
                <a:solidFill>
                  <a:schemeClr val="dk2"/>
                </a:solidFill>
                <a:latin typeface="Inter Medium"/>
                <a:ea typeface="Inter Medium"/>
                <a:cs typeface="Inter Medium"/>
                <a:sym typeface="Inter Medium"/>
              </a:defRPr>
            </a:lvl4pPr>
            <a:lvl5pPr marL="3047924" lvl="4" indent="-406390" rtl="0">
              <a:lnSpc>
                <a:spcPct val="90000"/>
              </a:lnSpc>
              <a:spcBef>
                <a:spcPts val="0"/>
              </a:spcBef>
              <a:spcAft>
                <a:spcPts val="0"/>
              </a:spcAft>
              <a:buClr>
                <a:schemeClr val="dk2"/>
              </a:buClr>
              <a:buSzPts val="1200"/>
              <a:buFont typeface="Inter Medium"/>
              <a:buAutoNum type="alphaLcPeriod"/>
              <a:defRPr sz="1600">
                <a:solidFill>
                  <a:schemeClr val="dk2"/>
                </a:solidFill>
                <a:latin typeface="Inter Medium"/>
                <a:ea typeface="Inter Medium"/>
                <a:cs typeface="Inter Medium"/>
                <a:sym typeface="Inter Medium"/>
              </a:defRPr>
            </a:lvl5pPr>
            <a:lvl6pPr marL="3657509" lvl="5" indent="-406390" rtl="0">
              <a:lnSpc>
                <a:spcPct val="90000"/>
              </a:lnSpc>
              <a:spcBef>
                <a:spcPts val="0"/>
              </a:spcBef>
              <a:spcAft>
                <a:spcPts val="0"/>
              </a:spcAft>
              <a:buClr>
                <a:schemeClr val="dk2"/>
              </a:buClr>
              <a:buSzPts val="1200"/>
              <a:buFont typeface="Inter Medium"/>
              <a:buAutoNum type="romanLcPeriod"/>
              <a:defRPr sz="1600">
                <a:solidFill>
                  <a:schemeClr val="dk2"/>
                </a:solidFill>
                <a:latin typeface="Inter Medium"/>
                <a:ea typeface="Inter Medium"/>
                <a:cs typeface="Inter Medium"/>
                <a:sym typeface="Inter Medium"/>
              </a:defRPr>
            </a:lvl6pPr>
            <a:lvl7pPr marL="4267093" lvl="6" indent="-406390" rtl="0">
              <a:lnSpc>
                <a:spcPct val="90000"/>
              </a:lnSpc>
              <a:spcBef>
                <a:spcPts val="0"/>
              </a:spcBef>
              <a:spcAft>
                <a:spcPts val="0"/>
              </a:spcAft>
              <a:buClr>
                <a:schemeClr val="dk2"/>
              </a:buClr>
              <a:buSzPts val="1200"/>
              <a:buFont typeface="Inter Medium"/>
              <a:buAutoNum type="arabicPeriod"/>
              <a:defRPr sz="1600">
                <a:solidFill>
                  <a:schemeClr val="dk2"/>
                </a:solidFill>
                <a:latin typeface="Inter Medium"/>
                <a:ea typeface="Inter Medium"/>
                <a:cs typeface="Inter Medium"/>
                <a:sym typeface="Inter Medium"/>
              </a:defRPr>
            </a:lvl7pPr>
            <a:lvl8pPr marL="4876678" lvl="7" indent="-406390" rtl="0">
              <a:lnSpc>
                <a:spcPct val="90000"/>
              </a:lnSpc>
              <a:spcBef>
                <a:spcPts val="0"/>
              </a:spcBef>
              <a:spcAft>
                <a:spcPts val="0"/>
              </a:spcAft>
              <a:buClr>
                <a:schemeClr val="dk2"/>
              </a:buClr>
              <a:buSzPts val="1200"/>
              <a:buFont typeface="Inter Medium"/>
              <a:buAutoNum type="alphaLcPeriod"/>
              <a:defRPr sz="1600">
                <a:solidFill>
                  <a:schemeClr val="dk2"/>
                </a:solidFill>
                <a:latin typeface="Inter Medium"/>
                <a:ea typeface="Inter Medium"/>
                <a:cs typeface="Inter Medium"/>
                <a:sym typeface="Inter Medium"/>
              </a:defRPr>
            </a:lvl8pPr>
            <a:lvl9pPr marL="5486263" lvl="8" indent="-406390" rtl="0">
              <a:lnSpc>
                <a:spcPct val="90000"/>
              </a:lnSpc>
              <a:spcBef>
                <a:spcPts val="0"/>
              </a:spcBef>
              <a:spcAft>
                <a:spcPts val="0"/>
              </a:spcAft>
              <a:buClr>
                <a:schemeClr val="dk2"/>
              </a:buClr>
              <a:buSzPts val="1200"/>
              <a:buFont typeface="Inter Medium"/>
              <a:buAutoNum type="romanLcPeriod"/>
              <a:defRPr sz="1600">
                <a:solidFill>
                  <a:schemeClr val="dk2"/>
                </a:solidFill>
                <a:latin typeface="Inter Medium"/>
                <a:ea typeface="Inter Medium"/>
                <a:cs typeface="Inter Medium"/>
                <a:sym typeface="Inter Medium"/>
              </a:defRPr>
            </a:lvl9pPr>
          </a:lstStyle>
          <a:p>
            <a:endParaRPr/>
          </a:p>
        </p:txBody>
      </p:sp>
      <p:sp>
        <p:nvSpPr>
          <p:cNvPr id="1567" name="Google Shape;1567;p32"/>
          <p:cNvSpPr>
            <a:spLocks noGrp="1"/>
          </p:cNvSpPr>
          <p:nvPr>
            <p:ph type="body" idx="3"/>
          </p:nvPr>
        </p:nvSpPr>
        <p:spPr>
          <a:xfrm>
            <a:off x="6150209" y="1335200"/>
            <a:ext cx="2726000" cy="1527600"/>
          </a:xfrm>
          <a:prstGeom prst="roundRect">
            <a:avLst>
              <a:gd name="adj" fmla="val 8792"/>
            </a:avLst>
          </a:prstGeom>
          <a:solidFill>
            <a:schemeClr val="accent1"/>
          </a:solidFill>
          <a:ln>
            <a:noFill/>
          </a:ln>
        </p:spPr>
        <p:txBody>
          <a:bodyPr spcFirstLastPara="1" wrap="square" lIns="108000" tIns="108000" rIns="108000" bIns="34275" anchor="t" anchorCtr="0">
            <a:normAutofit/>
          </a:bodyPr>
          <a:lstStyle>
            <a:lvl1pPr marL="609585" lvl="0" indent="-406390" rtl="0">
              <a:lnSpc>
                <a:spcPct val="90000"/>
              </a:lnSpc>
              <a:spcBef>
                <a:spcPts val="0"/>
              </a:spcBef>
              <a:spcAft>
                <a:spcPts val="0"/>
              </a:spcAft>
              <a:buClr>
                <a:schemeClr val="dk2"/>
              </a:buClr>
              <a:buSzPts val="1200"/>
              <a:buFont typeface="Inter Medium"/>
              <a:buAutoNum type="alphaUcPeriod"/>
              <a:defRPr sz="1600">
                <a:solidFill>
                  <a:schemeClr val="dk2"/>
                </a:solidFill>
                <a:latin typeface="Inter Medium"/>
                <a:ea typeface="Inter Medium"/>
                <a:cs typeface="Inter Medium"/>
                <a:sym typeface="Inter Medium"/>
              </a:defRPr>
            </a:lvl1pPr>
            <a:lvl2pPr marL="1219170" lvl="1" indent="-406390" rtl="0">
              <a:lnSpc>
                <a:spcPct val="90000"/>
              </a:lnSpc>
              <a:spcBef>
                <a:spcPts val="0"/>
              </a:spcBef>
              <a:spcAft>
                <a:spcPts val="0"/>
              </a:spcAft>
              <a:buClr>
                <a:schemeClr val="dk2"/>
              </a:buClr>
              <a:buSzPts val="1200"/>
              <a:buFont typeface="Inter Medium"/>
              <a:buAutoNum type="alphaLcPeriod"/>
              <a:defRPr sz="1600">
                <a:solidFill>
                  <a:schemeClr val="dk2"/>
                </a:solidFill>
                <a:latin typeface="Inter Medium"/>
                <a:ea typeface="Inter Medium"/>
                <a:cs typeface="Inter Medium"/>
                <a:sym typeface="Inter Medium"/>
              </a:defRPr>
            </a:lvl2pPr>
            <a:lvl3pPr marL="1828754" lvl="2" indent="-406390" rtl="0">
              <a:lnSpc>
                <a:spcPct val="90000"/>
              </a:lnSpc>
              <a:spcBef>
                <a:spcPts val="0"/>
              </a:spcBef>
              <a:spcAft>
                <a:spcPts val="0"/>
              </a:spcAft>
              <a:buClr>
                <a:schemeClr val="dk2"/>
              </a:buClr>
              <a:buSzPts val="1200"/>
              <a:buFont typeface="Inter Medium"/>
              <a:buAutoNum type="romanLcPeriod"/>
              <a:defRPr sz="1600">
                <a:solidFill>
                  <a:schemeClr val="dk2"/>
                </a:solidFill>
                <a:latin typeface="Inter Medium"/>
                <a:ea typeface="Inter Medium"/>
                <a:cs typeface="Inter Medium"/>
                <a:sym typeface="Inter Medium"/>
              </a:defRPr>
            </a:lvl3pPr>
            <a:lvl4pPr marL="2438339" lvl="3" indent="-406390" rtl="0">
              <a:lnSpc>
                <a:spcPct val="90000"/>
              </a:lnSpc>
              <a:spcBef>
                <a:spcPts val="0"/>
              </a:spcBef>
              <a:spcAft>
                <a:spcPts val="0"/>
              </a:spcAft>
              <a:buClr>
                <a:schemeClr val="dk2"/>
              </a:buClr>
              <a:buSzPts val="1200"/>
              <a:buFont typeface="Inter Medium"/>
              <a:buAutoNum type="arabicPeriod"/>
              <a:defRPr sz="1600">
                <a:solidFill>
                  <a:schemeClr val="dk2"/>
                </a:solidFill>
                <a:latin typeface="Inter Medium"/>
                <a:ea typeface="Inter Medium"/>
                <a:cs typeface="Inter Medium"/>
                <a:sym typeface="Inter Medium"/>
              </a:defRPr>
            </a:lvl4pPr>
            <a:lvl5pPr marL="3047924" lvl="4" indent="-406390" rtl="0">
              <a:lnSpc>
                <a:spcPct val="90000"/>
              </a:lnSpc>
              <a:spcBef>
                <a:spcPts val="0"/>
              </a:spcBef>
              <a:spcAft>
                <a:spcPts val="0"/>
              </a:spcAft>
              <a:buClr>
                <a:schemeClr val="dk2"/>
              </a:buClr>
              <a:buSzPts val="1200"/>
              <a:buFont typeface="Inter Medium"/>
              <a:buAutoNum type="alphaLcPeriod"/>
              <a:defRPr sz="1600">
                <a:solidFill>
                  <a:schemeClr val="dk2"/>
                </a:solidFill>
                <a:latin typeface="Inter Medium"/>
                <a:ea typeface="Inter Medium"/>
                <a:cs typeface="Inter Medium"/>
                <a:sym typeface="Inter Medium"/>
              </a:defRPr>
            </a:lvl5pPr>
            <a:lvl6pPr marL="3657509" lvl="5" indent="-406390" rtl="0">
              <a:lnSpc>
                <a:spcPct val="90000"/>
              </a:lnSpc>
              <a:spcBef>
                <a:spcPts val="0"/>
              </a:spcBef>
              <a:spcAft>
                <a:spcPts val="0"/>
              </a:spcAft>
              <a:buClr>
                <a:schemeClr val="dk2"/>
              </a:buClr>
              <a:buSzPts val="1200"/>
              <a:buFont typeface="Inter Medium"/>
              <a:buAutoNum type="romanLcPeriod"/>
              <a:defRPr sz="1600">
                <a:solidFill>
                  <a:schemeClr val="dk2"/>
                </a:solidFill>
                <a:latin typeface="Inter Medium"/>
                <a:ea typeface="Inter Medium"/>
                <a:cs typeface="Inter Medium"/>
                <a:sym typeface="Inter Medium"/>
              </a:defRPr>
            </a:lvl6pPr>
            <a:lvl7pPr marL="4267093" lvl="6" indent="-406390" rtl="0">
              <a:lnSpc>
                <a:spcPct val="90000"/>
              </a:lnSpc>
              <a:spcBef>
                <a:spcPts val="0"/>
              </a:spcBef>
              <a:spcAft>
                <a:spcPts val="0"/>
              </a:spcAft>
              <a:buClr>
                <a:schemeClr val="dk2"/>
              </a:buClr>
              <a:buSzPts val="1200"/>
              <a:buFont typeface="Inter Medium"/>
              <a:buAutoNum type="arabicPeriod"/>
              <a:defRPr sz="1600">
                <a:solidFill>
                  <a:schemeClr val="dk2"/>
                </a:solidFill>
                <a:latin typeface="Inter Medium"/>
                <a:ea typeface="Inter Medium"/>
                <a:cs typeface="Inter Medium"/>
                <a:sym typeface="Inter Medium"/>
              </a:defRPr>
            </a:lvl7pPr>
            <a:lvl8pPr marL="4876678" lvl="7" indent="-406390" rtl="0">
              <a:lnSpc>
                <a:spcPct val="90000"/>
              </a:lnSpc>
              <a:spcBef>
                <a:spcPts val="0"/>
              </a:spcBef>
              <a:spcAft>
                <a:spcPts val="0"/>
              </a:spcAft>
              <a:buClr>
                <a:schemeClr val="dk2"/>
              </a:buClr>
              <a:buSzPts val="1200"/>
              <a:buFont typeface="Inter Medium"/>
              <a:buAutoNum type="alphaLcPeriod"/>
              <a:defRPr sz="1600">
                <a:solidFill>
                  <a:schemeClr val="dk2"/>
                </a:solidFill>
                <a:latin typeface="Inter Medium"/>
                <a:ea typeface="Inter Medium"/>
                <a:cs typeface="Inter Medium"/>
                <a:sym typeface="Inter Medium"/>
              </a:defRPr>
            </a:lvl8pPr>
            <a:lvl9pPr marL="5486263" lvl="8" indent="-406390" rtl="0">
              <a:lnSpc>
                <a:spcPct val="90000"/>
              </a:lnSpc>
              <a:spcBef>
                <a:spcPts val="0"/>
              </a:spcBef>
              <a:spcAft>
                <a:spcPts val="0"/>
              </a:spcAft>
              <a:buClr>
                <a:schemeClr val="dk2"/>
              </a:buClr>
              <a:buSzPts val="1200"/>
              <a:buFont typeface="Inter Medium"/>
              <a:buAutoNum type="romanLcPeriod"/>
              <a:defRPr sz="1600">
                <a:solidFill>
                  <a:schemeClr val="dk2"/>
                </a:solidFill>
                <a:latin typeface="Inter Medium"/>
                <a:ea typeface="Inter Medium"/>
                <a:cs typeface="Inter Medium"/>
                <a:sym typeface="Inter Medium"/>
              </a:defRPr>
            </a:lvl9pPr>
          </a:lstStyle>
          <a:p>
            <a:endParaRPr/>
          </a:p>
        </p:txBody>
      </p:sp>
      <p:sp>
        <p:nvSpPr>
          <p:cNvPr id="1568" name="Google Shape;1568;p32"/>
          <p:cNvSpPr>
            <a:spLocks noGrp="1"/>
          </p:cNvSpPr>
          <p:nvPr>
            <p:ph type="body" idx="4"/>
          </p:nvPr>
        </p:nvSpPr>
        <p:spPr>
          <a:xfrm>
            <a:off x="8984513" y="1335200"/>
            <a:ext cx="2726000" cy="1527600"/>
          </a:xfrm>
          <a:prstGeom prst="roundRect">
            <a:avLst>
              <a:gd name="adj" fmla="val 8792"/>
            </a:avLst>
          </a:prstGeom>
          <a:solidFill>
            <a:schemeClr val="accent1"/>
          </a:solidFill>
          <a:ln>
            <a:noFill/>
          </a:ln>
        </p:spPr>
        <p:txBody>
          <a:bodyPr spcFirstLastPara="1" wrap="square" lIns="108000" tIns="108000" rIns="108000" bIns="34275" anchor="t" anchorCtr="0">
            <a:normAutofit/>
          </a:bodyPr>
          <a:lstStyle>
            <a:lvl1pPr marL="609585" lvl="0" indent="-406390" rtl="0">
              <a:lnSpc>
                <a:spcPct val="90000"/>
              </a:lnSpc>
              <a:spcBef>
                <a:spcPts val="0"/>
              </a:spcBef>
              <a:spcAft>
                <a:spcPts val="0"/>
              </a:spcAft>
              <a:buClr>
                <a:schemeClr val="dk2"/>
              </a:buClr>
              <a:buSzPts val="1200"/>
              <a:buFont typeface="Inter Medium"/>
              <a:buAutoNum type="alphaUcPeriod"/>
              <a:defRPr sz="1600">
                <a:solidFill>
                  <a:schemeClr val="dk2"/>
                </a:solidFill>
                <a:latin typeface="Inter Medium"/>
                <a:ea typeface="Inter Medium"/>
                <a:cs typeface="Inter Medium"/>
                <a:sym typeface="Inter Medium"/>
              </a:defRPr>
            </a:lvl1pPr>
            <a:lvl2pPr marL="1219170" lvl="1" indent="-406390" rtl="0">
              <a:lnSpc>
                <a:spcPct val="90000"/>
              </a:lnSpc>
              <a:spcBef>
                <a:spcPts val="0"/>
              </a:spcBef>
              <a:spcAft>
                <a:spcPts val="0"/>
              </a:spcAft>
              <a:buClr>
                <a:schemeClr val="dk2"/>
              </a:buClr>
              <a:buSzPts val="1200"/>
              <a:buFont typeface="Inter Medium"/>
              <a:buAutoNum type="alphaLcPeriod"/>
              <a:defRPr sz="1600">
                <a:solidFill>
                  <a:schemeClr val="dk2"/>
                </a:solidFill>
                <a:latin typeface="Inter Medium"/>
                <a:ea typeface="Inter Medium"/>
                <a:cs typeface="Inter Medium"/>
                <a:sym typeface="Inter Medium"/>
              </a:defRPr>
            </a:lvl2pPr>
            <a:lvl3pPr marL="1828754" lvl="2" indent="-406390" rtl="0">
              <a:lnSpc>
                <a:spcPct val="90000"/>
              </a:lnSpc>
              <a:spcBef>
                <a:spcPts val="0"/>
              </a:spcBef>
              <a:spcAft>
                <a:spcPts val="0"/>
              </a:spcAft>
              <a:buClr>
                <a:schemeClr val="dk2"/>
              </a:buClr>
              <a:buSzPts val="1200"/>
              <a:buFont typeface="Inter Medium"/>
              <a:buAutoNum type="romanLcPeriod"/>
              <a:defRPr sz="1600">
                <a:solidFill>
                  <a:schemeClr val="dk2"/>
                </a:solidFill>
                <a:latin typeface="Inter Medium"/>
                <a:ea typeface="Inter Medium"/>
                <a:cs typeface="Inter Medium"/>
                <a:sym typeface="Inter Medium"/>
              </a:defRPr>
            </a:lvl3pPr>
            <a:lvl4pPr marL="2438339" lvl="3" indent="-406390" rtl="0">
              <a:lnSpc>
                <a:spcPct val="90000"/>
              </a:lnSpc>
              <a:spcBef>
                <a:spcPts val="0"/>
              </a:spcBef>
              <a:spcAft>
                <a:spcPts val="0"/>
              </a:spcAft>
              <a:buClr>
                <a:schemeClr val="dk2"/>
              </a:buClr>
              <a:buSzPts val="1200"/>
              <a:buFont typeface="Inter Medium"/>
              <a:buAutoNum type="arabicPeriod"/>
              <a:defRPr sz="1600">
                <a:solidFill>
                  <a:schemeClr val="dk2"/>
                </a:solidFill>
                <a:latin typeface="Inter Medium"/>
                <a:ea typeface="Inter Medium"/>
                <a:cs typeface="Inter Medium"/>
                <a:sym typeface="Inter Medium"/>
              </a:defRPr>
            </a:lvl4pPr>
            <a:lvl5pPr marL="3047924" lvl="4" indent="-406390" rtl="0">
              <a:lnSpc>
                <a:spcPct val="90000"/>
              </a:lnSpc>
              <a:spcBef>
                <a:spcPts val="0"/>
              </a:spcBef>
              <a:spcAft>
                <a:spcPts val="0"/>
              </a:spcAft>
              <a:buClr>
                <a:schemeClr val="dk2"/>
              </a:buClr>
              <a:buSzPts val="1200"/>
              <a:buFont typeface="Inter Medium"/>
              <a:buAutoNum type="alphaLcPeriod"/>
              <a:defRPr sz="1600">
                <a:solidFill>
                  <a:schemeClr val="dk2"/>
                </a:solidFill>
                <a:latin typeface="Inter Medium"/>
                <a:ea typeface="Inter Medium"/>
                <a:cs typeface="Inter Medium"/>
                <a:sym typeface="Inter Medium"/>
              </a:defRPr>
            </a:lvl5pPr>
            <a:lvl6pPr marL="3657509" lvl="5" indent="-406390" rtl="0">
              <a:lnSpc>
                <a:spcPct val="90000"/>
              </a:lnSpc>
              <a:spcBef>
                <a:spcPts val="0"/>
              </a:spcBef>
              <a:spcAft>
                <a:spcPts val="0"/>
              </a:spcAft>
              <a:buClr>
                <a:schemeClr val="dk2"/>
              </a:buClr>
              <a:buSzPts val="1200"/>
              <a:buFont typeface="Inter Medium"/>
              <a:buAutoNum type="romanLcPeriod"/>
              <a:defRPr sz="1600">
                <a:solidFill>
                  <a:schemeClr val="dk2"/>
                </a:solidFill>
                <a:latin typeface="Inter Medium"/>
                <a:ea typeface="Inter Medium"/>
                <a:cs typeface="Inter Medium"/>
                <a:sym typeface="Inter Medium"/>
              </a:defRPr>
            </a:lvl6pPr>
            <a:lvl7pPr marL="4267093" lvl="6" indent="-406390" rtl="0">
              <a:lnSpc>
                <a:spcPct val="90000"/>
              </a:lnSpc>
              <a:spcBef>
                <a:spcPts val="0"/>
              </a:spcBef>
              <a:spcAft>
                <a:spcPts val="0"/>
              </a:spcAft>
              <a:buClr>
                <a:schemeClr val="dk2"/>
              </a:buClr>
              <a:buSzPts val="1200"/>
              <a:buFont typeface="Inter Medium"/>
              <a:buAutoNum type="arabicPeriod"/>
              <a:defRPr sz="1600">
                <a:solidFill>
                  <a:schemeClr val="dk2"/>
                </a:solidFill>
                <a:latin typeface="Inter Medium"/>
                <a:ea typeface="Inter Medium"/>
                <a:cs typeface="Inter Medium"/>
                <a:sym typeface="Inter Medium"/>
              </a:defRPr>
            </a:lvl7pPr>
            <a:lvl8pPr marL="4876678" lvl="7" indent="-406390" rtl="0">
              <a:lnSpc>
                <a:spcPct val="90000"/>
              </a:lnSpc>
              <a:spcBef>
                <a:spcPts val="0"/>
              </a:spcBef>
              <a:spcAft>
                <a:spcPts val="0"/>
              </a:spcAft>
              <a:buClr>
                <a:schemeClr val="dk2"/>
              </a:buClr>
              <a:buSzPts val="1200"/>
              <a:buFont typeface="Inter Medium"/>
              <a:buAutoNum type="alphaLcPeriod"/>
              <a:defRPr sz="1600">
                <a:solidFill>
                  <a:schemeClr val="dk2"/>
                </a:solidFill>
                <a:latin typeface="Inter Medium"/>
                <a:ea typeface="Inter Medium"/>
                <a:cs typeface="Inter Medium"/>
                <a:sym typeface="Inter Medium"/>
              </a:defRPr>
            </a:lvl8pPr>
            <a:lvl9pPr marL="5486263" lvl="8" indent="-406390" rtl="0">
              <a:lnSpc>
                <a:spcPct val="90000"/>
              </a:lnSpc>
              <a:spcBef>
                <a:spcPts val="0"/>
              </a:spcBef>
              <a:spcAft>
                <a:spcPts val="0"/>
              </a:spcAft>
              <a:buClr>
                <a:schemeClr val="dk2"/>
              </a:buClr>
              <a:buSzPts val="1200"/>
              <a:buFont typeface="Inter Medium"/>
              <a:buAutoNum type="romanLcPeriod"/>
              <a:defRPr sz="1600">
                <a:solidFill>
                  <a:schemeClr val="dk2"/>
                </a:solidFill>
                <a:latin typeface="Inter Medium"/>
                <a:ea typeface="Inter Medium"/>
                <a:cs typeface="Inter Medium"/>
                <a:sym typeface="Inter Medium"/>
              </a:defRPr>
            </a:lvl9pPr>
          </a:lstStyle>
          <a:p>
            <a:endParaRPr/>
          </a:p>
        </p:txBody>
      </p:sp>
      <p:sp>
        <p:nvSpPr>
          <p:cNvPr id="1569" name="Google Shape;1569;p32"/>
          <p:cNvSpPr>
            <a:spLocks noGrp="1"/>
          </p:cNvSpPr>
          <p:nvPr>
            <p:ph type="body" idx="5"/>
          </p:nvPr>
        </p:nvSpPr>
        <p:spPr>
          <a:xfrm>
            <a:off x="481600" y="2970851"/>
            <a:ext cx="2726000" cy="1527600"/>
          </a:xfrm>
          <a:prstGeom prst="roundRect">
            <a:avLst>
              <a:gd name="adj" fmla="val 8792"/>
            </a:avLst>
          </a:prstGeom>
          <a:solidFill>
            <a:schemeClr val="accent1"/>
          </a:solidFill>
          <a:ln>
            <a:noFill/>
          </a:ln>
        </p:spPr>
        <p:txBody>
          <a:bodyPr spcFirstLastPara="1" wrap="square" lIns="108000" tIns="108000" rIns="108000" bIns="34275" anchor="t" anchorCtr="0">
            <a:normAutofit/>
          </a:bodyPr>
          <a:lstStyle>
            <a:lvl1pPr marL="609585" lvl="0" indent="-406390" rtl="0">
              <a:lnSpc>
                <a:spcPct val="90000"/>
              </a:lnSpc>
              <a:spcBef>
                <a:spcPts val="0"/>
              </a:spcBef>
              <a:spcAft>
                <a:spcPts val="0"/>
              </a:spcAft>
              <a:buClr>
                <a:schemeClr val="dk2"/>
              </a:buClr>
              <a:buSzPts val="1200"/>
              <a:buFont typeface="Inter Medium"/>
              <a:buAutoNum type="alphaUcPeriod"/>
              <a:defRPr sz="1600">
                <a:solidFill>
                  <a:schemeClr val="dk2"/>
                </a:solidFill>
                <a:latin typeface="Inter Medium"/>
                <a:ea typeface="Inter Medium"/>
                <a:cs typeface="Inter Medium"/>
                <a:sym typeface="Inter Medium"/>
              </a:defRPr>
            </a:lvl1pPr>
            <a:lvl2pPr marL="1219170" lvl="1" indent="-406390" rtl="0">
              <a:lnSpc>
                <a:spcPct val="90000"/>
              </a:lnSpc>
              <a:spcBef>
                <a:spcPts val="0"/>
              </a:spcBef>
              <a:spcAft>
                <a:spcPts val="0"/>
              </a:spcAft>
              <a:buClr>
                <a:schemeClr val="dk2"/>
              </a:buClr>
              <a:buSzPts val="1200"/>
              <a:buFont typeface="Inter Medium"/>
              <a:buAutoNum type="alphaLcPeriod"/>
              <a:defRPr sz="1600">
                <a:solidFill>
                  <a:schemeClr val="dk2"/>
                </a:solidFill>
                <a:latin typeface="Inter Medium"/>
                <a:ea typeface="Inter Medium"/>
                <a:cs typeface="Inter Medium"/>
                <a:sym typeface="Inter Medium"/>
              </a:defRPr>
            </a:lvl2pPr>
            <a:lvl3pPr marL="1828754" lvl="2" indent="-406390" rtl="0">
              <a:lnSpc>
                <a:spcPct val="90000"/>
              </a:lnSpc>
              <a:spcBef>
                <a:spcPts val="0"/>
              </a:spcBef>
              <a:spcAft>
                <a:spcPts val="0"/>
              </a:spcAft>
              <a:buClr>
                <a:schemeClr val="dk2"/>
              </a:buClr>
              <a:buSzPts val="1200"/>
              <a:buFont typeface="Inter Medium"/>
              <a:buAutoNum type="romanLcPeriod"/>
              <a:defRPr sz="1600">
                <a:solidFill>
                  <a:schemeClr val="dk2"/>
                </a:solidFill>
                <a:latin typeface="Inter Medium"/>
                <a:ea typeface="Inter Medium"/>
                <a:cs typeface="Inter Medium"/>
                <a:sym typeface="Inter Medium"/>
              </a:defRPr>
            </a:lvl3pPr>
            <a:lvl4pPr marL="2438339" lvl="3" indent="-406390" rtl="0">
              <a:lnSpc>
                <a:spcPct val="90000"/>
              </a:lnSpc>
              <a:spcBef>
                <a:spcPts val="0"/>
              </a:spcBef>
              <a:spcAft>
                <a:spcPts val="0"/>
              </a:spcAft>
              <a:buClr>
                <a:schemeClr val="dk2"/>
              </a:buClr>
              <a:buSzPts val="1200"/>
              <a:buFont typeface="Inter Medium"/>
              <a:buAutoNum type="arabicPeriod"/>
              <a:defRPr sz="1600">
                <a:solidFill>
                  <a:schemeClr val="dk2"/>
                </a:solidFill>
                <a:latin typeface="Inter Medium"/>
                <a:ea typeface="Inter Medium"/>
                <a:cs typeface="Inter Medium"/>
                <a:sym typeface="Inter Medium"/>
              </a:defRPr>
            </a:lvl4pPr>
            <a:lvl5pPr marL="3047924" lvl="4" indent="-406390" rtl="0">
              <a:lnSpc>
                <a:spcPct val="90000"/>
              </a:lnSpc>
              <a:spcBef>
                <a:spcPts val="0"/>
              </a:spcBef>
              <a:spcAft>
                <a:spcPts val="0"/>
              </a:spcAft>
              <a:buClr>
                <a:schemeClr val="dk2"/>
              </a:buClr>
              <a:buSzPts val="1200"/>
              <a:buFont typeface="Inter Medium"/>
              <a:buAutoNum type="alphaLcPeriod"/>
              <a:defRPr sz="1600">
                <a:solidFill>
                  <a:schemeClr val="dk2"/>
                </a:solidFill>
                <a:latin typeface="Inter Medium"/>
                <a:ea typeface="Inter Medium"/>
                <a:cs typeface="Inter Medium"/>
                <a:sym typeface="Inter Medium"/>
              </a:defRPr>
            </a:lvl5pPr>
            <a:lvl6pPr marL="3657509" lvl="5" indent="-406390" rtl="0">
              <a:lnSpc>
                <a:spcPct val="90000"/>
              </a:lnSpc>
              <a:spcBef>
                <a:spcPts val="0"/>
              </a:spcBef>
              <a:spcAft>
                <a:spcPts val="0"/>
              </a:spcAft>
              <a:buClr>
                <a:schemeClr val="dk2"/>
              </a:buClr>
              <a:buSzPts val="1200"/>
              <a:buFont typeface="Inter Medium"/>
              <a:buAutoNum type="romanLcPeriod"/>
              <a:defRPr sz="1600">
                <a:solidFill>
                  <a:schemeClr val="dk2"/>
                </a:solidFill>
                <a:latin typeface="Inter Medium"/>
                <a:ea typeface="Inter Medium"/>
                <a:cs typeface="Inter Medium"/>
                <a:sym typeface="Inter Medium"/>
              </a:defRPr>
            </a:lvl6pPr>
            <a:lvl7pPr marL="4267093" lvl="6" indent="-406390" rtl="0">
              <a:lnSpc>
                <a:spcPct val="90000"/>
              </a:lnSpc>
              <a:spcBef>
                <a:spcPts val="0"/>
              </a:spcBef>
              <a:spcAft>
                <a:spcPts val="0"/>
              </a:spcAft>
              <a:buClr>
                <a:schemeClr val="dk2"/>
              </a:buClr>
              <a:buSzPts val="1200"/>
              <a:buFont typeface="Inter Medium"/>
              <a:buAutoNum type="arabicPeriod"/>
              <a:defRPr sz="1600">
                <a:solidFill>
                  <a:schemeClr val="dk2"/>
                </a:solidFill>
                <a:latin typeface="Inter Medium"/>
                <a:ea typeface="Inter Medium"/>
                <a:cs typeface="Inter Medium"/>
                <a:sym typeface="Inter Medium"/>
              </a:defRPr>
            </a:lvl7pPr>
            <a:lvl8pPr marL="4876678" lvl="7" indent="-406390" rtl="0">
              <a:lnSpc>
                <a:spcPct val="90000"/>
              </a:lnSpc>
              <a:spcBef>
                <a:spcPts val="0"/>
              </a:spcBef>
              <a:spcAft>
                <a:spcPts val="0"/>
              </a:spcAft>
              <a:buClr>
                <a:schemeClr val="dk2"/>
              </a:buClr>
              <a:buSzPts val="1200"/>
              <a:buFont typeface="Inter Medium"/>
              <a:buAutoNum type="alphaLcPeriod"/>
              <a:defRPr sz="1600">
                <a:solidFill>
                  <a:schemeClr val="dk2"/>
                </a:solidFill>
                <a:latin typeface="Inter Medium"/>
                <a:ea typeface="Inter Medium"/>
                <a:cs typeface="Inter Medium"/>
                <a:sym typeface="Inter Medium"/>
              </a:defRPr>
            </a:lvl8pPr>
            <a:lvl9pPr marL="5486263" lvl="8" indent="-406390" rtl="0">
              <a:lnSpc>
                <a:spcPct val="90000"/>
              </a:lnSpc>
              <a:spcBef>
                <a:spcPts val="0"/>
              </a:spcBef>
              <a:spcAft>
                <a:spcPts val="0"/>
              </a:spcAft>
              <a:buClr>
                <a:schemeClr val="dk2"/>
              </a:buClr>
              <a:buSzPts val="1200"/>
              <a:buFont typeface="Inter Medium"/>
              <a:buAutoNum type="romanLcPeriod"/>
              <a:defRPr sz="1600">
                <a:solidFill>
                  <a:schemeClr val="dk2"/>
                </a:solidFill>
                <a:latin typeface="Inter Medium"/>
                <a:ea typeface="Inter Medium"/>
                <a:cs typeface="Inter Medium"/>
                <a:sym typeface="Inter Medium"/>
              </a:defRPr>
            </a:lvl9pPr>
          </a:lstStyle>
          <a:p>
            <a:endParaRPr/>
          </a:p>
        </p:txBody>
      </p:sp>
      <p:sp>
        <p:nvSpPr>
          <p:cNvPr id="1570" name="Google Shape;1570;p32"/>
          <p:cNvSpPr>
            <a:spLocks noGrp="1"/>
          </p:cNvSpPr>
          <p:nvPr>
            <p:ph type="body" idx="6"/>
          </p:nvPr>
        </p:nvSpPr>
        <p:spPr>
          <a:xfrm>
            <a:off x="3315904" y="2970851"/>
            <a:ext cx="2726000" cy="1527600"/>
          </a:xfrm>
          <a:prstGeom prst="roundRect">
            <a:avLst>
              <a:gd name="adj" fmla="val 8792"/>
            </a:avLst>
          </a:prstGeom>
          <a:solidFill>
            <a:schemeClr val="accent1"/>
          </a:solidFill>
          <a:ln>
            <a:noFill/>
          </a:ln>
        </p:spPr>
        <p:txBody>
          <a:bodyPr spcFirstLastPara="1" wrap="square" lIns="108000" tIns="108000" rIns="108000" bIns="34275" anchor="t" anchorCtr="0">
            <a:normAutofit/>
          </a:bodyPr>
          <a:lstStyle>
            <a:lvl1pPr marL="609585" lvl="0" indent="-406390" rtl="0">
              <a:lnSpc>
                <a:spcPct val="90000"/>
              </a:lnSpc>
              <a:spcBef>
                <a:spcPts val="0"/>
              </a:spcBef>
              <a:spcAft>
                <a:spcPts val="0"/>
              </a:spcAft>
              <a:buClr>
                <a:schemeClr val="dk2"/>
              </a:buClr>
              <a:buSzPts val="1200"/>
              <a:buFont typeface="Inter Medium"/>
              <a:buAutoNum type="alphaUcPeriod"/>
              <a:defRPr sz="1600">
                <a:solidFill>
                  <a:schemeClr val="dk2"/>
                </a:solidFill>
                <a:latin typeface="Inter Medium"/>
                <a:ea typeface="Inter Medium"/>
                <a:cs typeface="Inter Medium"/>
                <a:sym typeface="Inter Medium"/>
              </a:defRPr>
            </a:lvl1pPr>
            <a:lvl2pPr marL="1219170" lvl="1" indent="-406390" rtl="0">
              <a:lnSpc>
                <a:spcPct val="90000"/>
              </a:lnSpc>
              <a:spcBef>
                <a:spcPts val="0"/>
              </a:spcBef>
              <a:spcAft>
                <a:spcPts val="0"/>
              </a:spcAft>
              <a:buClr>
                <a:schemeClr val="dk2"/>
              </a:buClr>
              <a:buSzPts val="1200"/>
              <a:buFont typeface="Inter Medium"/>
              <a:buAutoNum type="alphaLcPeriod"/>
              <a:defRPr sz="1600">
                <a:solidFill>
                  <a:schemeClr val="dk2"/>
                </a:solidFill>
                <a:latin typeface="Inter Medium"/>
                <a:ea typeface="Inter Medium"/>
                <a:cs typeface="Inter Medium"/>
                <a:sym typeface="Inter Medium"/>
              </a:defRPr>
            </a:lvl2pPr>
            <a:lvl3pPr marL="1828754" lvl="2" indent="-406390" rtl="0">
              <a:lnSpc>
                <a:spcPct val="90000"/>
              </a:lnSpc>
              <a:spcBef>
                <a:spcPts val="0"/>
              </a:spcBef>
              <a:spcAft>
                <a:spcPts val="0"/>
              </a:spcAft>
              <a:buClr>
                <a:schemeClr val="dk2"/>
              </a:buClr>
              <a:buSzPts val="1200"/>
              <a:buFont typeface="Inter Medium"/>
              <a:buAutoNum type="romanLcPeriod"/>
              <a:defRPr sz="1600">
                <a:solidFill>
                  <a:schemeClr val="dk2"/>
                </a:solidFill>
                <a:latin typeface="Inter Medium"/>
                <a:ea typeface="Inter Medium"/>
                <a:cs typeface="Inter Medium"/>
                <a:sym typeface="Inter Medium"/>
              </a:defRPr>
            </a:lvl3pPr>
            <a:lvl4pPr marL="2438339" lvl="3" indent="-406390" rtl="0">
              <a:lnSpc>
                <a:spcPct val="90000"/>
              </a:lnSpc>
              <a:spcBef>
                <a:spcPts val="0"/>
              </a:spcBef>
              <a:spcAft>
                <a:spcPts val="0"/>
              </a:spcAft>
              <a:buClr>
                <a:schemeClr val="dk2"/>
              </a:buClr>
              <a:buSzPts val="1200"/>
              <a:buFont typeface="Inter Medium"/>
              <a:buAutoNum type="arabicPeriod"/>
              <a:defRPr sz="1600">
                <a:solidFill>
                  <a:schemeClr val="dk2"/>
                </a:solidFill>
                <a:latin typeface="Inter Medium"/>
                <a:ea typeface="Inter Medium"/>
                <a:cs typeface="Inter Medium"/>
                <a:sym typeface="Inter Medium"/>
              </a:defRPr>
            </a:lvl4pPr>
            <a:lvl5pPr marL="3047924" lvl="4" indent="-406390" rtl="0">
              <a:lnSpc>
                <a:spcPct val="90000"/>
              </a:lnSpc>
              <a:spcBef>
                <a:spcPts val="0"/>
              </a:spcBef>
              <a:spcAft>
                <a:spcPts val="0"/>
              </a:spcAft>
              <a:buClr>
                <a:schemeClr val="dk2"/>
              </a:buClr>
              <a:buSzPts val="1200"/>
              <a:buFont typeface="Inter Medium"/>
              <a:buAutoNum type="alphaLcPeriod"/>
              <a:defRPr sz="1600">
                <a:solidFill>
                  <a:schemeClr val="dk2"/>
                </a:solidFill>
                <a:latin typeface="Inter Medium"/>
                <a:ea typeface="Inter Medium"/>
                <a:cs typeface="Inter Medium"/>
                <a:sym typeface="Inter Medium"/>
              </a:defRPr>
            </a:lvl5pPr>
            <a:lvl6pPr marL="3657509" lvl="5" indent="-406390" rtl="0">
              <a:lnSpc>
                <a:spcPct val="90000"/>
              </a:lnSpc>
              <a:spcBef>
                <a:spcPts val="0"/>
              </a:spcBef>
              <a:spcAft>
                <a:spcPts val="0"/>
              </a:spcAft>
              <a:buClr>
                <a:schemeClr val="dk2"/>
              </a:buClr>
              <a:buSzPts val="1200"/>
              <a:buFont typeface="Inter Medium"/>
              <a:buAutoNum type="romanLcPeriod"/>
              <a:defRPr sz="1600">
                <a:solidFill>
                  <a:schemeClr val="dk2"/>
                </a:solidFill>
                <a:latin typeface="Inter Medium"/>
                <a:ea typeface="Inter Medium"/>
                <a:cs typeface="Inter Medium"/>
                <a:sym typeface="Inter Medium"/>
              </a:defRPr>
            </a:lvl6pPr>
            <a:lvl7pPr marL="4267093" lvl="6" indent="-406390" rtl="0">
              <a:lnSpc>
                <a:spcPct val="90000"/>
              </a:lnSpc>
              <a:spcBef>
                <a:spcPts val="0"/>
              </a:spcBef>
              <a:spcAft>
                <a:spcPts val="0"/>
              </a:spcAft>
              <a:buClr>
                <a:schemeClr val="dk2"/>
              </a:buClr>
              <a:buSzPts val="1200"/>
              <a:buFont typeface="Inter Medium"/>
              <a:buAutoNum type="arabicPeriod"/>
              <a:defRPr sz="1600">
                <a:solidFill>
                  <a:schemeClr val="dk2"/>
                </a:solidFill>
                <a:latin typeface="Inter Medium"/>
                <a:ea typeface="Inter Medium"/>
                <a:cs typeface="Inter Medium"/>
                <a:sym typeface="Inter Medium"/>
              </a:defRPr>
            </a:lvl7pPr>
            <a:lvl8pPr marL="4876678" lvl="7" indent="-406390" rtl="0">
              <a:lnSpc>
                <a:spcPct val="90000"/>
              </a:lnSpc>
              <a:spcBef>
                <a:spcPts val="0"/>
              </a:spcBef>
              <a:spcAft>
                <a:spcPts val="0"/>
              </a:spcAft>
              <a:buClr>
                <a:schemeClr val="dk2"/>
              </a:buClr>
              <a:buSzPts val="1200"/>
              <a:buFont typeface="Inter Medium"/>
              <a:buAutoNum type="alphaLcPeriod"/>
              <a:defRPr sz="1600">
                <a:solidFill>
                  <a:schemeClr val="dk2"/>
                </a:solidFill>
                <a:latin typeface="Inter Medium"/>
                <a:ea typeface="Inter Medium"/>
                <a:cs typeface="Inter Medium"/>
                <a:sym typeface="Inter Medium"/>
              </a:defRPr>
            </a:lvl8pPr>
            <a:lvl9pPr marL="5486263" lvl="8" indent="-406390" rtl="0">
              <a:lnSpc>
                <a:spcPct val="90000"/>
              </a:lnSpc>
              <a:spcBef>
                <a:spcPts val="0"/>
              </a:spcBef>
              <a:spcAft>
                <a:spcPts val="0"/>
              </a:spcAft>
              <a:buClr>
                <a:schemeClr val="dk2"/>
              </a:buClr>
              <a:buSzPts val="1200"/>
              <a:buFont typeface="Inter Medium"/>
              <a:buAutoNum type="romanLcPeriod"/>
              <a:defRPr sz="1600">
                <a:solidFill>
                  <a:schemeClr val="dk2"/>
                </a:solidFill>
                <a:latin typeface="Inter Medium"/>
                <a:ea typeface="Inter Medium"/>
                <a:cs typeface="Inter Medium"/>
                <a:sym typeface="Inter Medium"/>
              </a:defRPr>
            </a:lvl9pPr>
          </a:lstStyle>
          <a:p>
            <a:endParaRPr/>
          </a:p>
        </p:txBody>
      </p:sp>
      <p:sp>
        <p:nvSpPr>
          <p:cNvPr id="1571" name="Google Shape;1571;p32"/>
          <p:cNvSpPr>
            <a:spLocks noGrp="1"/>
          </p:cNvSpPr>
          <p:nvPr>
            <p:ph type="body" idx="7"/>
          </p:nvPr>
        </p:nvSpPr>
        <p:spPr>
          <a:xfrm>
            <a:off x="6150209" y="2970851"/>
            <a:ext cx="2726000" cy="1527600"/>
          </a:xfrm>
          <a:prstGeom prst="roundRect">
            <a:avLst>
              <a:gd name="adj" fmla="val 8792"/>
            </a:avLst>
          </a:prstGeom>
          <a:solidFill>
            <a:schemeClr val="accent1"/>
          </a:solidFill>
          <a:ln>
            <a:noFill/>
          </a:ln>
        </p:spPr>
        <p:txBody>
          <a:bodyPr spcFirstLastPara="1" wrap="square" lIns="108000" tIns="108000" rIns="108000" bIns="34275" anchor="t" anchorCtr="0">
            <a:normAutofit/>
          </a:bodyPr>
          <a:lstStyle>
            <a:lvl1pPr marL="609585" lvl="0" indent="-406390" rtl="0">
              <a:lnSpc>
                <a:spcPct val="90000"/>
              </a:lnSpc>
              <a:spcBef>
                <a:spcPts val="0"/>
              </a:spcBef>
              <a:spcAft>
                <a:spcPts val="0"/>
              </a:spcAft>
              <a:buClr>
                <a:schemeClr val="dk2"/>
              </a:buClr>
              <a:buSzPts val="1200"/>
              <a:buFont typeface="Inter Medium"/>
              <a:buAutoNum type="alphaUcPeriod"/>
              <a:defRPr sz="1600">
                <a:solidFill>
                  <a:schemeClr val="dk2"/>
                </a:solidFill>
                <a:latin typeface="Inter Medium"/>
                <a:ea typeface="Inter Medium"/>
                <a:cs typeface="Inter Medium"/>
                <a:sym typeface="Inter Medium"/>
              </a:defRPr>
            </a:lvl1pPr>
            <a:lvl2pPr marL="1219170" lvl="1" indent="-406390" rtl="0">
              <a:lnSpc>
                <a:spcPct val="90000"/>
              </a:lnSpc>
              <a:spcBef>
                <a:spcPts val="0"/>
              </a:spcBef>
              <a:spcAft>
                <a:spcPts val="0"/>
              </a:spcAft>
              <a:buClr>
                <a:schemeClr val="dk2"/>
              </a:buClr>
              <a:buSzPts val="1200"/>
              <a:buFont typeface="Inter Medium"/>
              <a:buAutoNum type="alphaLcPeriod"/>
              <a:defRPr sz="1600">
                <a:solidFill>
                  <a:schemeClr val="dk2"/>
                </a:solidFill>
                <a:latin typeface="Inter Medium"/>
                <a:ea typeface="Inter Medium"/>
                <a:cs typeface="Inter Medium"/>
                <a:sym typeface="Inter Medium"/>
              </a:defRPr>
            </a:lvl2pPr>
            <a:lvl3pPr marL="1828754" lvl="2" indent="-406390" rtl="0">
              <a:lnSpc>
                <a:spcPct val="90000"/>
              </a:lnSpc>
              <a:spcBef>
                <a:spcPts val="0"/>
              </a:spcBef>
              <a:spcAft>
                <a:spcPts val="0"/>
              </a:spcAft>
              <a:buClr>
                <a:schemeClr val="dk2"/>
              </a:buClr>
              <a:buSzPts val="1200"/>
              <a:buFont typeface="Inter Medium"/>
              <a:buAutoNum type="romanLcPeriod"/>
              <a:defRPr sz="1600">
                <a:solidFill>
                  <a:schemeClr val="dk2"/>
                </a:solidFill>
                <a:latin typeface="Inter Medium"/>
                <a:ea typeface="Inter Medium"/>
                <a:cs typeface="Inter Medium"/>
                <a:sym typeface="Inter Medium"/>
              </a:defRPr>
            </a:lvl3pPr>
            <a:lvl4pPr marL="2438339" lvl="3" indent="-406390" rtl="0">
              <a:lnSpc>
                <a:spcPct val="90000"/>
              </a:lnSpc>
              <a:spcBef>
                <a:spcPts val="0"/>
              </a:spcBef>
              <a:spcAft>
                <a:spcPts val="0"/>
              </a:spcAft>
              <a:buClr>
                <a:schemeClr val="dk2"/>
              </a:buClr>
              <a:buSzPts val="1200"/>
              <a:buFont typeface="Inter Medium"/>
              <a:buAutoNum type="arabicPeriod"/>
              <a:defRPr sz="1600">
                <a:solidFill>
                  <a:schemeClr val="dk2"/>
                </a:solidFill>
                <a:latin typeface="Inter Medium"/>
                <a:ea typeface="Inter Medium"/>
                <a:cs typeface="Inter Medium"/>
                <a:sym typeface="Inter Medium"/>
              </a:defRPr>
            </a:lvl4pPr>
            <a:lvl5pPr marL="3047924" lvl="4" indent="-406390" rtl="0">
              <a:lnSpc>
                <a:spcPct val="90000"/>
              </a:lnSpc>
              <a:spcBef>
                <a:spcPts val="0"/>
              </a:spcBef>
              <a:spcAft>
                <a:spcPts val="0"/>
              </a:spcAft>
              <a:buClr>
                <a:schemeClr val="dk2"/>
              </a:buClr>
              <a:buSzPts val="1200"/>
              <a:buFont typeface="Inter Medium"/>
              <a:buAutoNum type="alphaLcPeriod"/>
              <a:defRPr sz="1600">
                <a:solidFill>
                  <a:schemeClr val="dk2"/>
                </a:solidFill>
                <a:latin typeface="Inter Medium"/>
                <a:ea typeface="Inter Medium"/>
                <a:cs typeface="Inter Medium"/>
                <a:sym typeface="Inter Medium"/>
              </a:defRPr>
            </a:lvl5pPr>
            <a:lvl6pPr marL="3657509" lvl="5" indent="-406390" rtl="0">
              <a:lnSpc>
                <a:spcPct val="90000"/>
              </a:lnSpc>
              <a:spcBef>
                <a:spcPts val="0"/>
              </a:spcBef>
              <a:spcAft>
                <a:spcPts val="0"/>
              </a:spcAft>
              <a:buClr>
                <a:schemeClr val="dk2"/>
              </a:buClr>
              <a:buSzPts val="1200"/>
              <a:buFont typeface="Inter Medium"/>
              <a:buAutoNum type="romanLcPeriod"/>
              <a:defRPr sz="1600">
                <a:solidFill>
                  <a:schemeClr val="dk2"/>
                </a:solidFill>
                <a:latin typeface="Inter Medium"/>
                <a:ea typeface="Inter Medium"/>
                <a:cs typeface="Inter Medium"/>
                <a:sym typeface="Inter Medium"/>
              </a:defRPr>
            </a:lvl6pPr>
            <a:lvl7pPr marL="4267093" lvl="6" indent="-406390" rtl="0">
              <a:lnSpc>
                <a:spcPct val="90000"/>
              </a:lnSpc>
              <a:spcBef>
                <a:spcPts val="0"/>
              </a:spcBef>
              <a:spcAft>
                <a:spcPts val="0"/>
              </a:spcAft>
              <a:buClr>
                <a:schemeClr val="dk2"/>
              </a:buClr>
              <a:buSzPts val="1200"/>
              <a:buFont typeface="Inter Medium"/>
              <a:buAutoNum type="arabicPeriod"/>
              <a:defRPr sz="1600">
                <a:solidFill>
                  <a:schemeClr val="dk2"/>
                </a:solidFill>
                <a:latin typeface="Inter Medium"/>
                <a:ea typeface="Inter Medium"/>
                <a:cs typeface="Inter Medium"/>
                <a:sym typeface="Inter Medium"/>
              </a:defRPr>
            </a:lvl7pPr>
            <a:lvl8pPr marL="4876678" lvl="7" indent="-406390" rtl="0">
              <a:lnSpc>
                <a:spcPct val="90000"/>
              </a:lnSpc>
              <a:spcBef>
                <a:spcPts val="0"/>
              </a:spcBef>
              <a:spcAft>
                <a:spcPts val="0"/>
              </a:spcAft>
              <a:buClr>
                <a:schemeClr val="dk2"/>
              </a:buClr>
              <a:buSzPts val="1200"/>
              <a:buFont typeface="Inter Medium"/>
              <a:buAutoNum type="alphaLcPeriod"/>
              <a:defRPr sz="1600">
                <a:solidFill>
                  <a:schemeClr val="dk2"/>
                </a:solidFill>
                <a:latin typeface="Inter Medium"/>
                <a:ea typeface="Inter Medium"/>
                <a:cs typeface="Inter Medium"/>
                <a:sym typeface="Inter Medium"/>
              </a:defRPr>
            </a:lvl8pPr>
            <a:lvl9pPr marL="5486263" lvl="8" indent="-406390" rtl="0">
              <a:lnSpc>
                <a:spcPct val="90000"/>
              </a:lnSpc>
              <a:spcBef>
                <a:spcPts val="0"/>
              </a:spcBef>
              <a:spcAft>
                <a:spcPts val="0"/>
              </a:spcAft>
              <a:buClr>
                <a:schemeClr val="dk2"/>
              </a:buClr>
              <a:buSzPts val="1200"/>
              <a:buFont typeface="Inter Medium"/>
              <a:buAutoNum type="romanLcPeriod"/>
              <a:defRPr sz="1600">
                <a:solidFill>
                  <a:schemeClr val="dk2"/>
                </a:solidFill>
                <a:latin typeface="Inter Medium"/>
                <a:ea typeface="Inter Medium"/>
                <a:cs typeface="Inter Medium"/>
                <a:sym typeface="Inter Medium"/>
              </a:defRPr>
            </a:lvl9pPr>
          </a:lstStyle>
          <a:p>
            <a:endParaRPr/>
          </a:p>
        </p:txBody>
      </p:sp>
      <p:sp>
        <p:nvSpPr>
          <p:cNvPr id="1572" name="Google Shape;1572;p32"/>
          <p:cNvSpPr>
            <a:spLocks noGrp="1"/>
          </p:cNvSpPr>
          <p:nvPr>
            <p:ph type="body" idx="8"/>
          </p:nvPr>
        </p:nvSpPr>
        <p:spPr>
          <a:xfrm>
            <a:off x="8984513" y="2970851"/>
            <a:ext cx="2726000" cy="1527600"/>
          </a:xfrm>
          <a:prstGeom prst="roundRect">
            <a:avLst>
              <a:gd name="adj" fmla="val 8792"/>
            </a:avLst>
          </a:prstGeom>
          <a:solidFill>
            <a:schemeClr val="accent1"/>
          </a:solidFill>
          <a:ln>
            <a:noFill/>
          </a:ln>
        </p:spPr>
        <p:txBody>
          <a:bodyPr spcFirstLastPara="1" wrap="square" lIns="108000" tIns="108000" rIns="108000" bIns="34275" anchor="t" anchorCtr="0">
            <a:normAutofit/>
          </a:bodyPr>
          <a:lstStyle>
            <a:lvl1pPr marL="609585" lvl="0" indent="-406390" rtl="0">
              <a:lnSpc>
                <a:spcPct val="90000"/>
              </a:lnSpc>
              <a:spcBef>
                <a:spcPts val="0"/>
              </a:spcBef>
              <a:spcAft>
                <a:spcPts val="0"/>
              </a:spcAft>
              <a:buClr>
                <a:schemeClr val="dk2"/>
              </a:buClr>
              <a:buSzPts val="1200"/>
              <a:buFont typeface="Inter Medium"/>
              <a:buAutoNum type="alphaUcPeriod"/>
              <a:defRPr sz="1600">
                <a:solidFill>
                  <a:schemeClr val="dk2"/>
                </a:solidFill>
                <a:latin typeface="Inter Medium"/>
                <a:ea typeface="Inter Medium"/>
                <a:cs typeface="Inter Medium"/>
                <a:sym typeface="Inter Medium"/>
              </a:defRPr>
            </a:lvl1pPr>
            <a:lvl2pPr marL="1219170" lvl="1" indent="-406390" rtl="0">
              <a:lnSpc>
                <a:spcPct val="90000"/>
              </a:lnSpc>
              <a:spcBef>
                <a:spcPts val="0"/>
              </a:spcBef>
              <a:spcAft>
                <a:spcPts val="0"/>
              </a:spcAft>
              <a:buClr>
                <a:schemeClr val="dk2"/>
              </a:buClr>
              <a:buSzPts val="1200"/>
              <a:buFont typeface="Inter Medium"/>
              <a:buAutoNum type="alphaLcPeriod"/>
              <a:defRPr sz="1600">
                <a:solidFill>
                  <a:schemeClr val="dk2"/>
                </a:solidFill>
                <a:latin typeface="Inter Medium"/>
                <a:ea typeface="Inter Medium"/>
                <a:cs typeface="Inter Medium"/>
                <a:sym typeface="Inter Medium"/>
              </a:defRPr>
            </a:lvl2pPr>
            <a:lvl3pPr marL="1828754" lvl="2" indent="-406390" rtl="0">
              <a:lnSpc>
                <a:spcPct val="90000"/>
              </a:lnSpc>
              <a:spcBef>
                <a:spcPts val="0"/>
              </a:spcBef>
              <a:spcAft>
                <a:spcPts val="0"/>
              </a:spcAft>
              <a:buClr>
                <a:schemeClr val="dk2"/>
              </a:buClr>
              <a:buSzPts val="1200"/>
              <a:buFont typeface="Inter Medium"/>
              <a:buAutoNum type="romanLcPeriod"/>
              <a:defRPr sz="1600">
                <a:solidFill>
                  <a:schemeClr val="dk2"/>
                </a:solidFill>
                <a:latin typeface="Inter Medium"/>
                <a:ea typeface="Inter Medium"/>
                <a:cs typeface="Inter Medium"/>
                <a:sym typeface="Inter Medium"/>
              </a:defRPr>
            </a:lvl3pPr>
            <a:lvl4pPr marL="2438339" lvl="3" indent="-406390" rtl="0">
              <a:lnSpc>
                <a:spcPct val="90000"/>
              </a:lnSpc>
              <a:spcBef>
                <a:spcPts val="0"/>
              </a:spcBef>
              <a:spcAft>
                <a:spcPts val="0"/>
              </a:spcAft>
              <a:buClr>
                <a:schemeClr val="dk2"/>
              </a:buClr>
              <a:buSzPts val="1200"/>
              <a:buFont typeface="Inter Medium"/>
              <a:buAutoNum type="arabicPeriod"/>
              <a:defRPr sz="1600">
                <a:solidFill>
                  <a:schemeClr val="dk2"/>
                </a:solidFill>
                <a:latin typeface="Inter Medium"/>
                <a:ea typeface="Inter Medium"/>
                <a:cs typeface="Inter Medium"/>
                <a:sym typeface="Inter Medium"/>
              </a:defRPr>
            </a:lvl4pPr>
            <a:lvl5pPr marL="3047924" lvl="4" indent="-406390" rtl="0">
              <a:lnSpc>
                <a:spcPct val="90000"/>
              </a:lnSpc>
              <a:spcBef>
                <a:spcPts val="0"/>
              </a:spcBef>
              <a:spcAft>
                <a:spcPts val="0"/>
              </a:spcAft>
              <a:buClr>
                <a:schemeClr val="dk2"/>
              </a:buClr>
              <a:buSzPts val="1200"/>
              <a:buFont typeface="Inter Medium"/>
              <a:buAutoNum type="alphaLcPeriod"/>
              <a:defRPr sz="1600">
                <a:solidFill>
                  <a:schemeClr val="dk2"/>
                </a:solidFill>
                <a:latin typeface="Inter Medium"/>
                <a:ea typeface="Inter Medium"/>
                <a:cs typeface="Inter Medium"/>
                <a:sym typeface="Inter Medium"/>
              </a:defRPr>
            </a:lvl5pPr>
            <a:lvl6pPr marL="3657509" lvl="5" indent="-406390" rtl="0">
              <a:lnSpc>
                <a:spcPct val="90000"/>
              </a:lnSpc>
              <a:spcBef>
                <a:spcPts val="0"/>
              </a:spcBef>
              <a:spcAft>
                <a:spcPts val="0"/>
              </a:spcAft>
              <a:buClr>
                <a:schemeClr val="dk2"/>
              </a:buClr>
              <a:buSzPts val="1200"/>
              <a:buFont typeface="Inter Medium"/>
              <a:buAutoNum type="romanLcPeriod"/>
              <a:defRPr sz="1600">
                <a:solidFill>
                  <a:schemeClr val="dk2"/>
                </a:solidFill>
                <a:latin typeface="Inter Medium"/>
                <a:ea typeface="Inter Medium"/>
                <a:cs typeface="Inter Medium"/>
                <a:sym typeface="Inter Medium"/>
              </a:defRPr>
            </a:lvl6pPr>
            <a:lvl7pPr marL="4267093" lvl="6" indent="-406390" rtl="0">
              <a:lnSpc>
                <a:spcPct val="90000"/>
              </a:lnSpc>
              <a:spcBef>
                <a:spcPts val="0"/>
              </a:spcBef>
              <a:spcAft>
                <a:spcPts val="0"/>
              </a:spcAft>
              <a:buClr>
                <a:schemeClr val="dk2"/>
              </a:buClr>
              <a:buSzPts val="1200"/>
              <a:buFont typeface="Inter Medium"/>
              <a:buAutoNum type="arabicPeriod"/>
              <a:defRPr sz="1600">
                <a:solidFill>
                  <a:schemeClr val="dk2"/>
                </a:solidFill>
                <a:latin typeface="Inter Medium"/>
                <a:ea typeface="Inter Medium"/>
                <a:cs typeface="Inter Medium"/>
                <a:sym typeface="Inter Medium"/>
              </a:defRPr>
            </a:lvl7pPr>
            <a:lvl8pPr marL="4876678" lvl="7" indent="-406390" rtl="0">
              <a:lnSpc>
                <a:spcPct val="90000"/>
              </a:lnSpc>
              <a:spcBef>
                <a:spcPts val="0"/>
              </a:spcBef>
              <a:spcAft>
                <a:spcPts val="0"/>
              </a:spcAft>
              <a:buClr>
                <a:schemeClr val="dk2"/>
              </a:buClr>
              <a:buSzPts val="1200"/>
              <a:buFont typeface="Inter Medium"/>
              <a:buAutoNum type="alphaLcPeriod"/>
              <a:defRPr sz="1600">
                <a:solidFill>
                  <a:schemeClr val="dk2"/>
                </a:solidFill>
                <a:latin typeface="Inter Medium"/>
                <a:ea typeface="Inter Medium"/>
                <a:cs typeface="Inter Medium"/>
                <a:sym typeface="Inter Medium"/>
              </a:defRPr>
            </a:lvl8pPr>
            <a:lvl9pPr marL="5486263" lvl="8" indent="-406390" rtl="0">
              <a:lnSpc>
                <a:spcPct val="90000"/>
              </a:lnSpc>
              <a:spcBef>
                <a:spcPts val="0"/>
              </a:spcBef>
              <a:spcAft>
                <a:spcPts val="0"/>
              </a:spcAft>
              <a:buClr>
                <a:schemeClr val="dk2"/>
              </a:buClr>
              <a:buSzPts val="1200"/>
              <a:buFont typeface="Inter Medium"/>
              <a:buAutoNum type="romanLcPeriod"/>
              <a:defRPr sz="1600">
                <a:solidFill>
                  <a:schemeClr val="dk2"/>
                </a:solidFill>
                <a:latin typeface="Inter Medium"/>
                <a:ea typeface="Inter Medium"/>
                <a:cs typeface="Inter Medium"/>
                <a:sym typeface="Inter Medium"/>
              </a:defRPr>
            </a:lvl9pPr>
          </a:lstStyle>
          <a:p>
            <a:endParaRPr/>
          </a:p>
        </p:txBody>
      </p:sp>
      <p:sp>
        <p:nvSpPr>
          <p:cNvPr id="1573" name="Google Shape;1573;p32"/>
          <p:cNvSpPr txBox="1">
            <a:spLocks noGrp="1"/>
          </p:cNvSpPr>
          <p:nvPr>
            <p:ph type="title"/>
          </p:nvPr>
        </p:nvSpPr>
        <p:spPr>
          <a:xfrm>
            <a:off x="951700" y="359999"/>
            <a:ext cx="10515600" cy="524800"/>
          </a:xfrm>
          <a:prstGeom prst="rect">
            <a:avLst/>
          </a:prstGeom>
          <a:noFill/>
          <a:ln>
            <a:noFill/>
          </a:ln>
        </p:spPr>
        <p:txBody>
          <a:bodyPr spcFirstLastPara="1" wrap="square" lIns="0" tIns="0" rIns="68575" bIns="34275" anchor="t" anchorCtr="0">
            <a:noAutofit/>
          </a:bodyPr>
          <a:lstStyle>
            <a:lvl1pPr lvl="0" algn="l" rtl="0">
              <a:lnSpc>
                <a:spcPct val="90000"/>
              </a:lnSpc>
              <a:spcBef>
                <a:spcPts val="0"/>
              </a:spcBef>
              <a:spcAft>
                <a:spcPts val="0"/>
              </a:spcAft>
              <a:buClr>
                <a:schemeClr val="dk1"/>
              </a:buClr>
              <a:buSzPts val="2400"/>
              <a:buFont typeface="Inter Medium"/>
              <a:buNone/>
              <a:defRPr sz="3200">
                <a:latin typeface="Inter Medium"/>
                <a:ea typeface="Inter Medium"/>
                <a:cs typeface="Inter Medium"/>
                <a:sym typeface="Inter Medium"/>
              </a:defRPr>
            </a:lvl1pPr>
            <a:lvl2pPr lvl="1" rtl="0">
              <a:spcBef>
                <a:spcPts val="0"/>
              </a:spcBef>
              <a:spcAft>
                <a:spcPts val="0"/>
              </a:spcAft>
              <a:buSzPts val="1100"/>
              <a:buNone/>
              <a:defRPr b="1"/>
            </a:lvl2pPr>
            <a:lvl3pPr lvl="2" rtl="0">
              <a:spcBef>
                <a:spcPts val="0"/>
              </a:spcBef>
              <a:spcAft>
                <a:spcPts val="0"/>
              </a:spcAft>
              <a:buSzPts val="1100"/>
              <a:buNone/>
              <a:defRPr b="1"/>
            </a:lvl3pPr>
            <a:lvl4pPr lvl="3" rtl="0">
              <a:spcBef>
                <a:spcPts val="0"/>
              </a:spcBef>
              <a:spcAft>
                <a:spcPts val="0"/>
              </a:spcAft>
              <a:buSzPts val="1100"/>
              <a:buNone/>
              <a:defRPr b="1"/>
            </a:lvl4pPr>
            <a:lvl5pPr lvl="4" rtl="0">
              <a:spcBef>
                <a:spcPts val="0"/>
              </a:spcBef>
              <a:spcAft>
                <a:spcPts val="0"/>
              </a:spcAft>
              <a:buSzPts val="1100"/>
              <a:buNone/>
              <a:defRPr b="1"/>
            </a:lvl5pPr>
            <a:lvl6pPr lvl="5" rtl="0">
              <a:spcBef>
                <a:spcPts val="0"/>
              </a:spcBef>
              <a:spcAft>
                <a:spcPts val="0"/>
              </a:spcAft>
              <a:buSzPts val="1100"/>
              <a:buNone/>
              <a:defRPr b="1"/>
            </a:lvl6pPr>
            <a:lvl7pPr lvl="6" rtl="0">
              <a:spcBef>
                <a:spcPts val="0"/>
              </a:spcBef>
              <a:spcAft>
                <a:spcPts val="0"/>
              </a:spcAft>
              <a:buSzPts val="1100"/>
              <a:buNone/>
              <a:defRPr b="1"/>
            </a:lvl7pPr>
            <a:lvl8pPr lvl="7" rtl="0">
              <a:spcBef>
                <a:spcPts val="0"/>
              </a:spcBef>
              <a:spcAft>
                <a:spcPts val="0"/>
              </a:spcAft>
              <a:buSzPts val="1100"/>
              <a:buNone/>
              <a:defRPr b="1"/>
            </a:lvl8pPr>
            <a:lvl9pPr lvl="8" rtl="0">
              <a:spcBef>
                <a:spcPts val="0"/>
              </a:spcBef>
              <a:spcAft>
                <a:spcPts val="0"/>
              </a:spcAft>
              <a:buSzPts val="1100"/>
              <a:buNone/>
              <a:defRPr b="1"/>
            </a:lvl9pPr>
          </a:lstStyle>
          <a:p>
            <a:endParaRPr/>
          </a:p>
        </p:txBody>
      </p:sp>
      <p:sp>
        <p:nvSpPr>
          <p:cNvPr id="1574" name="Google Shape;1574;p32"/>
          <p:cNvSpPr>
            <a:spLocks noGrp="1"/>
          </p:cNvSpPr>
          <p:nvPr>
            <p:ph type="body" idx="9"/>
          </p:nvPr>
        </p:nvSpPr>
        <p:spPr>
          <a:xfrm>
            <a:off x="481600" y="4606501"/>
            <a:ext cx="2726000" cy="1527600"/>
          </a:xfrm>
          <a:prstGeom prst="roundRect">
            <a:avLst>
              <a:gd name="adj" fmla="val 8792"/>
            </a:avLst>
          </a:prstGeom>
          <a:solidFill>
            <a:schemeClr val="accent1"/>
          </a:solidFill>
          <a:ln>
            <a:noFill/>
          </a:ln>
        </p:spPr>
        <p:txBody>
          <a:bodyPr spcFirstLastPara="1" wrap="square" lIns="108000" tIns="108000" rIns="108000" bIns="34275" anchor="t" anchorCtr="0">
            <a:normAutofit/>
          </a:bodyPr>
          <a:lstStyle>
            <a:lvl1pPr marL="609585" lvl="0" indent="-406390" rtl="0">
              <a:lnSpc>
                <a:spcPct val="90000"/>
              </a:lnSpc>
              <a:spcBef>
                <a:spcPts val="0"/>
              </a:spcBef>
              <a:spcAft>
                <a:spcPts val="0"/>
              </a:spcAft>
              <a:buClr>
                <a:schemeClr val="dk2"/>
              </a:buClr>
              <a:buSzPts val="1200"/>
              <a:buFont typeface="Inter Medium"/>
              <a:buAutoNum type="alphaUcPeriod"/>
              <a:defRPr sz="1600">
                <a:solidFill>
                  <a:schemeClr val="dk2"/>
                </a:solidFill>
                <a:latin typeface="Inter Medium"/>
                <a:ea typeface="Inter Medium"/>
                <a:cs typeface="Inter Medium"/>
                <a:sym typeface="Inter Medium"/>
              </a:defRPr>
            </a:lvl1pPr>
            <a:lvl2pPr marL="1219170" lvl="1" indent="-406390" rtl="0">
              <a:lnSpc>
                <a:spcPct val="90000"/>
              </a:lnSpc>
              <a:spcBef>
                <a:spcPts val="0"/>
              </a:spcBef>
              <a:spcAft>
                <a:spcPts val="0"/>
              </a:spcAft>
              <a:buClr>
                <a:schemeClr val="dk2"/>
              </a:buClr>
              <a:buSzPts val="1200"/>
              <a:buFont typeface="Inter Medium"/>
              <a:buAutoNum type="alphaLcPeriod"/>
              <a:defRPr sz="1600">
                <a:solidFill>
                  <a:schemeClr val="dk2"/>
                </a:solidFill>
                <a:latin typeface="Inter Medium"/>
                <a:ea typeface="Inter Medium"/>
                <a:cs typeface="Inter Medium"/>
                <a:sym typeface="Inter Medium"/>
              </a:defRPr>
            </a:lvl2pPr>
            <a:lvl3pPr marL="1828754" lvl="2" indent="-406390" rtl="0">
              <a:lnSpc>
                <a:spcPct val="90000"/>
              </a:lnSpc>
              <a:spcBef>
                <a:spcPts val="0"/>
              </a:spcBef>
              <a:spcAft>
                <a:spcPts val="0"/>
              </a:spcAft>
              <a:buClr>
                <a:schemeClr val="dk2"/>
              </a:buClr>
              <a:buSzPts val="1200"/>
              <a:buFont typeface="Inter Medium"/>
              <a:buAutoNum type="romanLcPeriod"/>
              <a:defRPr sz="1600">
                <a:solidFill>
                  <a:schemeClr val="dk2"/>
                </a:solidFill>
                <a:latin typeface="Inter Medium"/>
                <a:ea typeface="Inter Medium"/>
                <a:cs typeface="Inter Medium"/>
                <a:sym typeface="Inter Medium"/>
              </a:defRPr>
            </a:lvl3pPr>
            <a:lvl4pPr marL="2438339" lvl="3" indent="-406390" rtl="0">
              <a:lnSpc>
                <a:spcPct val="90000"/>
              </a:lnSpc>
              <a:spcBef>
                <a:spcPts val="0"/>
              </a:spcBef>
              <a:spcAft>
                <a:spcPts val="0"/>
              </a:spcAft>
              <a:buClr>
                <a:schemeClr val="dk2"/>
              </a:buClr>
              <a:buSzPts val="1200"/>
              <a:buFont typeface="Inter Medium"/>
              <a:buAutoNum type="arabicPeriod"/>
              <a:defRPr sz="1600">
                <a:solidFill>
                  <a:schemeClr val="dk2"/>
                </a:solidFill>
                <a:latin typeface="Inter Medium"/>
                <a:ea typeface="Inter Medium"/>
                <a:cs typeface="Inter Medium"/>
                <a:sym typeface="Inter Medium"/>
              </a:defRPr>
            </a:lvl4pPr>
            <a:lvl5pPr marL="3047924" lvl="4" indent="-406390" rtl="0">
              <a:lnSpc>
                <a:spcPct val="90000"/>
              </a:lnSpc>
              <a:spcBef>
                <a:spcPts val="0"/>
              </a:spcBef>
              <a:spcAft>
                <a:spcPts val="0"/>
              </a:spcAft>
              <a:buClr>
                <a:schemeClr val="dk2"/>
              </a:buClr>
              <a:buSzPts val="1200"/>
              <a:buFont typeface="Inter Medium"/>
              <a:buAutoNum type="alphaLcPeriod"/>
              <a:defRPr sz="1600">
                <a:solidFill>
                  <a:schemeClr val="dk2"/>
                </a:solidFill>
                <a:latin typeface="Inter Medium"/>
                <a:ea typeface="Inter Medium"/>
                <a:cs typeface="Inter Medium"/>
                <a:sym typeface="Inter Medium"/>
              </a:defRPr>
            </a:lvl5pPr>
            <a:lvl6pPr marL="3657509" lvl="5" indent="-406390" rtl="0">
              <a:lnSpc>
                <a:spcPct val="90000"/>
              </a:lnSpc>
              <a:spcBef>
                <a:spcPts val="0"/>
              </a:spcBef>
              <a:spcAft>
                <a:spcPts val="0"/>
              </a:spcAft>
              <a:buClr>
                <a:schemeClr val="dk2"/>
              </a:buClr>
              <a:buSzPts val="1200"/>
              <a:buFont typeface="Inter Medium"/>
              <a:buAutoNum type="romanLcPeriod"/>
              <a:defRPr sz="1600">
                <a:solidFill>
                  <a:schemeClr val="dk2"/>
                </a:solidFill>
                <a:latin typeface="Inter Medium"/>
                <a:ea typeface="Inter Medium"/>
                <a:cs typeface="Inter Medium"/>
                <a:sym typeface="Inter Medium"/>
              </a:defRPr>
            </a:lvl6pPr>
            <a:lvl7pPr marL="4267093" lvl="6" indent="-406390" rtl="0">
              <a:lnSpc>
                <a:spcPct val="90000"/>
              </a:lnSpc>
              <a:spcBef>
                <a:spcPts val="0"/>
              </a:spcBef>
              <a:spcAft>
                <a:spcPts val="0"/>
              </a:spcAft>
              <a:buClr>
                <a:schemeClr val="dk2"/>
              </a:buClr>
              <a:buSzPts val="1200"/>
              <a:buFont typeface="Inter Medium"/>
              <a:buAutoNum type="arabicPeriod"/>
              <a:defRPr sz="1600">
                <a:solidFill>
                  <a:schemeClr val="dk2"/>
                </a:solidFill>
                <a:latin typeface="Inter Medium"/>
                <a:ea typeface="Inter Medium"/>
                <a:cs typeface="Inter Medium"/>
                <a:sym typeface="Inter Medium"/>
              </a:defRPr>
            </a:lvl7pPr>
            <a:lvl8pPr marL="4876678" lvl="7" indent="-406390" rtl="0">
              <a:lnSpc>
                <a:spcPct val="90000"/>
              </a:lnSpc>
              <a:spcBef>
                <a:spcPts val="0"/>
              </a:spcBef>
              <a:spcAft>
                <a:spcPts val="0"/>
              </a:spcAft>
              <a:buClr>
                <a:schemeClr val="dk2"/>
              </a:buClr>
              <a:buSzPts val="1200"/>
              <a:buFont typeface="Inter Medium"/>
              <a:buAutoNum type="alphaLcPeriod"/>
              <a:defRPr sz="1600">
                <a:solidFill>
                  <a:schemeClr val="dk2"/>
                </a:solidFill>
                <a:latin typeface="Inter Medium"/>
                <a:ea typeface="Inter Medium"/>
                <a:cs typeface="Inter Medium"/>
                <a:sym typeface="Inter Medium"/>
              </a:defRPr>
            </a:lvl8pPr>
            <a:lvl9pPr marL="5486263" lvl="8" indent="-406390" rtl="0">
              <a:lnSpc>
                <a:spcPct val="90000"/>
              </a:lnSpc>
              <a:spcBef>
                <a:spcPts val="0"/>
              </a:spcBef>
              <a:spcAft>
                <a:spcPts val="0"/>
              </a:spcAft>
              <a:buClr>
                <a:schemeClr val="dk2"/>
              </a:buClr>
              <a:buSzPts val="1200"/>
              <a:buFont typeface="Inter Medium"/>
              <a:buAutoNum type="romanLcPeriod"/>
              <a:defRPr sz="1600">
                <a:solidFill>
                  <a:schemeClr val="dk2"/>
                </a:solidFill>
                <a:latin typeface="Inter Medium"/>
                <a:ea typeface="Inter Medium"/>
                <a:cs typeface="Inter Medium"/>
                <a:sym typeface="Inter Medium"/>
              </a:defRPr>
            </a:lvl9pPr>
          </a:lstStyle>
          <a:p>
            <a:endParaRPr/>
          </a:p>
        </p:txBody>
      </p:sp>
      <p:sp>
        <p:nvSpPr>
          <p:cNvPr id="1575" name="Google Shape;1575;p32"/>
          <p:cNvSpPr>
            <a:spLocks noGrp="1"/>
          </p:cNvSpPr>
          <p:nvPr>
            <p:ph type="body" idx="13"/>
          </p:nvPr>
        </p:nvSpPr>
        <p:spPr>
          <a:xfrm>
            <a:off x="3315904" y="4606501"/>
            <a:ext cx="2726000" cy="1527600"/>
          </a:xfrm>
          <a:prstGeom prst="roundRect">
            <a:avLst>
              <a:gd name="adj" fmla="val 8792"/>
            </a:avLst>
          </a:prstGeom>
          <a:solidFill>
            <a:schemeClr val="accent1"/>
          </a:solidFill>
          <a:ln>
            <a:noFill/>
          </a:ln>
        </p:spPr>
        <p:txBody>
          <a:bodyPr spcFirstLastPara="1" wrap="square" lIns="108000" tIns="108000" rIns="108000" bIns="34275" anchor="t" anchorCtr="0">
            <a:normAutofit/>
          </a:bodyPr>
          <a:lstStyle>
            <a:lvl1pPr marL="609585" lvl="0" indent="-406390" rtl="0">
              <a:lnSpc>
                <a:spcPct val="90000"/>
              </a:lnSpc>
              <a:spcBef>
                <a:spcPts val="0"/>
              </a:spcBef>
              <a:spcAft>
                <a:spcPts val="0"/>
              </a:spcAft>
              <a:buClr>
                <a:schemeClr val="dk2"/>
              </a:buClr>
              <a:buSzPts val="1200"/>
              <a:buFont typeface="Inter Medium"/>
              <a:buAutoNum type="alphaUcPeriod"/>
              <a:defRPr sz="1600">
                <a:solidFill>
                  <a:schemeClr val="dk2"/>
                </a:solidFill>
                <a:latin typeface="Inter Medium"/>
                <a:ea typeface="Inter Medium"/>
                <a:cs typeface="Inter Medium"/>
                <a:sym typeface="Inter Medium"/>
              </a:defRPr>
            </a:lvl1pPr>
            <a:lvl2pPr marL="1219170" lvl="1" indent="-406390" rtl="0">
              <a:lnSpc>
                <a:spcPct val="90000"/>
              </a:lnSpc>
              <a:spcBef>
                <a:spcPts val="0"/>
              </a:spcBef>
              <a:spcAft>
                <a:spcPts val="0"/>
              </a:spcAft>
              <a:buClr>
                <a:schemeClr val="dk2"/>
              </a:buClr>
              <a:buSzPts val="1200"/>
              <a:buFont typeface="Inter Medium"/>
              <a:buAutoNum type="alphaLcPeriod"/>
              <a:defRPr sz="1600">
                <a:solidFill>
                  <a:schemeClr val="dk2"/>
                </a:solidFill>
                <a:latin typeface="Inter Medium"/>
                <a:ea typeface="Inter Medium"/>
                <a:cs typeface="Inter Medium"/>
                <a:sym typeface="Inter Medium"/>
              </a:defRPr>
            </a:lvl2pPr>
            <a:lvl3pPr marL="1828754" lvl="2" indent="-406390" rtl="0">
              <a:lnSpc>
                <a:spcPct val="90000"/>
              </a:lnSpc>
              <a:spcBef>
                <a:spcPts val="0"/>
              </a:spcBef>
              <a:spcAft>
                <a:spcPts val="0"/>
              </a:spcAft>
              <a:buClr>
                <a:schemeClr val="dk2"/>
              </a:buClr>
              <a:buSzPts val="1200"/>
              <a:buFont typeface="Inter Medium"/>
              <a:buAutoNum type="romanLcPeriod"/>
              <a:defRPr sz="1600">
                <a:solidFill>
                  <a:schemeClr val="dk2"/>
                </a:solidFill>
                <a:latin typeface="Inter Medium"/>
                <a:ea typeface="Inter Medium"/>
                <a:cs typeface="Inter Medium"/>
                <a:sym typeface="Inter Medium"/>
              </a:defRPr>
            </a:lvl3pPr>
            <a:lvl4pPr marL="2438339" lvl="3" indent="-406390" rtl="0">
              <a:lnSpc>
                <a:spcPct val="90000"/>
              </a:lnSpc>
              <a:spcBef>
                <a:spcPts val="0"/>
              </a:spcBef>
              <a:spcAft>
                <a:spcPts val="0"/>
              </a:spcAft>
              <a:buClr>
                <a:schemeClr val="dk2"/>
              </a:buClr>
              <a:buSzPts val="1200"/>
              <a:buFont typeface="Inter Medium"/>
              <a:buAutoNum type="arabicPeriod"/>
              <a:defRPr sz="1600">
                <a:solidFill>
                  <a:schemeClr val="dk2"/>
                </a:solidFill>
                <a:latin typeface="Inter Medium"/>
                <a:ea typeface="Inter Medium"/>
                <a:cs typeface="Inter Medium"/>
                <a:sym typeface="Inter Medium"/>
              </a:defRPr>
            </a:lvl4pPr>
            <a:lvl5pPr marL="3047924" lvl="4" indent="-406390" rtl="0">
              <a:lnSpc>
                <a:spcPct val="90000"/>
              </a:lnSpc>
              <a:spcBef>
                <a:spcPts val="0"/>
              </a:spcBef>
              <a:spcAft>
                <a:spcPts val="0"/>
              </a:spcAft>
              <a:buClr>
                <a:schemeClr val="dk2"/>
              </a:buClr>
              <a:buSzPts val="1200"/>
              <a:buFont typeface="Inter Medium"/>
              <a:buAutoNum type="alphaLcPeriod"/>
              <a:defRPr sz="1600">
                <a:solidFill>
                  <a:schemeClr val="dk2"/>
                </a:solidFill>
                <a:latin typeface="Inter Medium"/>
                <a:ea typeface="Inter Medium"/>
                <a:cs typeface="Inter Medium"/>
                <a:sym typeface="Inter Medium"/>
              </a:defRPr>
            </a:lvl5pPr>
            <a:lvl6pPr marL="3657509" lvl="5" indent="-406390" rtl="0">
              <a:lnSpc>
                <a:spcPct val="90000"/>
              </a:lnSpc>
              <a:spcBef>
                <a:spcPts val="0"/>
              </a:spcBef>
              <a:spcAft>
                <a:spcPts val="0"/>
              </a:spcAft>
              <a:buClr>
                <a:schemeClr val="dk2"/>
              </a:buClr>
              <a:buSzPts val="1200"/>
              <a:buFont typeface="Inter Medium"/>
              <a:buAutoNum type="romanLcPeriod"/>
              <a:defRPr sz="1600">
                <a:solidFill>
                  <a:schemeClr val="dk2"/>
                </a:solidFill>
                <a:latin typeface="Inter Medium"/>
                <a:ea typeface="Inter Medium"/>
                <a:cs typeface="Inter Medium"/>
                <a:sym typeface="Inter Medium"/>
              </a:defRPr>
            </a:lvl6pPr>
            <a:lvl7pPr marL="4267093" lvl="6" indent="-406390" rtl="0">
              <a:lnSpc>
                <a:spcPct val="90000"/>
              </a:lnSpc>
              <a:spcBef>
                <a:spcPts val="0"/>
              </a:spcBef>
              <a:spcAft>
                <a:spcPts val="0"/>
              </a:spcAft>
              <a:buClr>
                <a:schemeClr val="dk2"/>
              </a:buClr>
              <a:buSzPts val="1200"/>
              <a:buFont typeface="Inter Medium"/>
              <a:buAutoNum type="arabicPeriod"/>
              <a:defRPr sz="1600">
                <a:solidFill>
                  <a:schemeClr val="dk2"/>
                </a:solidFill>
                <a:latin typeface="Inter Medium"/>
                <a:ea typeface="Inter Medium"/>
                <a:cs typeface="Inter Medium"/>
                <a:sym typeface="Inter Medium"/>
              </a:defRPr>
            </a:lvl7pPr>
            <a:lvl8pPr marL="4876678" lvl="7" indent="-406390" rtl="0">
              <a:lnSpc>
                <a:spcPct val="90000"/>
              </a:lnSpc>
              <a:spcBef>
                <a:spcPts val="0"/>
              </a:spcBef>
              <a:spcAft>
                <a:spcPts val="0"/>
              </a:spcAft>
              <a:buClr>
                <a:schemeClr val="dk2"/>
              </a:buClr>
              <a:buSzPts val="1200"/>
              <a:buFont typeface="Inter Medium"/>
              <a:buAutoNum type="alphaLcPeriod"/>
              <a:defRPr sz="1600">
                <a:solidFill>
                  <a:schemeClr val="dk2"/>
                </a:solidFill>
                <a:latin typeface="Inter Medium"/>
                <a:ea typeface="Inter Medium"/>
                <a:cs typeface="Inter Medium"/>
                <a:sym typeface="Inter Medium"/>
              </a:defRPr>
            </a:lvl8pPr>
            <a:lvl9pPr marL="5486263" lvl="8" indent="-406390" rtl="0">
              <a:lnSpc>
                <a:spcPct val="90000"/>
              </a:lnSpc>
              <a:spcBef>
                <a:spcPts val="0"/>
              </a:spcBef>
              <a:spcAft>
                <a:spcPts val="0"/>
              </a:spcAft>
              <a:buClr>
                <a:schemeClr val="dk2"/>
              </a:buClr>
              <a:buSzPts val="1200"/>
              <a:buFont typeface="Inter Medium"/>
              <a:buAutoNum type="romanLcPeriod"/>
              <a:defRPr sz="1600">
                <a:solidFill>
                  <a:schemeClr val="dk2"/>
                </a:solidFill>
                <a:latin typeface="Inter Medium"/>
                <a:ea typeface="Inter Medium"/>
                <a:cs typeface="Inter Medium"/>
                <a:sym typeface="Inter Medium"/>
              </a:defRPr>
            </a:lvl9pPr>
          </a:lstStyle>
          <a:p>
            <a:endParaRPr/>
          </a:p>
        </p:txBody>
      </p:sp>
      <p:sp>
        <p:nvSpPr>
          <p:cNvPr id="1576" name="Google Shape;1576;p32"/>
          <p:cNvSpPr>
            <a:spLocks noGrp="1"/>
          </p:cNvSpPr>
          <p:nvPr>
            <p:ph type="body" idx="14"/>
          </p:nvPr>
        </p:nvSpPr>
        <p:spPr>
          <a:xfrm>
            <a:off x="6150209" y="4606501"/>
            <a:ext cx="2726000" cy="1527600"/>
          </a:xfrm>
          <a:prstGeom prst="roundRect">
            <a:avLst>
              <a:gd name="adj" fmla="val 8792"/>
            </a:avLst>
          </a:prstGeom>
          <a:solidFill>
            <a:schemeClr val="accent1"/>
          </a:solidFill>
          <a:ln>
            <a:noFill/>
          </a:ln>
        </p:spPr>
        <p:txBody>
          <a:bodyPr spcFirstLastPara="1" wrap="square" lIns="108000" tIns="108000" rIns="108000" bIns="34275" anchor="t" anchorCtr="0">
            <a:normAutofit/>
          </a:bodyPr>
          <a:lstStyle>
            <a:lvl1pPr marL="609585" lvl="0" indent="-406390" rtl="0">
              <a:lnSpc>
                <a:spcPct val="90000"/>
              </a:lnSpc>
              <a:spcBef>
                <a:spcPts val="0"/>
              </a:spcBef>
              <a:spcAft>
                <a:spcPts val="0"/>
              </a:spcAft>
              <a:buClr>
                <a:schemeClr val="dk2"/>
              </a:buClr>
              <a:buSzPts val="1200"/>
              <a:buFont typeface="Inter Medium"/>
              <a:buAutoNum type="alphaUcPeriod"/>
              <a:defRPr sz="1600">
                <a:solidFill>
                  <a:schemeClr val="dk2"/>
                </a:solidFill>
                <a:latin typeface="Inter Medium"/>
                <a:ea typeface="Inter Medium"/>
                <a:cs typeface="Inter Medium"/>
                <a:sym typeface="Inter Medium"/>
              </a:defRPr>
            </a:lvl1pPr>
            <a:lvl2pPr marL="1219170" lvl="1" indent="-406390" rtl="0">
              <a:lnSpc>
                <a:spcPct val="90000"/>
              </a:lnSpc>
              <a:spcBef>
                <a:spcPts val="0"/>
              </a:spcBef>
              <a:spcAft>
                <a:spcPts val="0"/>
              </a:spcAft>
              <a:buClr>
                <a:schemeClr val="dk2"/>
              </a:buClr>
              <a:buSzPts val="1200"/>
              <a:buFont typeface="Inter Medium"/>
              <a:buAutoNum type="alphaLcPeriod"/>
              <a:defRPr sz="1600">
                <a:solidFill>
                  <a:schemeClr val="dk2"/>
                </a:solidFill>
                <a:latin typeface="Inter Medium"/>
                <a:ea typeface="Inter Medium"/>
                <a:cs typeface="Inter Medium"/>
                <a:sym typeface="Inter Medium"/>
              </a:defRPr>
            </a:lvl2pPr>
            <a:lvl3pPr marL="1828754" lvl="2" indent="-406390" rtl="0">
              <a:lnSpc>
                <a:spcPct val="90000"/>
              </a:lnSpc>
              <a:spcBef>
                <a:spcPts val="0"/>
              </a:spcBef>
              <a:spcAft>
                <a:spcPts val="0"/>
              </a:spcAft>
              <a:buClr>
                <a:schemeClr val="dk2"/>
              </a:buClr>
              <a:buSzPts val="1200"/>
              <a:buFont typeface="Inter Medium"/>
              <a:buAutoNum type="romanLcPeriod"/>
              <a:defRPr sz="1600">
                <a:solidFill>
                  <a:schemeClr val="dk2"/>
                </a:solidFill>
                <a:latin typeface="Inter Medium"/>
                <a:ea typeface="Inter Medium"/>
                <a:cs typeface="Inter Medium"/>
                <a:sym typeface="Inter Medium"/>
              </a:defRPr>
            </a:lvl3pPr>
            <a:lvl4pPr marL="2438339" lvl="3" indent="-406390" rtl="0">
              <a:lnSpc>
                <a:spcPct val="90000"/>
              </a:lnSpc>
              <a:spcBef>
                <a:spcPts val="0"/>
              </a:spcBef>
              <a:spcAft>
                <a:spcPts val="0"/>
              </a:spcAft>
              <a:buClr>
                <a:schemeClr val="dk2"/>
              </a:buClr>
              <a:buSzPts val="1200"/>
              <a:buFont typeface="Inter Medium"/>
              <a:buAutoNum type="arabicPeriod"/>
              <a:defRPr sz="1600">
                <a:solidFill>
                  <a:schemeClr val="dk2"/>
                </a:solidFill>
                <a:latin typeface="Inter Medium"/>
                <a:ea typeface="Inter Medium"/>
                <a:cs typeface="Inter Medium"/>
                <a:sym typeface="Inter Medium"/>
              </a:defRPr>
            </a:lvl4pPr>
            <a:lvl5pPr marL="3047924" lvl="4" indent="-406390" rtl="0">
              <a:lnSpc>
                <a:spcPct val="90000"/>
              </a:lnSpc>
              <a:spcBef>
                <a:spcPts val="0"/>
              </a:spcBef>
              <a:spcAft>
                <a:spcPts val="0"/>
              </a:spcAft>
              <a:buClr>
                <a:schemeClr val="dk2"/>
              </a:buClr>
              <a:buSzPts val="1200"/>
              <a:buFont typeface="Inter Medium"/>
              <a:buAutoNum type="alphaLcPeriod"/>
              <a:defRPr sz="1600">
                <a:solidFill>
                  <a:schemeClr val="dk2"/>
                </a:solidFill>
                <a:latin typeface="Inter Medium"/>
                <a:ea typeface="Inter Medium"/>
                <a:cs typeface="Inter Medium"/>
                <a:sym typeface="Inter Medium"/>
              </a:defRPr>
            </a:lvl5pPr>
            <a:lvl6pPr marL="3657509" lvl="5" indent="-406390" rtl="0">
              <a:lnSpc>
                <a:spcPct val="90000"/>
              </a:lnSpc>
              <a:spcBef>
                <a:spcPts val="0"/>
              </a:spcBef>
              <a:spcAft>
                <a:spcPts val="0"/>
              </a:spcAft>
              <a:buClr>
                <a:schemeClr val="dk2"/>
              </a:buClr>
              <a:buSzPts val="1200"/>
              <a:buFont typeface="Inter Medium"/>
              <a:buAutoNum type="romanLcPeriod"/>
              <a:defRPr sz="1600">
                <a:solidFill>
                  <a:schemeClr val="dk2"/>
                </a:solidFill>
                <a:latin typeface="Inter Medium"/>
                <a:ea typeface="Inter Medium"/>
                <a:cs typeface="Inter Medium"/>
                <a:sym typeface="Inter Medium"/>
              </a:defRPr>
            </a:lvl6pPr>
            <a:lvl7pPr marL="4267093" lvl="6" indent="-406390" rtl="0">
              <a:lnSpc>
                <a:spcPct val="90000"/>
              </a:lnSpc>
              <a:spcBef>
                <a:spcPts val="0"/>
              </a:spcBef>
              <a:spcAft>
                <a:spcPts val="0"/>
              </a:spcAft>
              <a:buClr>
                <a:schemeClr val="dk2"/>
              </a:buClr>
              <a:buSzPts val="1200"/>
              <a:buFont typeface="Inter Medium"/>
              <a:buAutoNum type="arabicPeriod"/>
              <a:defRPr sz="1600">
                <a:solidFill>
                  <a:schemeClr val="dk2"/>
                </a:solidFill>
                <a:latin typeface="Inter Medium"/>
                <a:ea typeface="Inter Medium"/>
                <a:cs typeface="Inter Medium"/>
                <a:sym typeface="Inter Medium"/>
              </a:defRPr>
            </a:lvl7pPr>
            <a:lvl8pPr marL="4876678" lvl="7" indent="-406390" rtl="0">
              <a:lnSpc>
                <a:spcPct val="90000"/>
              </a:lnSpc>
              <a:spcBef>
                <a:spcPts val="0"/>
              </a:spcBef>
              <a:spcAft>
                <a:spcPts val="0"/>
              </a:spcAft>
              <a:buClr>
                <a:schemeClr val="dk2"/>
              </a:buClr>
              <a:buSzPts val="1200"/>
              <a:buFont typeface="Inter Medium"/>
              <a:buAutoNum type="alphaLcPeriod"/>
              <a:defRPr sz="1600">
                <a:solidFill>
                  <a:schemeClr val="dk2"/>
                </a:solidFill>
                <a:latin typeface="Inter Medium"/>
                <a:ea typeface="Inter Medium"/>
                <a:cs typeface="Inter Medium"/>
                <a:sym typeface="Inter Medium"/>
              </a:defRPr>
            </a:lvl8pPr>
            <a:lvl9pPr marL="5486263" lvl="8" indent="-406390" rtl="0">
              <a:lnSpc>
                <a:spcPct val="90000"/>
              </a:lnSpc>
              <a:spcBef>
                <a:spcPts val="0"/>
              </a:spcBef>
              <a:spcAft>
                <a:spcPts val="0"/>
              </a:spcAft>
              <a:buClr>
                <a:schemeClr val="dk2"/>
              </a:buClr>
              <a:buSzPts val="1200"/>
              <a:buFont typeface="Inter Medium"/>
              <a:buAutoNum type="romanLcPeriod"/>
              <a:defRPr sz="1600">
                <a:solidFill>
                  <a:schemeClr val="dk2"/>
                </a:solidFill>
                <a:latin typeface="Inter Medium"/>
                <a:ea typeface="Inter Medium"/>
                <a:cs typeface="Inter Medium"/>
                <a:sym typeface="Inter Medium"/>
              </a:defRPr>
            </a:lvl9pPr>
          </a:lstStyle>
          <a:p>
            <a:endParaRPr/>
          </a:p>
        </p:txBody>
      </p:sp>
      <p:sp>
        <p:nvSpPr>
          <p:cNvPr id="1577" name="Google Shape;1577;p32"/>
          <p:cNvSpPr>
            <a:spLocks noGrp="1"/>
          </p:cNvSpPr>
          <p:nvPr>
            <p:ph type="body" idx="15"/>
          </p:nvPr>
        </p:nvSpPr>
        <p:spPr>
          <a:xfrm>
            <a:off x="8984513" y="4606501"/>
            <a:ext cx="2726000" cy="1527600"/>
          </a:xfrm>
          <a:prstGeom prst="roundRect">
            <a:avLst>
              <a:gd name="adj" fmla="val 8792"/>
            </a:avLst>
          </a:prstGeom>
          <a:solidFill>
            <a:schemeClr val="accent1"/>
          </a:solidFill>
          <a:ln>
            <a:noFill/>
          </a:ln>
        </p:spPr>
        <p:txBody>
          <a:bodyPr spcFirstLastPara="1" wrap="square" lIns="108000" tIns="108000" rIns="108000" bIns="34275" anchor="t" anchorCtr="0">
            <a:normAutofit/>
          </a:bodyPr>
          <a:lstStyle>
            <a:lvl1pPr marL="609585" lvl="0" indent="-406390" rtl="0">
              <a:lnSpc>
                <a:spcPct val="90000"/>
              </a:lnSpc>
              <a:spcBef>
                <a:spcPts val="0"/>
              </a:spcBef>
              <a:spcAft>
                <a:spcPts val="0"/>
              </a:spcAft>
              <a:buClr>
                <a:schemeClr val="dk2"/>
              </a:buClr>
              <a:buSzPts val="1200"/>
              <a:buFont typeface="Inter Medium"/>
              <a:buAutoNum type="alphaUcPeriod"/>
              <a:defRPr sz="1600">
                <a:solidFill>
                  <a:schemeClr val="dk2"/>
                </a:solidFill>
                <a:latin typeface="Inter Medium"/>
                <a:ea typeface="Inter Medium"/>
                <a:cs typeface="Inter Medium"/>
                <a:sym typeface="Inter Medium"/>
              </a:defRPr>
            </a:lvl1pPr>
            <a:lvl2pPr marL="1219170" lvl="1" indent="-406390" rtl="0">
              <a:lnSpc>
                <a:spcPct val="90000"/>
              </a:lnSpc>
              <a:spcBef>
                <a:spcPts val="0"/>
              </a:spcBef>
              <a:spcAft>
                <a:spcPts val="0"/>
              </a:spcAft>
              <a:buClr>
                <a:schemeClr val="dk2"/>
              </a:buClr>
              <a:buSzPts val="1200"/>
              <a:buFont typeface="Inter Medium"/>
              <a:buAutoNum type="alphaLcPeriod"/>
              <a:defRPr sz="1600">
                <a:solidFill>
                  <a:schemeClr val="dk2"/>
                </a:solidFill>
                <a:latin typeface="Inter Medium"/>
                <a:ea typeface="Inter Medium"/>
                <a:cs typeface="Inter Medium"/>
                <a:sym typeface="Inter Medium"/>
              </a:defRPr>
            </a:lvl2pPr>
            <a:lvl3pPr marL="1828754" lvl="2" indent="-406390" rtl="0">
              <a:lnSpc>
                <a:spcPct val="90000"/>
              </a:lnSpc>
              <a:spcBef>
                <a:spcPts val="0"/>
              </a:spcBef>
              <a:spcAft>
                <a:spcPts val="0"/>
              </a:spcAft>
              <a:buClr>
                <a:schemeClr val="dk2"/>
              </a:buClr>
              <a:buSzPts val="1200"/>
              <a:buFont typeface="Inter Medium"/>
              <a:buAutoNum type="romanLcPeriod"/>
              <a:defRPr sz="1600">
                <a:solidFill>
                  <a:schemeClr val="dk2"/>
                </a:solidFill>
                <a:latin typeface="Inter Medium"/>
                <a:ea typeface="Inter Medium"/>
                <a:cs typeface="Inter Medium"/>
                <a:sym typeface="Inter Medium"/>
              </a:defRPr>
            </a:lvl3pPr>
            <a:lvl4pPr marL="2438339" lvl="3" indent="-406390" rtl="0">
              <a:lnSpc>
                <a:spcPct val="90000"/>
              </a:lnSpc>
              <a:spcBef>
                <a:spcPts val="0"/>
              </a:spcBef>
              <a:spcAft>
                <a:spcPts val="0"/>
              </a:spcAft>
              <a:buClr>
                <a:schemeClr val="dk2"/>
              </a:buClr>
              <a:buSzPts val="1200"/>
              <a:buFont typeface="Inter Medium"/>
              <a:buAutoNum type="arabicPeriod"/>
              <a:defRPr sz="1600">
                <a:solidFill>
                  <a:schemeClr val="dk2"/>
                </a:solidFill>
                <a:latin typeface="Inter Medium"/>
                <a:ea typeface="Inter Medium"/>
                <a:cs typeface="Inter Medium"/>
                <a:sym typeface="Inter Medium"/>
              </a:defRPr>
            </a:lvl4pPr>
            <a:lvl5pPr marL="3047924" lvl="4" indent="-406390" rtl="0">
              <a:lnSpc>
                <a:spcPct val="90000"/>
              </a:lnSpc>
              <a:spcBef>
                <a:spcPts val="0"/>
              </a:spcBef>
              <a:spcAft>
                <a:spcPts val="0"/>
              </a:spcAft>
              <a:buClr>
                <a:schemeClr val="dk2"/>
              </a:buClr>
              <a:buSzPts val="1200"/>
              <a:buFont typeface="Inter Medium"/>
              <a:buAutoNum type="alphaLcPeriod"/>
              <a:defRPr sz="1600">
                <a:solidFill>
                  <a:schemeClr val="dk2"/>
                </a:solidFill>
                <a:latin typeface="Inter Medium"/>
                <a:ea typeface="Inter Medium"/>
                <a:cs typeface="Inter Medium"/>
                <a:sym typeface="Inter Medium"/>
              </a:defRPr>
            </a:lvl5pPr>
            <a:lvl6pPr marL="3657509" lvl="5" indent="-406390" rtl="0">
              <a:lnSpc>
                <a:spcPct val="90000"/>
              </a:lnSpc>
              <a:spcBef>
                <a:spcPts val="0"/>
              </a:spcBef>
              <a:spcAft>
                <a:spcPts val="0"/>
              </a:spcAft>
              <a:buClr>
                <a:schemeClr val="dk2"/>
              </a:buClr>
              <a:buSzPts val="1200"/>
              <a:buFont typeface="Inter Medium"/>
              <a:buAutoNum type="romanLcPeriod"/>
              <a:defRPr sz="1600">
                <a:solidFill>
                  <a:schemeClr val="dk2"/>
                </a:solidFill>
                <a:latin typeface="Inter Medium"/>
                <a:ea typeface="Inter Medium"/>
                <a:cs typeface="Inter Medium"/>
                <a:sym typeface="Inter Medium"/>
              </a:defRPr>
            </a:lvl6pPr>
            <a:lvl7pPr marL="4267093" lvl="6" indent="-406390" rtl="0">
              <a:lnSpc>
                <a:spcPct val="90000"/>
              </a:lnSpc>
              <a:spcBef>
                <a:spcPts val="0"/>
              </a:spcBef>
              <a:spcAft>
                <a:spcPts val="0"/>
              </a:spcAft>
              <a:buClr>
                <a:schemeClr val="dk2"/>
              </a:buClr>
              <a:buSzPts val="1200"/>
              <a:buFont typeface="Inter Medium"/>
              <a:buAutoNum type="arabicPeriod"/>
              <a:defRPr sz="1600">
                <a:solidFill>
                  <a:schemeClr val="dk2"/>
                </a:solidFill>
                <a:latin typeface="Inter Medium"/>
                <a:ea typeface="Inter Medium"/>
                <a:cs typeface="Inter Medium"/>
                <a:sym typeface="Inter Medium"/>
              </a:defRPr>
            </a:lvl7pPr>
            <a:lvl8pPr marL="4876678" lvl="7" indent="-406390" rtl="0">
              <a:lnSpc>
                <a:spcPct val="90000"/>
              </a:lnSpc>
              <a:spcBef>
                <a:spcPts val="0"/>
              </a:spcBef>
              <a:spcAft>
                <a:spcPts val="0"/>
              </a:spcAft>
              <a:buClr>
                <a:schemeClr val="dk2"/>
              </a:buClr>
              <a:buSzPts val="1200"/>
              <a:buFont typeface="Inter Medium"/>
              <a:buAutoNum type="alphaLcPeriod"/>
              <a:defRPr sz="1600">
                <a:solidFill>
                  <a:schemeClr val="dk2"/>
                </a:solidFill>
                <a:latin typeface="Inter Medium"/>
                <a:ea typeface="Inter Medium"/>
                <a:cs typeface="Inter Medium"/>
                <a:sym typeface="Inter Medium"/>
              </a:defRPr>
            </a:lvl8pPr>
            <a:lvl9pPr marL="5486263" lvl="8" indent="-406390" rtl="0">
              <a:lnSpc>
                <a:spcPct val="90000"/>
              </a:lnSpc>
              <a:spcBef>
                <a:spcPts val="0"/>
              </a:spcBef>
              <a:spcAft>
                <a:spcPts val="0"/>
              </a:spcAft>
              <a:buClr>
                <a:schemeClr val="dk2"/>
              </a:buClr>
              <a:buSzPts val="1200"/>
              <a:buFont typeface="Inter Medium"/>
              <a:buAutoNum type="romanLcPeriod"/>
              <a:defRPr sz="1600">
                <a:solidFill>
                  <a:schemeClr val="dk2"/>
                </a:solidFill>
                <a:latin typeface="Inter Medium"/>
                <a:ea typeface="Inter Medium"/>
                <a:cs typeface="Inter Medium"/>
                <a:sym typeface="Inter Medium"/>
              </a:defRPr>
            </a:lvl9pPr>
          </a:lstStyle>
          <a:p>
            <a:endParaRPr/>
          </a:p>
        </p:txBody>
      </p:sp>
      <p:sp>
        <p:nvSpPr>
          <p:cNvPr id="1578" name="Google Shape;1578;p32"/>
          <p:cNvSpPr/>
          <p:nvPr/>
        </p:nvSpPr>
        <p:spPr>
          <a:xfrm>
            <a:off x="481601" y="414630"/>
            <a:ext cx="349111" cy="305471"/>
          </a:xfrm>
          <a:custGeom>
            <a:avLst/>
            <a:gdLst/>
            <a:ahLst/>
            <a:cxnLst/>
            <a:rect l="l" t="t" r="r" b="b"/>
            <a:pathLst>
              <a:path w="1586865" h="1388506" extrusionOk="0">
                <a:moveTo>
                  <a:pt x="1083683" y="969931"/>
                </a:moveTo>
                <a:lnTo>
                  <a:pt x="1083683" y="579692"/>
                </a:lnTo>
                <a:lnTo>
                  <a:pt x="849297" y="969931"/>
                </a:lnTo>
                <a:lnTo>
                  <a:pt x="848892" y="969931"/>
                </a:lnTo>
                <a:cubicBezTo>
                  <a:pt x="848892" y="969931"/>
                  <a:pt x="848892" y="969931"/>
                  <a:pt x="848892" y="969931"/>
                </a:cubicBezTo>
                <a:lnTo>
                  <a:pt x="738783" y="969931"/>
                </a:lnTo>
                <a:lnTo>
                  <a:pt x="738783" y="577668"/>
                </a:lnTo>
                <a:lnTo>
                  <a:pt x="549735" y="892612"/>
                </a:lnTo>
                <a:cubicBezTo>
                  <a:pt x="527876" y="929449"/>
                  <a:pt x="510873" y="958191"/>
                  <a:pt x="503992" y="969931"/>
                </a:cubicBezTo>
                <a:lnTo>
                  <a:pt x="393073" y="969931"/>
                </a:lnTo>
                <a:lnTo>
                  <a:pt x="393073" y="418576"/>
                </a:lnTo>
                <a:lnTo>
                  <a:pt x="503992" y="418576"/>
                </a:lnTo>
                <a:lnTo>
                  <a:pt x="502777" y="760643"/>
                </a:lnTo>
                <a:lnTo>
                  <a:pt x="503587" y="782098"/>
                </a:lnTo>
                <a:lnTo>
                  <a:pt x="721781" y="418981"/>
                </a:lnTo>
                <a:lnTo>
                  <a:pt x="721781" y="418981"/>
                </a:lnTo>
                <a:lnTo>
                  <a:pt x="721781" y="418981"/>
                </a:lnTo>
                <a:lnTo>
                  <a:pt x="739188" y="418981"/>
                </a:lnTo>
                <a:lnTo>
                  <a:pt x="847678" y="418981"/>
                </a:lnTo>
                <a:cubicBezTo>
                  <a:pt x="847678" y="418981"/>
                  <a:pt x="848487" y="722995"/>
                  <a:pt x="848892" y="783717"/>
                </a:cubicBezTo>
                <a:lnTo>
                  <a:pt x="1067895" y="418981"/>
                </a:lnTo>
                <a:lnTo>
                  <a:pt x="1067895" y="418981"/>
                </a:lnTo>
                <a:lnTo>
                  <a:pt x="1067895" y="418981"/>
                </a:lnTo>
                <a:lnTo>
                  <a:pt x="1085302" y="418981"/>
                </a:lnTo>
                <a:lnTo>
                  <a:pt x="1193387" y="418981"/>
                </a:lnTo>
                <a:lnTo>
                  <a:pt x="1193387" y="970336"/>
                </a:lnTo>
                <a:lnTo>
                  <a:pt x="1083683" y="970336"/>
                </a:lnTo>
                <a:close/>
                <a:moveTo>
                  <a:pt x="1190149" y="0"/>
                </a:moveTo>
                <a:lnTo>
                  <a:pt x="396716" y="0"/>
                </a:lnTo>
                <a:lnTo>
                  <a:pt x="0" y="694253"/>
                </a:lnTo>
                <a:lnTo>
                  <a:pt x="396716" y="1388507"/>
                </a:lnTo>
                <a:lnTo>
                  <a:pt x="1190149" y="1388507"/>
                </a:lnTo>
                <a:lnTo>
                  <a:pt x="1586865" y="694253"/>
                </a:lnTo>
                <a:lnTo>
                  <a:pt x="1190149" y="0"/>
                </a:lnTo>
                <a:close/>
              </a:path>
            </a:pathLst>
          </a:custGeom>
          <a:solidFill>
            <a:schemeClr val="dk2"/>
          </a:solidFill>
          <a:ln>
            <a:noFill/>
          </a:ln>
        </p:spPr>
        <p:txBody>
          <a:bodyPr spcFirstLastPara="1" wrap="square" lIns="91433" tIns="45700" rIns="91433" bIns="45700"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579" name="Google Shape;1579;p32"/>
          <p:cNvSpPr txBox="1"/>
          <p:nvPr/>
        </p:nvSpPr>
        <p:spPr>
          <a:xfrm>
            <a:off x="481600" y="6245247"/>
            <a:ext cx="1288400" cy="273200"/>
          </a:xfrm>
          <a:prstGeom prst="rect">
            <a:avLst/>
          </a:prstGeom>
          <a:noFill/>
          <a:ln>
            <a:noFill/>
          </a:ln>
        </p:spPr>
        <p:txBody>
          <a:bodyPr spcFirstLastPara="1" wrap="square" lIns="0" tIns="0" rIns="0" bIns="0" anchor="b" anchorCtr="0">
            <a:noAutofit/>
          </a:bodyPr>
          <a:lstStyle/>
          <a:p>
            <a:pPr marL="0" lvl="0" indent="0" algn="l" rtl="0">
              <a:spcBef>
                <a:spcPts val="0"/>
              </a:spcBef>
              <a:spcAft>
                <a:spcPts val="0"/>
              </a:spcAft>
              <a:buNone/>
            </a:pPr>
            <a:r>
              <a:rPr lang="en-GB" sz="667">
                <a:solidFill>
                  <a:schemeClr val="dk2"/>
                </a:solidFill>
                <a:latin typeface="Inter"/>
                <a:ea typeface="Inter"/>
                <a:cs typeface="Inter"/>
                <a:sym typeface="Inter"/>
              </a:rPr>
              <a:t>Multiverse</a:t>
            </a:r>
            <a:endParaRPr sz="667">
              <a:solidFill>
                <a:schemeClr val="dk2"/>
              </a:solidFill>
              <a:latin typeface="Inter"/>
              <a:ea typeface="Inter"/>
              <a:cs typeface="Inter"/>
              <a:sym typeface="Inter"/>
            </a:endParaRPr>
          </a:p>
        </p:txBody>
      </p:sp>
    </p:spTree>
    <p:extLst>
      <p:ext uri="{BB962C8B-B14F-4D97-AF65-F5344CB8AC3E}">
        <p14:creationId xmlns:p14="http://schemas.microsoft.com/office/powerpoint/2010/main" val="133019299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DC8442-2301-8447-0EEE-47D61ADECE06}"/>
              </a:ext>
            </a:extLst>
          </p:cNvPr>
          <p:cNvSpPr>
            <a:spLocks noGrp="1"/>
          </p:cNvSpPr>
          <p:nvPr>
            <p:ph type="title"/>
          </p:nvPr>
        </p:nvSpPr>
        <p:spPr/>
        <p:txBody>
          <a:bodyPr/>
          <a:lstStyle/>
          <a:p>
            <a:r>
              <a:rPr lang="en-GB"/>
              <a:t>Click to edit Master title style</a:t>
            </a:r>
          </a:p>
        </p:txBody>
      </p:sp>
      <p:sp>
        <p:nvSpPr>
          <p:cNvPr id="3" name="Date Placeholder 2">
            <a:extLst>
              <a:ext uri="{FF2B5EF4-FFF2-40B4-BE49-F238E27FC236}">
                <a16:creationId xmlns:a16="http://schemas.microsoft.com/office/drawing/2014/main" id="{258DFD11-4E7F-BE98-A605-C31F2B803724}"/>
              </a:ext>
            </a:extLst>
          </p:cNvPr>
          <p:cNvSpPr>
            <a:spLocks noGrp="1"/>
          </p:cNvSpPr>
          <p:nvPr>
            <p:ph type="dt" sz="half" idx="10"/>
          </p:nvPr>
        </p:nvSpPr>
        <p:spPr/>
        <p:txBody>
          <a:bodyPr/>
          <a:lstStyle/>
          <a:p>
            <a:fld id="{923CFB00-16CD-4A5D-8353-B2F2FFED28E8}" type="datetimeFigureOut">
              <a:rPr lang="en-GB" smtClean="0"/>
              <a:t>23/06/2024</a:t>
            </a:fld>
            <a:endParaRPr lang="en-GB"/>
          </a:p>
        </p:txBody>
      </p:sp>
      <p:sp>
        <p:nvSpPr>
          <p:cNvPr id="4" name="Footer Placeholder 3">
            <a:extLst>
              <a:ext uri="{FF2B5EF4-FFF2-40B4-BE49-F238E27FC236}">
                <a16:creationId xmlns:a16="http://schemas.microsoft.com/office/drawing/2014/main" id="{6C7AB6AA-49D1-8CE5-9820-CDBF002DEB32}"/>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6368A041-9984-13E2-D63C-C55D4D561DC9}"/>
              </a:ext>
            </a:extLst>
          </p:cNvPr>
          <p:cNvSpPr>
            <a:spLocks noGrp="1"/>
          </p:cNvSpPr>
          <p:nvPr>
            <p:ph type="sldNum" sz="quarter" idx="12"/>
          </p:nvPr>
        </p:nvSpPr>
        <p:spPr/>
        <p:txBody>
          <a:bodyPr/>
          <a:lstStyle/>
          <a:p>
            <a:fld id="{140D1FED-518D-4FB4-BCAB-05C56058F68A}" type="slidenum">
              <a:rPr lang="en-GB" smtClean="0"/>
              <a:t>‹#›</a:t>
            </a:fld>
            <a:endParaRPr lang="en-GB"/>
          </a:p>
        </p:txBody>
      </p:sp>
    </p:spTree>
    <p:extLst>
      <p:ext uri="{BB962C8B-B14F-4D97-AF65-F5344CB8AC3E}">
        <p14:creationId xmlns:p14="http://schemas.microsoft.com/office/powerpoint/2010/main" val="54860516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matchingName="Agenda 6 Rectangles and Image -  White">
  <p:cSld name="Agenda 6 Rectangles and Image -  White">
    <p:spTree>
      <p:nvGrpSpPr>
        <p:cNvPr id="1" name="Shape 1580"/>
        <p:cNvGrpSpPr/>
        <p:nvPr/>
      </p:nvGrpSpPr>
      <p:grpSpPr>
        <a:xfrm>
          <a:off x="0" y="0"/>
          <a:ext cx="0" cy="0"/>
          <a:chOff x="0" y="0"/>
          <a:chExt cx="0" cy="0"/>
        </a:xfrm>
      </p:grpSpPr>
      <p:sp>
        <p:nvSpPr>
          <p:cNvPr id="1581" name="Google Shape;1581;p33"/>
          <p:cNvSpPr txBox="1">
            <a:spLocks noGrp="1"/>
          </p:cNvSpPr>
          <p:nvPr>
            <p:ph type="sldNum" idx="12"/>
          </p:nvPr>
        </p:nvSpPr>
        <p:spPr>
          <a:xfrm>
            <a:off x="10978845" y="5993647"/>
            <a:ext cx="731600" cy="524800"/>
          </a:xfrm>
          <a:prstGeom prst="rect">
            <a:avLst/>
          </a:prstGeom>
        </p:spPr>
        <p:txBody>
          <a:bodyPr spcFirstLastPara="1" wrap="square" lIns="91425" tIns="91425" rIns="0" bIns="0" anchor="b" anchorCtr="0">
            <a:noAutofit/>
          </a:bodyPr>
          <a:lstStyle>
            <a:lvl1pPr lvl="0" algn="r" rtl="0">
              <a:buNone/>
              <a:defRPr sz="667">
                <a:solidFill>
                  <a:schemeClr val="dk2"/>
                </a:solidFill>
                <a:latin typeface="Inter"/>
                <a:ea typeface="Inter"/>
                <a:cs typeface="Inter"/>
                <a:sym typeface="Inter"/>
              </a:defRPr>
            </a:lvl1pPr>
            <a:lvl2pPr lvl="1" algn="r" rtl="0">
              <a:buNone/>
              <a:defRPr sz="667">
                <a:solidFill>
                  <a:schemeClr val="dk2"/>
                </a:solidFill>
                <a:latin typeface="Inter"/>
                <a:ea typeface="Inter"/>
                <a:cs typeface="Inter"/>
                <a:sym typeface="Inter"/>
              </a:defRPr>
            </a:lvl2pPr>
            <a:lvl3pPr lvl="2" algn="r" rtl="0">
              <a:buNone/>
              <a:defRPr sz="667">
                <a:solidFill>
                  <a:schemeClr val="dk2"/>
                </a:solidFill>
                <a:latin typeface="Inter"/>
                <a:ea typeface="Inter"/>
                <a:cs typeface="Inter"/>
                <a:sym typeface="Inter"/>
              </a:defRPr>
            </a:lvl3pPr>
            <a:lvl4pPr lvl="3" algn="r" rtl="0">
              <a:buNone/>
              <a:defRPr sz="667">
                <a:solidFill>
                  <a:schemeClr val="dk2"/>
                </a:solidFill>
                <a:latin typeface="Inter"/>
                <a:ea typeface="Inter"/>
                <a:cs typeface="Inter"/>
                <a:sym typeface="Inter"/>
              </a:defRPr>
            </a:lvl4pPr>
            <a:lvl5pPr lvl="4" algn="r" rtl="0">
              <a:buNone/>
              <a:defRPr sz="667">
                <a:solidFill>
                  <a:schemeClr val="dk2"/>
                </a:solidFill>
                <a:latin typeface="Inter"/>
                <a:ea typeface="Inter"/>
                <a:cs typeface="Inter"/>
                <a:sym typeface="Inter"/>
              </a:defRPr>
            </a:lvl5pPr>
            <a:lvl6pPr lvl="5" algn="r" rtl="0">
              <a:buNone/>
              <a:defRPr sz="667">
                <a:solidFill>
                  <a:schemeClr val="dk2"/>
                </a:solidFill>
                <a:latin typeface="Inter"/>
                <a:ea typeface="Inter"/>
                <a:cs typeface="Inter"/>
                <a:sym typeface="Inter"/>
              </a:defRPr>
            </a:lvl6pPr>
            <a:lvl7pPr lvl="6" algn="r" rtl="0">
              <a:buNone/>
              <a:defRPr sz="667">
                <a:solidFill>
                  <a:schemeClr val="dk2"/>
                </a:solidFill>
                <a:latin typeface="Inter"/>
                <a:ea typeface="Inter"/>
                <a:cs typeface="Inter"/>
                <a:sym typeface="Inter"/>
              </a:defRPr>
            </a:lvl7pPr>
            <a:lvl8pPr lvl="7" algn="r" rtl="0">
              <a:buNone/>
              <a:defRPr sz="667">
                <a:solidFill>
                  <a:schemeClr val="dk2"/>
                </a:solidFill>
                <a:latin typeface="Inter"/>
                <a:ea typeface="Inter"/>
                <a:cs typeface="Inter"/>
                <a:sym typeface="Inter"/>
              </a:defRPr>
            </a:lvl8pPr>
            <a:lvl9pPr lvl="8" algn="r" rtl="0">
              <a:buNone/>
              <a:defRPr sz="667">
                <a:solidFill>
                  <a:schemeClr val="dk2"/>
                </a:solidFill>
                <a:latin typeface="Inter"/>
                <a:ea typeface="Inter"/>
                <a:cs typeface="Inter"/>
                <a:sym typeface="Inter"/>
              </a:defRPr>
            </a:lvl9pPr>
          </a:lstStyle>
          <a:p>
            <a:fld id="{00000000-1234-1234-1234-123412341234}" type="slidenum">
              <a:rPr lang="en-GB" smtClean="0"/>
              <a:pPr/>
              <a:t>‹#›</a:t>
            </a:fld>
            <a:endParaRPr lang="en-GB"/>
          </a:p>
        </p:txBody>
      </p:sp>
      <p:sp>
        <p:nvSpPr>
          <p:cNvPr id="1582" name="Google Shape;1582;p33"/>
          <p:cNvSpPr>
            <a:spLocks noGrp="1"/>
          </p:cNvSpPr>
          <p:nvPr>
            <p:ph type="body" idx="1"/>
          </p:nvPr>
        </p:nvSpPr>
        <p:spPr>
          <a:xfrm>
            <a:off x="481600" y="1335200"/>
            <a:ext cx="2723200" cy="1527600"/>
          </a:xfrm>
          <a:prstGeom prst="roundRect">
            <a:avLst>
              <a:gd name="adj" fmla="val 8792"/>
            </a:avLst>
          </a:prstGeom>
          <a:solidFill>
            <a:schemeClr val="accent1"/>
          </a:solidFill>
          <a:ln>
            <a:noFill/>
          </a:ln>
        </p:spPr>
        <p:txBody>
          <a:bodyPr spcFirstLastPara="1" wrap="square" lIns="108000" tIns="108000" rIns="108000" bIns="34275" anchor="t" anchorCtr="0">
            <a:normAutofit/>
          </a:bodyPr>
          <a:lstStyle>
            <a:lvl1pPr marL="609585" lvl="0" indent="-406390" rtl="0">
              <a:lnSpc>
                <a:spcPct val="90000"/>
              </a:lnSpc>
              <a:spcBef>
                <a:spcPts val="0"/>
              </a:spcBef>
              <a:spcAft>
                <a:spcPts val="0"/>
              </a:spcAft>
              <a:buClr>
                <a:schemeClr val="dk2"/>
              </a:buClr>
              <a:buSzPts val="1200"/>
              <a:buFont typeface="Inter Medium"/>
              <a:buAutoNum type="alphaUcPeriod"/>
              <a:defRPr sz="1600">
                <a:solidFill>
                  <a:schemeClr val="dk2"/>
                </a:solidFill>
                <a:latin typeface="Inter Medium"/>
                <a:ea typeface="Inter Medium"/>
                <a:cs typeface="Inter Medium"/>
                <a:sym typeface="Inter Medium"/>
              </a:defRPr>
            </a:lvl1pPr>
            <a:lvl2pPr marL="1219170" lvl="1" indent="-406390" rtl="0">
              <a:lnSpc>
                <a:spcPct val="90000"/>
              </a:lnSpc>
              <a:spcBef>
                <a:spcPts val="0"/>
              </a:spcBef>
              <a:spcAft>
                <a:spcPts val="0"/>
              </a:spcAft>
              <a:buClr>
                <a:schemeClr val="dk2"/>
              </a:buClr>
              <a:buSzPts val="1200"/>
              <a:buFont typeface="Inter Medium"/>
              <a:buAutoNum type="alphaLcPeriod"/>
              <a:defRPr sz="1600">
                <a:solidFill>
                  <a:schemeClr val="dk2"/>
                </a:solidFill>
                <a:latin typeface="Inter Medium"/>
                <a:ea typeface="Inter Medium"/>
                <a:cs typeface="Inter Medium"/>
                <a:sym typeface="Inter Medium"/>
              </a:defRPr>
            </a:lvl2pPr>
            <a:lvl3pPr marL="1828754" lvl="2" indent="-406390" rtl="0">
              <a:lnSpc>
                <a:spcPct val="90000"/>
              </a:lnSpc>
              <a:spcBef>
                <a:spcPts val="0"/>
              </a:spcBef>
              <a:spcAft>
                <a:spcPts val="0"/>
              </a:spcAft>
              <a:buClr>
                <a:schemeClr val="dk2"/>
              </a:buClr>
              <a:buSzPts val="1200"/>
              <a:buFont typeface="Inter Medium"/>
              <a:buAutoNum type="romanLcPeriod"/>
              <a:defRPr sz="1600">
                <a:solidFill>
                  <a:schemeClr val="dk2"/>
                </a:solidFill>
                <a:latin typeface="Inter Medium"/>
                <a:ea typeface="Inter Medium"/>
                <a:cs typeface="Inter Medium"/>
                <a:sym typeface="Inter Medium"/>
              </a:defRPr>
            </a:lvl3pPr>
            <a:lvl4pPr marL="2438339" lvl="3" indent="-406390" rtl="0">
              <a:lnSpc>
                <a:spcPct val="90000"/>
              </a:lnSpc>
              <a:spcBef>
                <a:spcPts val="0"/>
              </a:spcBef>
              <a:spcAft>
                <a:spcPts val="0"/>
              </a:spcAft>
              <a:buClr>
                <a:schemeClr val="dk2"/>
              </a:buClr>
              <a:buSzPts val="1200"/>
              <a:buFont typeface="Inter Medium"/>
              <a:buAutoNum type="arabicPeriod"/>
              <a:defRPr sz="1600">
                <a:solidFill>
                  <a:schemeClr val="dk2"/>
                </a:solidFill>
                <a:latin typeface="Inter Medium"/>
                <a:ea typeface="Inter Medium"/>
                <a:cs typeface="Inter Medium"/>
                <a:sym typeface="Inter Medium"/>
              </a:defRPr>
            </a:lvl4pPr>
            <a:lvl5pPr marL="3047924" lvl="4" indent="-406390" rtl="0">
              <a:lnSpc>
                <a:spcPct val="90000"/>
              </a:lnSpc>
              <a:spcBef>
                <a:spcPts val="0"/>
              </a:spcBef>
              <a:spcAft>
                <a:spcPts val="0"/>
              </a:spcAft>
              <a:buClr>
                <a:schemeClr val="dk2"/>
              </a:buClr>
              <a:buSzPts val="1200"/>
              <a:buFont typeface="Inter Medium"/>
              <a:buAutoNum type="alphaLcPeriod"/>
              <a:defRPr sz="1600">
                <a:solidFill>
                  <a:schemeClr val="dk2"/>
                </a:solidFill>
                <a:latin typeface="Inter Medium"/>
                <a:ea typeface="Inter Medium"/>
                <a:cs typeface="Inter Medium"/>
                <a:sym typeface="Inter Medium"/>
              </a:defRPr>
            </a:lvl5pPr>
            <a:lvl6pPr marL="3657509" lvl="5" indent="-406390" rtl="0">
              <a:lnSpc>
                <a:spcPct val="90000"/>
              </a:lnSpc>
              <a:spcBef>
                <a:spcPts val="0"/>
              </a:spcBef>
              <a:spcAft>
                <a:spcPts val="0"/>
              </a:spcAft>
              <a:buClr>
                <a:schemeClr val="dk2"/>
              </a:buClr>
              <a:buSzPts val="1200"/>
              <a:buFont typeface="Inter Medium"/>
              <a:buAutoNum type="romanLcPeriod"/>
              <a:defRPr sz="1600">
                <a:solidFill>
                  <a:schemeClr val="dk2"/>
                </a:solidFill>
                <a:latin typeface="Inter Medium"/>
                <a:ea typeface="Inter Medium"/>
                <a:cs typeface="Inter Medium"/>
                <a:sym typeface="Inter Medium"/>
              </a:defRPr>
            </a:lvl6pPr>
            <a:lvl7pPr marL="4267093" lvl="6" indent="-406390" rtl="0">
              <a:lnSpc>
                <a:spcPct val="90000"/>
              </a:lnSpc>
              <a:spcBef>
                <a:spcPts val="0"/>
              </a:spcBef>
              <a:spcAft>
                <a:spcPts val="0"/>
              </a:spcAft>
              <a:buClr>
                <a:schemeClr val="dk2"/>
              </a:buClr>
              <a:buSzPts val="1200"/>
              <a:buFont typeface="Inter Medium"/>
              <a:buAutoNum type="arabicPeriod"/>
              <a:defRPr sz="1600">
                <a:solidFill>
                  <a:schemeClr val="dk2"/>
                </a:solidFill>
                <a:latin typeface="Inter Medium"/>
                <a:ea typeface="Inter Medium"/>
                <a:cs typeface="Inter Medium"/>
                <a:sym typeface="Inter Medium"/>
              </a:defRPr>
            </a:lvl7pPr>
            <a:lvl8pPr marL="4876678" lvl="7" indent="-406390" rtl="0">
              <a:lnSpc>
                <a:spcPct val="90000"/>
              </a:lnSpc>
              <a:spcBef>
                <a:spcPts val="0"/>
              </a:spcBef>
              <a:spcAft>
                <a:spcPts val="0"/>
              </a:spcAft>
              <a:buClr>
                <a:schemeClr val="dk2"/>
              </a:buClr>
              <a:buSzPts val="1200"/>
              <a:buFont typeface="Inter Medium"/>
              <a:buAutoNum type="alphaLcPeriod"/>
              <a:defRPr sz="1600">
                <a:solidFill>
                  <a:schemeClr val="dk2"/>
                </a:solidFill>
                <a:latin typeface="Inter Medium"/>
                <a:ea typeface="Inter Medium"/>
                <a:cs typeface="Inter Medium"/>
                <a:sym typeface="Inter Medium"/>
              </a:defRPr>
            </a:lvl8pPr>
            <a:lvl9pPr marL="5486263" lvl="8" indent="-406390" rtl="0">
              <a:lnSpc>
                <a:spcPct val="90000"/>
              </a:lnSpc>
              <a:spcBef>
                <a:spcPts val="0"/>
              </a:spcBef>
              <a:spcAft>
                <a:spcPts val="0"/>
              </a:spcAft>
              <a:buClr>
                <a:schemeClr val="dk2"/>
              </a:buClr>
              <a:buSzPts val="1200"/>
              <a:buFont typeface="Inter Medium"/>
              <a:buAutoNum type="romanLcPeriod"/>
              <a:defRPr sz="1600">
                <a:solidFill>
                  <a:schemeClr val="dk2"/>
                </a:solidFill>
                <a:latin typeface="Inter Medium"/>
                <a:ea typeface="Inter Medium"/>
                <a:cs typeface="Inter Medium"/>
                <a:sym typeface="Inter Medium"/>
              </a:defRPr>
            </a:lvl9pPr>
          </a:lstStyle>
          <a:p>
            <a:endParaRPr/>
          </a:p>
        </p:txBody>
      </p:sp>
      <p:sp>
        <p:nvSpPr>
          <p:cNvPr id="1583" name="Google Shape;1583;p33"/>
          <p:cNvSpPr>
            <a:spLocks noGrp="1"/>
          </p:cNvSpPr>
          <p:nvPr>
            <p:ph type="body" idx="2"/>
          </p:nvPr>
        </p:nvSpPr>
        <p:spPr>
          <a:xfrm>
            <a:off x="3312971" y="1335200"/>
            <a:ext cx="2723200" cy="1527600"/>
          </a:xfrm>
          <a:prstGeom prst="roundRect">
            <a:avLst>
              <a:gd name="adj" fmla="val 8792"/>
            </a:avLst>
          </a:prstGeom>
          <a:solidFill>
            <a:schemeClr val="accent1"/>
          </a:solidFill>
          <a:ln>
            <a:noFill/>
          </a:ln>
        </p:spPr>
        <p:txBody>
          <a:bodyPr spcFirstLastPara="1" wrap="square" lIns="108000" tIns="108000" rIns="108000" bIns="34275" anchor="t" anchorCtr="0">
            <a:normAutofit/>
          </a:bodyPr>
          <a:lstStyle>
            <a:lvl1pPr marL="609585" lvl="0" indent="-406390" rtl="0">
              <a:lnSpc>
                <a:spcPct val="90000"/>
              </a:lnSpc>
              <a:spcBef>
                <a:spcPts val="0"/>
              </a:spcBef>
              <a:spcAft>
                <a:spcPts val="0"/>
              </a:spcAft>
              <a:buClr>
                <a:schemeClr val="dk2"/>
              </a:buClr>
              <a:buSzPts val="1200"/>
              <a:buFont typeface="Inter Medium"/>
              <a:buAutoNum type="alphaUcPeriod"/>
              <a:defRPr sz="1600">
                <a:solidFill>
                  <a:schemeClr val="dk2"/>
                </a:solidFill>
                <a:latin typeface="Inter Medium"/>
                <a:ea typeface="Inter Medium"/>
                <a:cs typeface="Inter Medium"/>
                <a:sym typeface="Inter Medium"/>
              </a:defRPr>
            </a:lvl1pPr>
            <a:lvl2pPr marL="1219170" lvl="1" indent="-406390" rtl="0">
              <a:lnSpc>
                <a:spcPct val="90000"/>
              </a:lnSpc>
              <a:spcBef>
                <a:spcPts val="0"/>
              </a:spcBef>
              <a:spcAft>
                <a:spcPts val="0"/>
              </a:spcAft>
              <a:buClr>
                <a:schemeClr val="dk2"/>
              </a:buClr>
              <a:buSzPts val="1200"/>
              <a:buFont typeface="Inter Medium"/>
              <a:buAutoNum type="alphaLcPeriod"/>
              <a:defRPr sz="1600">
                <a:solidFill>
                  <a:schemeClr val="dk2"/>
                </a:solidFill>
                <a:latin typeface="Inter Medium"/>
                <a:ea typeface="Inter Medium"/>
                <a:cs typeface="Inter Medium"/>
                <a:sym typeface="Inter Medium"/>
              </a:defRPr>
            </a:lvl2pPr>
            <a:lvl3pPr marL="1828754" lvl="2" indent="-406390" rtl="0">
              <a:lnSpc>
                <a:spcPct val="90000"/>
              </a:lnSpc>
              <a:spcBef>
                <a:spcPts val="0"/>
              </a:spcBef>
              <a:spcAft>
                <a:spcPts val="0"/>
              </a:spcAft>
              <a:buClr>
                <a:schemeClr val="dk2"/>
              </a:buClr>
              <a:buSzPts val="1200"/>
              <a:buFont typeface="Inter Medium"/>
              <a:buAutoNum type="romanLcPeriod"/>
              <a:defRPr sz="1600">
                <a:solidFill>
                  <a:schemeClr val="dk2"/>
                </a:solidFill>
                <a:latin typeface="Inter Medium"/>
                <a:ea typeface="Inter Medium"/>
                <a:cs typeface="Inter Medium"/>
                <a:sym typeface="Inter Medium"/>
              </a:defRPr>
            </a:lvl3pPr>
            <a:lvl4pPr marL="2438339" lvl="3" indent="-406390" rtl="0">
              <a:lnSpc>
                <a:spcPct val="90000"/>
              </a:lnSpc>
              <a:spcBef>
                <a:spcPts val="0"/>
              </a:spcBef>
              <a:spcAft>
                <a:spcPts val="0"/>
              </a:spcAft>
              <a:buClr>
                <a:schemeClr val="dk2"/>
              </a:buClr>
              <a:buSzPts val="1200"/>
              <a:buFont typeface="Inter Medium"/>
              <a:buAutoNum type="arabicPeriod"/>
              <a:defRPr sz="1600">
                <a:solidFill>
                  <a:schemeClr val="dk2"/>
                </a:solidFill>
                <a:latin typeface="Inter Medium"/>
                <a:ea typeface="Inter Medium"/>
                <a:cs typeface="Inter Medium"/>
                <a:sym typeface="Inter Medium"/>
              </a:defRPr>
            </a:lvl4pPr>
            <a:lvl5pPr marL="3047924" lvl="4" indent="-406390" rtl="0">
              <a:lnSpc>
                <a:spcPct val="90000"/>
              </a:lnSpc>
              <a:spcBef>
                <a:spcPts val="0"/>
              </a:spcBef>
              <a:spcAft>
                <a:spcPts val="0"/>
              </a:spcAft>
              <a:buClr>
                <a:schemeClr val="dk2"/>
              </a:buClr>
              <a:buSzPts val="1200"/>
              <a:buFont typeface="Inter Medium"/>
              <a:buAutoNum type="alphaLcPeriod"/>
              <a:defRPr sz="1600">
                <a:solidFill>
                  <a:schemeClr val="dk2"/>
                </a:solidFill>
                <a:latin typeface="Inter Medium"/>
                <a:ea typeface="Inter Medium"/>
                <a:cs typeface="Inter Medium"/>
                <a:sym typeface="Inter Medium"/>
              </a:defRPr>
            </a:lvl5pPr>
            <a:lvl6pPr marL="3657509" lvl="5" indent="-406390" rtl="0">
              <a:lnSpc>
                <a:spcPct val="90000"/>
              </a:lnSpc>
              <a:spcBef>
                <a:spcPts val="0"/>
              </a:spcBef>
              <a:spcAft>
                <a:spcPts val="0"/>
              </a:spcAft>
              <a:buClr>
                <a:schemeClr val="dk2"/>
              </a:buClr>
              <a:buSzPts val="1200"/>
              <a:buFont typeface="Inter Medium"/>
              <a:buAutoNum type="romanLcPeriod"/>
              <a:defRPr sz="1600">
                <a:solidFill>
                  <a:schemeClr val="dk2"/>
                </a:solidFill>
                <a:latin typeface="Inter Medium"/>
                <a:ea typeface="Inter Medium"/>
                <a:cs typeface="Inter Medium"/>
                <a:sym typeface="Inter Medium"/>
              </a:defRPr>
            </a:lvl6pPr>
            <a:lvl7pPr marL="4267093" lvl="6" indent="-406390" rtl="0">
              <a:lnSpc>
                <a:spcPct val="90000"/>
              </a:lnSpc>
              <a:spcBef>
                <a:spcPts val="0"/>
              </a:spcBef>
              <a:spcAft>
                <a:spcPts val="0"/>
              </a:spcAft>
              <a:buClr>
                <a:schemeClr val="dk2"/>
              </a:buClr>
              <a:buSzPts val="1200"/>
              <a:buFont typeface="Inter Medium"/>
              <a:buAutoNum type="arabicPeriod"/>
              <a:defRPr sz="1600">
                <a:solidFill>
                  <a:schemeClr val="dk2"/>
                </a:solidFill>
                <a:latin typeface="Inter Medium"/>
                <a:ea typeface="Inter Medium"/>
                <a:cs typeface="Inter Medium"/>
                <a:sym typeface="Inter Medium"/>
              </a:defRPr>
            </a:lvl7pPr>
            <a:lvl8pPr marL="4876678" lvl="7" indent="-406390" rtl="0">
              <a:lnSpc>
                <a:spcPct val="90000"/>
              </a:lnSpc>
              <a:spcBef>
                <a:spcPts val="0"/>
              </a:spcBef>
              <a:spcAft>
                <a:spcPts val="0"/>
              </a:spcAft>
              <a:buClr>
                <a:schemeClr val="dk2"/>
              </a:buClr>
              <a:buSzPts val="1200"/>
              <a:buFont typeface="Inter Medium"/>
              <a:buAutoNum type="alphaLcPeriod"/>
              <a:defRPr sz="1600">
                <a:solidFill>
                  <a:schemeClr val="dk2"/>
                </a:solidFill>
                <a:latin typeface="Inter Medium"/>
                <a:ea typeface="Inter Medium"/>
                <a:cs typeface="Inter Medium"/>
                <a:sym typeface="Inter Medium"/>
              </a:defRPr>
            </a:lvl8pPr>
            <a:lvl9pPr marL="5486263" lvl="8" indent="-406390" rtl="0">
              <a:lnSpc>
                <a:spcPct val="90000"/>
              </a:lnSpc>
              <a:spcBef>
                <a:spcPts val="0"/>
              </a:spcBef>
              <a:spcAft>
                <a:spcPts val="0"/>
              </a:spcAft>
              <a:buClr>
                <a:schemeClr val="dk2"/>
              </a:buClr>
              <a:buSzPts val="1200"/>
              <a:buFont typeface="Inter Medium"/>
              <a:buAutoNum type="romanLcPeriod"/>
              <a:defRPr sz="1600">
                <a:solidFill>
                  <a:schemeClr val="dk2"/>
                </a:solidFill>
                <a:latin typeface="Inter Medium"/>
                <a:ea typeface="Inter Medium"/>
                <a:cs typeface="Inter Medium"/>
                <a:sym typeface="Inter Medium"/>
              </a:defRPr>
            </a:lvl9pPr>
          </a:lstStyle>
          <a:p>
            <a:endParaRPr/>
          </a:p>
        </p:txBody>
      </p:sp>
      <p:sp>
        <p:nvSpPr>
          <p:cNvPr id="1584" name="Google Shape;1584;p33"/>
          <p:cNvSpPr>
            <a:spLocks noGrp="1"/>
          </p:cNvSpPr>
          <p:nvPr>
            <p:ph type="body" idx="3"/>
          </p:nvPr>
        </p:nvSpPr>
        <p:spPr>
          <a:xfrm>
            <a:off x="481600" y="2970852"/>
            <a:ext cx="2723200" cy="1527600"/>
          </a:xfrm>
          <a:prstGeom prst="roundRect">
            <a:avLst>
              <a:gd name="adj" fmla="val 8792"/>
            </a:avLst>
          </a:prstGeom>
          <a:solidFill>
            <a:schemeClr val="accent1"/>
          </a:solidFill>
          <a:ln>
            <a:noFill/>
          </a:ln>
        </p:spPr>
        <p:txBody>
          <a:bodyPr spcFirstLastPara="1" wrap="square" lIns="108000" tIns="108000" rIns="108000" bIns="34275" anchor="t" anchorCtr="0">
            <a:normAutofit/>
          </a:bodyPr>
          <a:lstStyle>
            <a:lvl1pPr marL="609585" lvl="0" indent="-406390" rtl="0">
              <a:lnSpc>
                <a:spcPct val="90000"/>
              </a:lnSpc>
              <a:spcBef>
                <a:spcPts val="0"/>
              </a:spcBef>
              <a:spcAft>
                <a:spcPts val="0"/>
              </a:spcAft>
              <a:buClr>
                <a:schemeClr val="dk2"/>
              </a:buClr>
              <a:buSzPts val="1200"/>
              <a:buFont typeface="Inter Medium"/>
              <a:buAutoNum type="alphaUcPeriod"/>
              <a:defRPr sz="1600">
                <a:solidFill>
                  <a:schemeClr val="dk2"/>
                </a:solidFill>
                <a:latin typeface="Inter Medium"/>
                <a:ea typeface="Inter Medium"/>
                <a:cs typeface="Inter Medium"/>
                <a:sym typeface="Inter Medium"/>
              </a:defRPr>
            </a:lvl1pPr>
            <a:lvl2pPr marL="1219170" lvl="1" indent="-406390" rtl="0">
              <a:lnSpc>
                <a:spcPct val="90000"/>
              </a:lnSpc>
              <a:spcBef>
                <a:spcPts val="0"/>
              </a:spcBef>
              <a:spcAft>
                <a:spcPts val="0"/>
              </a:spcAft>
              <a:buClr>
                <a:schemeClr val="dk2"/>
              </a:buClr>
              <a:buSzPts val="1200"/>
              <a:buFont typeface="Inter Medium"/>
              <a:buAutoNum type="alphaLcPeriod"/>
              <a:defRPr sz="1600">
                <a:solidFill>
                  <a:schemeClr val="dk2"/>
                </a:solidFill>
                <a:latin typeface="Inter Medium"/>
                <a:ea typeface="Inter Medium"/>
                <a:cs typeface="Inter Medium"/>
                <a:sym typeface="Inter Medium"/>
              </a:defRPr>
            </a:lvl2pPr>
            <a:lvl3pPr marL="1828754" lvl="2" indent="-406390" rtl="0">
              <a:lnSpc>
                <a:spcPct val="90000"/>
              </a:lnSpc>
              <a:spcBef>
                <a:spcPts val="0"/>
              </a:spcBef>
              <a:spcAft>
                <a:spcPts val="0"/>
              </a:spcAft>
              <a:buClr>
                <a:schemeClr val="dk2"/>
              </a:buClr>
              <a:buSzPts val="1200"/>
              <a:buFont typeface="Inter Medium"/>
              <a:buAutoNum type="romanLcPeriod"/>
              <a:defRPr sz="1600">
                <a:solidFill>
                  <a:schemeClr val="dk2"/>
                </a:solidFill>
                <a:latin typeface="Inter Medium"/>
                <a:ea typeface="Inter Medium"/>
                <a:cs typeface="Inter Medium"/>
                <a:sym typeface="Inter Medium"/>
              </a:defRPr>
            </a:lvl3pPr>
            <a:lvl4pPr marL="2438339" lvl="3" indent="-406390" rtl="0">
              <a:lnSpc>
                <a:spcPct val="90000"/>
              </a:lnSpc>
              <a:spcBef>
                <a:spcPts val="0"/>
              </a:spcBef>
              <a:spcAft>
                <a:spcPts val="0"/>
              </a:spcAft>
              <a:buClr>
                <a:schemeClr val="dk2"/>
              </a:buClr>
              <a:buSzPts val="1200"/>
              <a:buFont typeface="Inter Medium"/>
              <a:buAutoNum type="arabicPeriod"/>
              <a:defRPr sz="1600">
                <a:solidFill>
                  <a:schemeClr val="dk2"/>
                </a:solidFill>
                <a:latin typeface="Inter Medium"/>
                <a:ea typeface="Inter Medium"/>
                <a:cs typeface="Inter Medium"/>
                <a:sym typeface="Inter Medium"/>
              </a:defRPr>
            </a:lvl4pPr>
            <a:lvl5pPr marL="3047924" lvl="4" indent="-406390" rtl="0">
              <a:lnSpc>
                <a:spcPct val="90000"/>
              </a:lnSpc>
              <a:spcBef>
                <a:spcPts val="0"/>
              </a:spcBef>
              <a:spcAft>
                <a:spcPts val="0"/>
              </a:spcAft>
              <a:buClr>
                <a:schemeClr val="dk2"/>
              </a:buClr>
              <a:buSzPts val="1200"/>
              <a:buFont typeface="Inter Medium"/>
              <a:buAutoNum type="alphaLcPeriod"/>
              <a:defRPr sz="1600">
                <a:solidFill>
                  <a:schemeClr val="dk2"/>
                </a:solidFill>
                <a:latin typeface="Inter Medium"/>
                <a:ea typeface="Inter Medium"/>
                <a:cs typeface="Inter Medium"/>
                <a:sym typeface="Inter Medium"/>
              </a:defRPr>
            </a:lvl5pPr>
            <a:lvl6pPr marL="3657509" lvl="5" indent="-406390" rtl="0">
              <a:lnSpc>
                <a:spcPct val="90000"/>
              </a:lnSpc>
              <a:spcBef>
                <a:spcPts val="0"/>
              </a:spcBef>
              <a:spcAft>
                <a:spcPts val="0"/>
              </a:spcAft>
              <a:buClr>
                <a:schemeClr val="dk2"/>
              </a:buClr>
              <a:buSzPts val="1200"/>
              <a:buFont typeface="Inter Medium"/>
              <a:buAutoNum type="romanLcPeriod"/>
              <a:defRPr sz="1600">
                <a:solidFill>
                  <a:schemeClr val="dk2"/>
                </a:solidFill>
                <a:latin typeface="Inter Medium"/>
                <a:ea typeface="Inter Medium"/>
                <a:cs typeface="Inter Medium"/>
                <a:sym typeface="Inter Medium"/>
              </a:defRPr>
            </a:lvl6pPr>
            <a:lvl7pPr marL="4267093" lvl="6" indent="-406390" rtl="0">
              <a:lnSpc>
                <a:spcPct val="90000"/>
              </a:lnSpc>
              <a:spcBef>
                <a:spcPts val="0"/>
              </a:spcBef>
              <a:spcAft>
                <a:spcPts val="0"/>
              </a:spcAft>
              <a:buClr>
                <a:schemeClr val="dk2"/>
              </a:buClr>
              <a:buSzPts val="1200"/>
              <a:buFont typeface="Inter Medium"/>
              <a:buAutoNum type="arabicPeriod"/>
              <a:defRPr sz="1600">
                <a:solidFill>
                  <a:schemeClr val="dk2"/>
                </a:solidFill>
                <a:latin typeface="Inter Medium"/>
                <a:ea typeface="Inter Medium"/>
                <a:cs typeface="Inter Medium"/>
                <a:sym typeface="Inter Medium"/>
              </a:defRPr>
            </a:lvl7pPr>
            <a:lvl8pPr marL="4876678" lvl="7" indent="-406390" rtl="0">
              <a:lnSpc>
                <a:spcPct val="90000"/>
              </a:lnSpc>
              <a:spcBef>
                <a:spcPts val="0"/>
              </a:spcBef>
              <a:spcAft>
                <a:spcPts val="0"/>
              </a:spcAft>
              <a:buClr>
                <a:schemeClr val="dk2"/>
              </a:buClr>
              <a:buSzPts val="1200"/>
              <a:buFont typeface="Inter Medium"/>
              <a:buAutoNum type="alphaLcPeriod"/>
              <a:defRPr sz="1600">
                <a:solidFill>
                  <a:schemeClr val="dk2"/>
                </a:solidFill>
                <a:latin typeface="Inter Medium"/>
                <a:ea typeface="Inter Medium"/>
                <a:cs typeface="Inter Medium"/>
                <a:sym typeface="Inter Medium"/>
              </a:defRPr>
            </a:lvl8pPr>
            <a:lvl9pPr marL="5486263" lvl="8" indent="-406390" rtl="0">
              <a:lnSpc>
                <a:spcPct val="90000"/>
              </a:lnSpc>
              <a:spcBef>
                <a:spcPts val="0"/>
              </a:spcBef>
              <a:spcAft>
                <a:spcPts val="0"/>
              </a:spcAft>
              <a:buClr>
                <a:schemeClr val="dk2"/>
              </a:buClr>
              <a:buSzPts val="1200"/>
              <a:buFont typeface="Inter Medium"/>
              <a:buAutoNum type="romanLcPeriod"/>
              <a:defRPr sz="1600">
                <a:solidFill>
                  <a:schemeClr val="dk2"/>
                </a:solidFill>
                <a:latin typeface="Inter Medium"/>
                <a:ea typeface="Inter Medium"/>
                <a:cs typeface="Inter Medium"/>
                <a:sym typeface="Inter Medium"/>
              </a:defRPr>
            </a:lvl9pPr>
          </a:lstStyle>
          <a:p>
            <a:endParaRPr/>
          </a:p>
        </p:txBody>
      </p:sp>
      <p:sp>
        <p:nvSpPr>
          <p:cNvPr id="1585" name="Google Shape;1585;p33"/>
          <p:cNvSpPr>
            <a:spLocks noGrp="1"/>
          </p:cNvSpPr>
          <p:nvPr>
            <p:ph type="body" idx="4"/>
          </p:nvPr>
        </p:nvSpPr>
        <p:spPr>
          <a:xfrm>
            <a:off x="3312971" y="2970852"/>
            <a:ext cx="2723200" cy="1527600"/>
          </a:xfrm>
          <a:prstGeom prst="roundRect">
            <a:avLst>
              <a:gd name="adj" fmla="val 8792"/>
            </a:avLst>
          </a:prstGeom>
          <a:solidFill>
            <a:schemeClr val="accent1"/>
          </a:solidFill>
          <a:ln>
            <a:noFill/>
          </a:ln>
        </p:spPr>
        <p:txBody>
          <a:bodyPr spcFirstLastPara="1" wrap="square" lIns="108000" tIns="108000" rIns="108000" bIns="34275" anchor="t" anchorCtr="0">
            <a:normAutofit/>
          </a:bodyPr>
          <a:lstStyle>
            <a:lvl1pPr marL="609585" lvl="0" indent="-406390" rtl="0">
              <a:lnSpc>
                <a:spcPct val="90000"/>
              </a:lnSpc>
              <a:spcBef>
                <a:spcPts val="0"/>
              </a:spcBef>
              <a:spcAft>
                <a:spcPts val="0"/>
              </a:spcAft>
              <a:buClr>
                <a:schemeClr val="dk2"/>
              </a:buClr>
              <a:buSzPts val="1200"/>
              <a:buFont typeface="Inter Medium"/>
              <a:buAutoNum type="alphaUcPeriod"/>
              <a:defRPr sz="1600">
                <a:solidFill>
                  <a:schemeClr val="dk2"/>
                </a:solidFill>
                <a:latin typeface="Inter Medium"/>
                <a:ea typeface="Inter Medium"/>
                <a:cs typeface="Inter Medium"/>
                <a:sym typeface="Inter Medium"/>
              </a:defRPr>
            </a:lvl1pPr>
            <a:lvl2pPr marL="1219170" lvl="1" indent="-406390" rtl="0">
              <a:lnSpc>
                <a:spcPct val="90000"/>
              </a:lnSpc>
              <a:spcBef>
                <a:spcPts val="0"/>
              </a:spcBef>
              <a:spcAft>
                <a:spcPts val="0"/>
              </a:spcAft>
              <a:buClr>
                <a:schemeClr val="dk2"/>
              </a:buClr>
              <a:buSzPts val="1200"/>
              <a:buFont typeface="Inter Medium"/>
              <a:buAutoNum type="alphaLcPeriod"/>
              <a:defRPr sz="1600">
                <a:solidFill>
                  <a:schemeClr val="dk2"/>
                </a:solidFill>
                <a:latin typeface="Inter Medium"/>
                <a:ea typeface="Inter Medium"/>
                <a:cs typeface="Inter Medium"/>
                <a:sym typeface="Inter Medium"/>
              </a:defRPr>
            </a:lvl2pPr>
            <a:lvl3pPr marL="1828754" lvl="2" indent="-406390" rtl="0">
              <a:lnSpc>
                <a:spcPct val="90000"/>
              </a:lnSpc>
              <a:spcBef>
                <a:spcPts val="0"/>
              </a:spcBef>
              <a:spcAft>
                <a:spcPts val="0"/>
              </a:spcAft>
              <a:buClr>
                <a:schemeClr val="dk2"/>
              </a:buClr>
              <a:buSzPts val="1200"/>
              <a:buFont typeface="Inter Medium"/>
              <a:buAutoNum type="romanLcPeriod"/>
              <a:defRPr sz="1600">
                <a:solidFill>
                  <a:schemeClr val="dk2"/>
                </a:solidFill>
                <a:latin typeface="Inter Medium"/>
                <a:ea typeface="Inter Medium"/>
                <a:cs typeface="Inter Medium"/>
                <a:sym typeface="Inter Medium"/>
              </a:defRPr>
            </a:lvl3pPr>
            <a:lvl4pPr marL="2438339" lvl="3" indent="-406390" rtl="0">
              <a:lnSpc>
                <a:spcPct val="90000"/>
              </a:lnSpc>
              <a:spcBef>
                <a:spcPts val="0"/>
              </a:spcBef>
              <a:spcAft>
                <a:spcPts val="0"/>
              </a:spcAft>
              <a:buClr>
                <a:schemeClr val="dk2"/>
              </a:buClr>
              <a:buSzPts val="1200"/>
              <a:buFont typeface="Inter Medium"/>
              <a:buAutoNum type="arabicPeriod"/>
              <a:defRPr sz="1600">
                <a:solidFill>
                  <a:schemeClr val="dk2"/>
                </a:solidFill>
                <a:latin typeface="Inter Medium"/>
                <a:ea typeface="Inter Medium"/>
                <a:cs typeface="Inter Medium"/>
                <a:sym typeface="Inter Medium"/>
              </a:defRPr>
            </a:lvl4pPr>
            <a:lvl5pPr marL="3047924" lvl="4" indent="-406390" rtl="0">
              <a:lnSpc>
                <a:spcPct val="90000"/>
              </a:lnSpc>
              <a:spcBef>
                <a:spcPts val="0"/>
              </a:spcBef>
              <a:spcAft>
                <a:spcPts val="0"/>
              </a:spcAft>
              <a:buClr>
                <a:schemeClr val="dk2"/>
              </a:buClr>
              <a:buSzPts val="1200"/>
              <a:buFont typeface="Inter Medium"/>
              <a:buAutoNum type="alphaLcPeriod"/>
              <a:defRPr sz="1600">
                <a:solidFill>
                  <a:schemeClr val="dk2"/>
                </a:solidFill>
                <a:latin typeface="Inter Medium"/>
                <a:ea typeface="Inter Medium"/>
                <a:cs typeface="Inter Medium"/>
                <a:sym typeface="Inter Medium"/>
              </a:defRPr>
            </a:lvl5pPr>
            <a:lvl6pPr marL="3657509" lvl="5" indent="-406390" rtl="0">
              <a:lnSpc>
                <a:spcPct val="90000"/>
              </a:lnSpc>
              <a:spcBef>
                <a:spcPts val="0"/>
              </a:spcBef>
              <a:spcAft>
                <a:spcPts val="0"/>
              </a:spcAft>
              <a:buClr>
                <a:schemeClr val="dk2"/>
              </a:buClr>
              <a:buSzPts val="1200"/>
              <a:buFont typeface="Inter Medium"/>
              <a:buAutoNum type="romanLcPeriod"/>
              <a:defRPr sz="1600">
                <a:solidFill>
                  <a:schemeClr val="dk2"/>
                </a:solidFill>
                <a:latin typeface="Inter Medium"/>
                <a:ea typeface="Inter Medium"/>
                <a:cs typeface="Inter Medium"/>
                <a:sym typeface="Inter Medium"/>
              </a:defRPr>
            </a:lvl6pPr>
            <a:lvl7pPr marL="4267093" lvl="6" indent="-406390" rtl="0">
              <a:lnSpc>
                <a:spcPct val="90000"/>
              </a:lnSpc>
              <a:spcBef>
                <a:spcPts val="0"/>
              </a:spcBef>
              <a:spcAft>
                <a:spcPts val="0"/>
              </a:spcAft>
              <a:buClr>
                <a:schemeClr val="dk2"/>
              </a:buClr>
              <a:buSzPts val="1200"/>
              <a:buFont typeface="Inter Medium"/>
              <a:buAutoNum type="arabicPeriod"/>
              <a:defRPr sz="1600">
                <a:solidFill>
                  <a:schemeClr val="dk2"/>
                </a:solidFill>
                <a:latin typeface="Inter Medium"/>
                <a:ea typeface="Inter Medium"/>
                <a:cs typeface="Inter Medium"/>
                <a:sym typeface="Inter Medium"/>
              </a:defRPr>
            </a:lvl7pPr>
            <a:lvl8pPr marL="4876678" lvl="7" indent="-406390" rtl="0">
              <a:lnSpc>
                <a:spcPct val="90000"/>
              </a:lnSpc>
              <a:spcBef>
                <a:spcPts val="0"/>
              </a:spcBef>
              <a:spcAft>
                <a:spcPts val="0"/>
              </a:spcAft>
              <a:buClr>
                <a:schemeClr val="dk2"/>
              </a:buClr>
              <a:buSzPts val="1200"/>
              <a:buFont typeface="Inter Medium"/>
              <a:buAutoNum type="alphaLcPeriod"/>
              <a:defRPr sz="1600">
                <a:solidFill>
                  <a:schemeClr val="dk2"/>
                </a:solidFill>
                <a:latin typeface="Inter Medium"/>
                <a:ea typeface="Inter Medium"/>
                <a:cs typeface="Inter Medium"/>
                <a:sym typeface="Inter Medium"/>
              </a:defRPr>
            </a:lvl8pPr>
            <a:lvl9pPr marL="5486263" lvl="8" indent="-406390" rtl="0">
              <a:lnSpc>
                <a:spcPct val="90000"/>
              </a:lnSpc>
              <a:spcBef>
                <a:spcPts val="0"/>
              </a:spcBef>
              <a:spcAft>
                <a:spcPts val="0"/>
              </a:spcAft>
              <a:buClr>
                <a:schemeClr val="dk2"/>
              </a:buClr>
              <a:buSzPts val="1200"/>
              <a:buFont typeface="Inter Medium"/>
              <a:buAutoNum type="romanLcPeriod"/>
              <a:defRPr sz="1600">
                <a:solidFill>
                  <a:schemeClr val="dk2"/>
                </a:solidFill>
                <a:latin typeface="Inter Medium"/>
                <a:ea typeface="Inter Medium"/>
                <a:cs typeface="Inter Medium"/>
                <a:sym typeface="Inter Medium"/>
              </a:defRPr>
            </a:lvl9pPr>
          </a:lstStyle>
          <a:p>
            <a:endParaRPr/>
          </a:p>
        </p:txBody>
      </p:sp>
      <p:sp>
        <p:nvSpPr>
          <p:cNvPr id="1586" name="Google Shape;1586;p33"/>
          <p:cNvSpPr txBox="1">
            <a:spLocks noGrp="1"/>
          </p:cNvSpPr>
          <p:nvPr>
            <p:ph type="title"/>
          </p:nvPr>
        </p:nvSpPr>
        <p:spPr>
          <a:xfrm>
            <a:off x="951700" y="359999"/>
            <a:ext cx="10515600" cy="524800"/>
          </a:xfrm>
          <a:prstGeom prst="rect">
            <a:avLst/>
          </a:prstGeom>
          <a:noFill/>
          <a:ln>
            <a:noFill/>
          </a:ln>
        </p:spPr>
        <p:txBody>
          <a:bodyPr spcFirstLastPara="1" wrap="square" lIns="0" tIns="0" rIns="68575" bIns="34275" anchor="t" anchorCtr="0">
            <a:noAutofit/>
          </a:bodyPr>
          <a:lstStyle>
            <a:lvl1pPr lvl="0" algn="l" rtl="0">
              <a:lnSpc>
                <a:spcPct val="90000"/>
              </a:lnSpc>
              <a:spcBef>
                <a:spcPts val="0"/>
              </a:spcBef>
              <a:spcAft>
                <a:spcPts val="0"/>
              </a:spcAft>
              <a:buClr>
                <a:schemeClr val="dk1"/>
              </a:buClr>
              <a:buSzPts val="2400"/>
              <a:buFont typeface="Inter Medium"/>
              <a:buNone/>
              <a:defRPr sz="3200">
                <a:latin typeface="Inter Medium"/>
                <a:ea typeface="Inter Medium"/>
                <a:cs typeface="Inter Medium"/>
                <a:sym typeface="Inter Medium"/>
              </a:defRPr>
            </a:lvl1pPr>
            <a:lvl2pPr lvl="1" rtl="0">
              <a:spcBef>
                <a:spcPts val="0"/>
              </a:spcBef>
              <a:spcAft>
                <a:spcPts val="0"/>
              </a:spcAft>
              <a:buSzPts val="1100"/>
              <a:buNone/>
              <a:defRPr b="1"/>
            </a:lvl2pPr>
            <a:lvl3pPr lvl="2" rtl="0">
              <a:spcBef>
                <a:spcPts val="0"/>
              </a:spcBef>
              <a:spcAft>
                <a:spcPts val="0"/>
              </a:spcAft>
              <a:buSzPts val="1100"/>
              <a:buNone/>
              <a:defRPr b="1"/>
            </a:lvl3pPr>
            <a:lvl4pPr lvl="3" rtl="0">
              <a:spcBef>
                <a:spcPts val="0"/>
              </a:spcBef>
              <a:spcAft>
                <a:spcPts val="0"/>
              </a:spcAft>
              <a:buSzPts val="1100"/>
              <a:buNone/>
              <a:defRPr b="1"/>
            </a:lvl4pPr>
            <a:lvl5pPr lvl="4" rtl="0">
              <a:spcBef>
                <a:spcPts val="0"/>
              </a:spcBef>
              <a:spcAft>
                <a:spcPts val="0"/>
              </a:spcAft>
              <a:buSzPts val="1100"/>
              <a:buNone/>
              <a:defRPr b="1"/>
            </a:lvl5pPr>
            <a:lvl6pPr lvl="5" rtl="0">
              <a:spcBef>
                <a:spcPts val="0"/>
              </a:spcBef>
              <a:spcAft>
                <a:spcPts val="0"/>
              </a:spcAft>
              <a:buSzPts val="1100"/>
              <a:buNone/>
              <a:defRPr b="1"/>
            </a:lvl6pPr>
            <a:lvl7pPr lvl="6" rtl="0">
              <a:spcBef>
                <a:spcPts val="0"/>
              </a:spcBef>
              <a:spcAft>
                <a:spcPts val="0"/>
              </a:spcAft>
              <a:buSzPts val="1100"/>
              <a:buNone/>
              <a:defRPr b="1"/>
            </a:lvl7pPr>
            <a:lvl8pPr lvl="7" rtl="0">
              <a:spcBef>
                <a:spcPts val="0"/>
              </a:spcBef>
              <a:spcAft>
                <a:spcPts val="0"/>
              </a:spcAft>
              <a:buSzPts val="1100"/>
              <a:buNone/>
              <a:defRPr b="1"/>
            </a:lvl8pPr>
            <a:lvl9pPr lvl="8" rtl="0">
              <a:spcBef>
                <a:spcPts val="0"/>
              </a:spcBef>
              <a:spcAft>
                <a:spcPts val="0"/>
              </a:spcAft>
              <a:buSzPts val="1100"/>
              <a:buNone/>
              <a:defRPr b="1"/>
            </a:lvl9pPr>
          </a:lstStyle>
          <a:p>
            <a:endParaRPr/>
          </a:p>
        </p:txBody>
      </p:sp>
      <p:sp>
        <p:nvSpPr>
          <p:cNvPr id="1587" name="Google Shape;1587;p33"/>
          <p:cNvSpPr>
            <a:spLocks noGrp="1"/>
          </p:cNvSpPr>
          <p:nvPr>
            <p:ph type="body" idx="5"/>
          </p:nvPr>
        </p:nvSpPr>
        <p:spPr>
          <a:xfrm>
            <a:off x="481600" y="4606505"/>
            <a:ext cx="2723200" cy="1527600"/>
          </a:xfrm>
          <a:prstGeom prst="roundRect">
            <a:avLst>
              <a:gd name="adj" fmla="val 8792"/>
            </a:avLst>
          </a:prstGeom>
          <a:solidFill>
            <a:schemeClr val="accent1"/>
          </a:solidFill>
          <a:ln>
            <a:noFill/>
          </a:ln>
        </p:spPr>
        <p:txBody>
          <a:bodyPr spcFirstLastPara="1" wrap="square" lIns="108000" tIns="108000" rIns="108000" bIns="34275" anchor="t" anchorCtr="0">
            <a:normAutofit/>
          </a:bodyPr>
          <a:lstStyle>
            <a:lvl1pPr marL="609585" lvl="0" indent="-406390" rtl="0">
              <a:lnSpc>
                <a:spcPct val="90000"/>
              </a:lnSpc>
              <a:spcBef>
                <a:spcPts val="0"/>
              </a:spcBef>
              <a:spcAft>
                <a:spcPts val="0"/>
              </a:spcAft>
              <a:buClr>
                <a:schemeClr val="dk2"/>
              </a:buClr>
              <a:buSzPts val="1200"/>
              <a:buFont typeface="Inter Medium"/>
              <a:buAutoNum type="alphaUcPeriod"/>
              <a:defRPr sz="1600">
                <a:solidFill>
                  <a:schemeClr val="dk2"/>
                </a:solidFill>
                <a:latin typeface="Inter Medium"/>
                <a:ea typeface="Inter Medium"/>
                <a:cs typeface="Inter Medium"/>
                <a:sym typeface="Inter Medium"/>
              </a:defRPr>
            </a:lvl1pPr>
            <a:lvl2pPr marL="1219170" lvl="1" indent="-406390" rtl="0">
              <a:lnSpc>
                <a:spcPct val="90000"/>
              </a:lnSpc>
              <a:spcBef>
                <a:spcPts val="0"/>
              </a:spcBef>
              <a:spcAft>
                <a:spcPts val="0"/>
              </a:spcAft>
              <a:buClr>
                <a:schemeClr val="dk2"/>
              </a:buClr>
              <a:buSzPts val="1200"/>
              <a:buFont typeface="Inter Medium"/>
              <a:buAutoNum type="alphaLcPeriod"/>
              <a:defRPr sz="1600">
                <a:solidFill>
                  <a:schemeClr val="dk2"/>
                </a:solidFill>
                <a:latin typeface="Inter Medium"/>
                <a:ea typeface="Inter Medium"/>
                <a:cs typeface="Inter Medium"/>
                <a:sym typeface="Inter Medium"/>
              </a:defRPr>
            </a:lvl2pPr>
            <a:lvl3pPr marL="1828754" lvl="2" indent="-406390" rtl="0">
              <a:lnSpc>
                <a:spcPct val="90000"/>
              </a:lnSpc>
              <a:spcBef>
                <a:spcPts val="0"/>
              </a:spcBef>
              <a:spcAft>
                <a:spcPts val="0"/>
              </a:spcAft>
              <a:buClr>
                <a:schemeClr val="dk2"/>
              </a:buClr>
              <a:buSzPts val="1200"/>
              <a:buFont typeface="Inter Medium"/>
              <a:buAutoNum type="romanLcPeriod"/>
              <a:defRPr sz="1600">
                <a:solidFill>
                  <a:schemeClr val="dk2"/>
                </a:solidFill>
                <a:latin typeface="Inter Medium"/>
                <a:ea typeface="Inter Medium"/>
                <a:cs typeface="Inter Medium"/>
                <a:sym typeface="Inter Medium"/>
              </a:defRPr>
            </a:lvl3pPr>
            <a:lvl4pPr marL="2438339" lvl="3" indent="-406390" rtl="0">
              <a:lnSpc>
                <a:spcPct val="90000"/>
              </a:lnSpc>
              <a:spcBef>
                <a:spcPts val="0"/>
              </a:spcBef>
              <a:spcAft>
                <a:spcPts val="0"/>
              </a:spcAft>
              <a:buClr>
                <a:schemeClr val="dk2"/>
              </a:buClr>
              <a:buSzPts val="1200"/>
              <a:buFont typeface="Inter Medium"/>
              <a:buAutoNum type="arabicPeriod"/>
              <a:defRPr sz="1600">
                <a:solidFill>
                  <a:schemeClr val="dk2"/>
                </a:solidFill>
                <a:latin typeface="Inter Medium"/>
                <a:ea typeface="Inter Medium"/>
                <a:cs typeface="Inter Medium"/>
                <a:sym typeface="Inter Medium"/>
              </a:defRPr>
            </a:lvl4pPr>
            <a:lvl5pPr marL="3047924" lvl="4" indent="-406390" rtl="0">
              <a:lnSpc>
                <a:spcPct val="90000"/>
              </a:lnSpc>
              <a:spcBef>
                <a:spcPts val="0"/>
              </a:spcBef>
              <a:spcAft>
                <a:spcPts val="0"/>
              </a:spcAft>
              <a:buClr>
                <a:schemeClr val="dk2"/>
              </a:buClr>
              <a:buSzPts val="1200"/>
              <a:buFont typeface="Inter Medium"/>
              <a:buAutoNum type="alphaLcPeriod"/>
              <a:defRPr sz="1600">
                <a:solidFill>
                  <a:schemeClr val="dk2"/>
                </a:solidFill>
                <a:latin typeface="Inter Medium"/>
                <a:ea typeface="Inter Medium"/>
                <a:cs typeface="Inter Medium"/>
                <a:sym typeface="Inter Medium"/>
              </a:defRPr>
            </a:lvl5pPr>
            <a:lvl6pPr marL="3657509" lvl="5" indent="-406390" rtl="0">
              <a:lnSpc>
                <a:spcPct val="90000"/>
              </a:lnSpc>
              <a:spcBef>
                <a:spcPts val="0"/>
              </a:spcBef>
              <a:spcAft>
                <a:spcPts val="0"/>
              </a:spcAft>
              <a:buClr>
                <a:schemeClr val="dk2"/>
              </a:buClr>
              <a:buSzPts val="1200"/>
              <a:buFont typeface="Inter Medium"/>
              <a:buAutoNum type="romanLcPeriod"/>
              <a:defRPr sz="1600">
                <a:solidFill>
                  <a:schemeClr val="dk2"/>
                </a:solidFill>
                <a:latin typeface="Inter Medium"/>
                <a:ea typeface="Inter Medium"/>
                <a:cs typeface="Inter Medium"/>
                <a:sym typeface="Inter Medium"/>
              </a:defRPr>
            </a:lvl6pPr>
            <a:lvl7pPr marL="4267093" lvl="6" indent="-406390" rtl="0">
              <a:lnSpc>
                <a:spcPct val="90000"/>
              </a:lnSpc>
              <a:spcBef>
                <a:spcPts val="0"/>
              </a:spcBef>
              <a:spcAft>
                <a:spcPts val="0"/>
              </a:spcAft>
              <a:buClr>
                <a:schemeClr val="dk2"/>
              </a:buClr>
              <a:buSzPts val="1200"/>
              <a:buFont typeface="Inter Medium"/>
              <a:buAutoNum type="arabicPeriod"/>
              <a:defRPr sz="1600">
                <a:solidFill>
                  <a:schemeClr val="dk2"/>
                </a:solidFill>
                <a:latin typeface="Inter Medium"/>
                <a:ea typeface="Inter Medium"/>
                <a:cs typeface="Inter Medium"/>
                <a:sym typeface="Inter Medium"/>
              </a:defRPr>
            </a:lvl7pPr>
            <a:lvl8pPr marL="4876678" lvl="7" indent="-406390" rtl="0">
              <a:lnSpc>
                <a:spcPct val="90000"/>
              </a:lnSpc>
              <a:spcBef>
                <a:spcPts val="0"/>
              </a:spcBef>
              <a:spcAft>
                <a:spcPts val="0"/>
              </a:spcAft>
              <a:buClr>
                <a:schemeClr val="dk2"/>
              </a:buClr>
              <a:buSzPts val="1200"/>
              <a:buFont typeface="Inter Medium"/>
              <a:buAutoNum type="alphaLcPeriod"/>
              <a:defRPr sz="1600">
                <a:solidFill>
                  <a:schemeClr val="dk2"/>
                </a:solidFill>
                <a:latin typeface="Inter Medium"/>
                <a:ea typeface="Inter Medium"/>
                <a:cs typeface="Inter Medium"/>
                <a:sym typeface="Inter Medium"/>
              </a:defRPr>
            </a:lvl8pPr>
            <a:lvl9pPr marL="5486263" lvl="8" indent="-406390" rtl="0">
              <a:lnSpc>
                <a:spcPct val="90000"/>
              </a:lnSpc>
              <a:spcBef>
                <a:spcPts val="0"/>
              </a:spcBef>
              <a:spcAft>
                <a:spcPts val="0"/>
              </a:spcAft>
              <a:buClr>
                <a:schemeClr val="dk2"/>
              </a:buClr>
              <a:buSzPts val="1200"/>
              <a:buFont typeface="Inter Medium"/>
              <a:buAutoNum type="romanLcPeriod"/>
              <a:defRPr sz="1600">
                <a:solidFill>
                  <a:schemeClr val="dk2"/>
                </a:solidFill>
                <a:latin typeface="Inter Medium"/>
                <a:ea typeface="Inter Medium"/>
                <a:cs typeface="Inter Medium"/>
                <a:sym typeface="Inter Medium"/>
              </a:defRPr>
            </a:lvl9pPr>
          </a:lstStyle>
          <a:p>
            <a:endParaRPr/>
          </a:p>
        </p:txBody>
      </p:sp>
      <p:sp>
        <p:nvSpPr>
          <p:cNvPr id="1588" name="Google Shape;1588;p33"/>
          <p:cNvSpPr>
            <a:spLocks noGrp="1"/>
          </p:cNvSpPr>
          <p:nvPr>
            <p:ph type="body" idx="6"/>
          </p:nvPr>
        </p:nvSpPr>
        <p:spPr>
          <a:xfrm>
            <a:off x="3312971" y="4606505"/>
            <a:ext cx="2723200" cy="1527600"/>
          </a:xfrm>
          <a:prstGeom prst="roundRect">
            <a:avLst>
              <a:gd name="adj" fmla="val 8792"/>
            </a:avLst>
          </a:prstGeom>
          <a:solidFill>
            <a:schemeClr val="accent1"/>
          </a:solidFill>
          <a:ln>
            <a:noFill/>
          </a:ln>
        </p:spPr>
        <p:txBody>
          <a:bodyPr spcFirstLastPara="1" wrap="square" lIns="108000" tIns="108000" rIns="108000" bIns="34275" anchor="t" anchorCtr="0">
            <a:normAutofit/>
          </a:bodyPr>
          <a:lstStyle>
            <a:lvl1pPr marL="609585" lvl="0" indent="-406390" rtl="0">
              <a:lnSpc>
                <a:spcPct val="90000"/>
              </a:lnSpc>
              <a:spcBef>
                <a:spcPts val="0"/>
              </a:spcBef>
              <a:spcAft>
                <a:spcPts val="0"/>
              </a:spcAft>
              <a:buClr>
                <a:schemeClr val="dk2"/>
              </a:buClr>
              <a:buSzPts val="1200"/>
              <a:buFont typeface="Inter Medium"/>
              <a:buAutoNum type="alphaUcPeriod"/>
              <a:defRPr sz="1600">
                <a:solidFill>
                  <a:schemeClr val="dk2"/>
                </a:solidFill>
                <a:latin typeface="Inter Medium"/>
                <a:ea typeface="Inter Medium"/>
                <a:cs typeface="Inter Medium"/>
                <a:sym typeface="Inter Medium"/>
              </a:defRPr>
            </a:lvl1pPr>
            <a:lvl2pPr marL="1219170" lvl="1" indent="-406390" rtl="0">
              <a:lnSpc>
                <a:spcPct val="90000"/>
              </a:lnSpc>
              <a:spcBef>
                <a:spcPts val="0"/>
              </a:spcBef>
              <a:spcAft>
                <a:spcPts val="0"/>
              </a:spcAft>
              <a:buClr>
                <a:schemeClr val="dk2"/>
              </a:buClr>
              <a:buSzPts val="1200"/>
              <a:buFont typeface="Inter Medium"/>
              <a:buAutoNum type="alphaLcPeriod"/>
              <a:defRPr sz="1600">
                <a:solidFill>
                  <a:schemeClr val="dk2"/>
                </a:solidFill>
                <a:latin typeface="Inter Medium"/>
                <a:ea typeface="Inter Medium"/>
                <a:cs typeface="Inter Medium"/>
                <a:sym typeface="Inter Medium"/>
              </a:defRPr>
            </a:lvl2pPr>
            <a:lvl3pPr marL="1828754" lvl="2" indent="-406390" rtl="0">
              <a:lnSpc>
                <a:spcPct val="90000"/>
              </a:lnSpc>
              <a:spcBef>
                <a:spcPts val="0"/>
              </a:spcBef>
              <a:spcAft>
                <a:spcPts val="0"/>
              </a:spcAft>
              <a:buClr>
                <a:schemeClr val="dk2"/>
              </a:buClr>
              <a:buSzPts val="1200"/>
              <a:buFont typeface="Inter Medium"/>
              <a:buAutoNum type="romanLcPeriod"/>
              <a:defRPr sz="1600">
                <a:solidFill>
                  <a:schemeClr val="dk2"/>
                </a:solidFill>
                <a:latin typeface="Inter Medium"/>
                <a:ea typeface="Inter Medium"/>
                <a:cs typeface="Inter Medium"/>
                <a:sym typeface="Inter Medium"/>
              </a:defRPr>
            </a:lvl3pPr>
            <a:lvl4pPr marL="2438339" lvl="3" indent="-406390" rtl="0">
              <a:lnSpc>
                <a:spcPct val="90000"/>
              </a:lnSpc>
              <a:spcBef>
                <a:spcPts val="0"/>
              </a:spcBef>
              <a:spcAft>
                <a:spcPts val="0"/>
              </a:spcAft>
              <a:buClr>
                <a:schemeClr val="dk2"/>
              </a:buClr>
              <a:buSzPts val="1200"/>
              <a:buFont typeface="Inter Medium"/>
              <a:buAutoNum type="arabicPeriod"/>
              <a:defRPr sz="1600">
                <a:solidFill>
                  <a:schemeClr val="dk2"/>
                </a:solidFill>
                <a:latin typeface="Inter Medium"/>
                <a:ea typeface="Inter Medium"/>
                <a:cs typeface="Inter Medium"/>
                <a:sym typeface="Inter Medium"/>
              </a:defRPr>
            </a:lvl4pPr>
            <a:lvl5pPr marL="3047924" lvl="4" indent="-406390" rtl="0">
              <a:lnSpc>
                <a:spcPct val="90000"/>
              </a:lnSpc>
              <a:spcBef>
                <a:spcPts val="0"/>
              </a:spcBef>
              <a:spcAft>
                <a:spcPts val="0"/>
              </a:spcAft>
              <a:buClr>
                <a:schemeClr val="dk2"/>
              </a:buClr>
              <a:buSzPts val="1200"/>
              <a:buFont typeface="Inter Medium"/>
              <a:buAutoNum type="alphaLcPeriod"/>
              <a:defRPr sz="1600">
                <a:solidFill>
                  <a:schemeClr val="dk2"/>
                </a:solidFill>
                <a:latin typeface="Inter Medium"/>
                <a:ea typeface="Inter Medium"/>
                <a:cs typeface="Inter Medium"/>
                <a:sym typeface="Inter Medium"/>
              </a:defRPr>
            </a:lvl5pPr>
            <a:lvl6pPr marL="3657509" lvl="5" indent="-406390" rtl="0">
              <a:lnSpc>
                <a:spcPct val="90000"/>
              </a:lnSpc>
              <a:spcBef>
                <a:spcPts val="0"/>
              </a:spcBef>
              <a:spcAft>
                <a:spcPts val="0"/>
              </a:spcAft>
              <a:buClr>
                <a:schemeClr val="dk2"/>
              </a:buClr>
              <a:buSzPts val="1200"/>
              <a:buFont typeface="Inter Medium"/>
              <a:buAutoNum type="romanLcPeriod"/>
              <a:defRPr sz="1600">
                <a:solidFill>
                  <a:schemeClr val="dk2"/>
                </a:solidFill>
                <a:latin typeface="Inter Medium"/>
                <a:ea typeface="Inter Medium"/>
                <a:cs typeface="Inter Medium"/>
                <a:sym typeface="Inter Medium"/>
              </a:defRPr>
            </a:lvl6pPr>
            <a:lvl7pPr marL="4267093" lvl="6" indent="-406390" rtl="0">
              <a:lnSpc>
                <a:spcPct val="90000"/>
              </a:lnSpc>
              <a:spcBef>
                <a:spcPts val="0"/>
              </a:spcBef>
              <a:spcAft>
                <a:spcPts val="0"/>
              </a:spcAft>
              <a:buClr>
                <a:schemeClr val="dk2"/>
              </a:buClr>
              <a:buSzPts val="1200"/>
              <a:buFont typeface="Inter Medium"/>
              <a:buAutoNum type="arabicPeriod"/>
              <a:defRPr sz="1600">
                <a:solidFill>
                  <a:schemeClr val="dk2"/>
                </a:solidFill>
                <a:latin typeface="Inter Medium"/>
                <a:ea typeface="Inter Medium"/>
                <a:cs typeface="Inter Medium"/>
                <a:sym typeface="Inter Medium"/>
              </a:defRPr>
            </a:lvl7pPr>
            <a:lvl8pPr marL="4876678" lvl="7" indent="-406390" rtl="0">
              <a:lnSpc>
                <a:spcPct val="90000"/>
              </a:lnSpc>
              <a:spcBef>
                <a:spcPts val="0"/>
              </a:spcBef>
              <a:spcAft>
                <a:spcPts val="0"/>
              </a:spcAft>
              <a:buClr>
                <a:schemeClr val="dk2"/>
              </a:buClr>
              <a:buSzPts val="1200"/>
              <a:buFont typeface="Inter Medium"/>
              <a:buAutoNum type="alphaLcPeriod"/>
              <a:defRPr sz="1600">
                <a:solidFill>
                  <a:schemeClr val="dk2"/>
                </a:solidFill>
                <a:latin typeface="Inter Medium"/>
                <a:ea typeface="Inter Medium"/>
                <a:cs typeface="Inter Medium"/>
                <a:sym typeface="Inter Medium"/>
              </a:defRPr>
            </a:lvl8pPr>
            <a:lvl9pPr marL="5486263" lvl="8" indent="-406390" rtl="0">
              <a:lnSpc>
                <a:spcPct val="90000"/>
              </a:lnSpc>
              <a:spcBef>
                <a:spcPts val="0"/>
              </a:spcBef>
              <a:spcAft>
                <a:spcPts val="0"/>
              </a:spcAft>
              <a:buClr>
                <a:schemeClr val="dk2"/>
              </a:buClr>
              <a:buSzPts val="1200"/>
              <a:buFont typeface="Inter Medium"/>
              <a:buAutoNum type="romanLcPeriod"/>
              <a:defRPr sz="1600">
                <a:solidFill>
                  <a:schemeClr val="dk2"/>
                </a:solidFill>
                <a:latin typeface="Inter Medium"/>
                <a:ea typeface="Inter Medium"/>
                <a:cs typeface="Inter Medium"/>
                <a:sym typeface="Inter Medium"/>
              </a:defRPr>
            </a:lvl9pPr>
          </a:lstStyle>
          <a:p>
            <a:endParaRPr/>
          </a:p>
        </p:txBody>
      </p:sp>
      <p:sp>
        <p:nvSpPr>
          <p:cNvPr id="1589" name="Google Shape;1589;p33"/>
          <p:cNvSpPr>
            <a:spLocks noGrp="1"/>
          </p:cNvSpPr>
          <p:nvPr>
            <p:ph type="pic" idx="7"/>
          </p:nvPr>
        </p:nvSpPr>
        <p:spPr>
          <a:xfrm>
            <a:off x="6149633" y="1335200"/>
            <a:ext cx="5560800" cy="4798800"/>
          </a:xfrm>
          <a:prstGeom prst="roundRect">
            <a:avLst>
              <a:gd name="adj" fmla="val 2159"/>
            </a:avLst>
          </a:prstGeom>
          <a:noFill/>
          <a:ln>
            <a:noFill/>
          </a:ln>
        </p:spPr>
      </p:sp>
      <p:sp>
        <p:nvSpPr>
          <p:cNvPr id="1590" name="Google Shape;1590;p33"/>
          <p:cNvSpPr/>
          <p:nvPr/>
        </p:nvSpPr>
        <p:spPr>
          <a:xfrm>
            <a:off x="481601" y="414630"/>
            <a:ext cx="349111" cy="305471"/>
          </a:xfrm>
          <a:custGeom>
            <a:avLst/>
            <a:gdLst/>
            <a:ahLst/>
            <a:cxnLst/>
            <a:rect l="l" t="t" r="r" b="b"/>
            <a:pathLst>
              <a:path w="1586865" h="1388506" extrusionOk="0">
                <a:moveTo>
                  <a:pt x="1083683" y="969931"/>
                </a:moveTo>
                <a:lnTo>
                  <a:pt x="1083683" y="579692"/>
                </a:lnTo>
                <a:lnTo>
                  <a:pt x="849297" y="969931"/>
                </a:lnTo>
                <a:lnTo>
                  <a:pt x="848892" y="969931"/>
                </a:lnTo>
                <a:cubicBezTo>
                  <a:pt x="848892" y="969931"/>
                  <a:pt x="848892" y="969931"/>
                  <a:pt x="848892" y="969931"/>
                </a:cubicBezTo>
                <a:lnTo>
                  <a:pt x="738783" y="969931"/>
                </a:lnTo>
                <a:lnTo>
                  <a:pt x="738783" y="577668"/>
                </a:lnTo>
                <a:lnTo>
                  <a:pt x="549735" y="892612"/>
                </a:lnTo>
                <a:cubicBezTo>
                  <a:pt x="527876" y="929449"/>
                  <a:pt x="510873" y="958191"/>
                  <a:pt x="503992" y="969931"/>
                </a:cubicBezTo>
                <a:lnTo>
                  <a:pt x="393073" y="969931"/>
                </a:lnTo>
                <a:lnTo>
                  <a:pt x="393073" y="418576"/>
                </a:lnTo>
                <a:lnTo>
                  <a:pt x="503992" y="418576"/>
                </a:lnTo>
                <a:lnTo>
                  <a:pt x="502777" y="760643"/>
                </a:lnTo>
                <a:lnTo>
                  <a:pt x="503587" y="782098"/>
                </a:lnTo>
                <a:lnTo>
                  <a:pt x="721781" y="418981"/>
                </a:lnTo>
                <a:lnTo>
                  <a:pt x="721781" y="418981"/>
                </a:lnTo>
                <a:lnTo>
                  <a:pt x="721781" y="418981"/>
                </a:lnTo>
                <a:lnTo>
                  <a:pt x="739188" y="418981"/>
                </a:lnTo>
                <a:lnTo>
                  <a:pt x="847678" y="418981"/>
                </a:lnTo>
                <a:cubicBezTo>
                  <a:pt x="847678" y="418981"/>
                  <a:pt x="848487" y="722995"/>
                  <a:pt x="848892" y="783717"/>
                </a:cubicBezTo>
                <a:lnTo>
                  <a:pt x="1067895" y="418981"/>
                </a:lnTo>
                <a:lnTo>
                  <a:pt x="1067895" y="418981"/>
                </a:lnTo>
                <a:lnTo>
                  <a:pt x="1067895" y="418981"/>
                </a:lnTo>
                <a:lnTo>
                  <a:pt x="1085302" y="418981"/>
                </a:lnTo>
                <a:lnTo>
                  <a:pt x="1193387" y="418981"/>
                </a:lnTo>
                <a:lnTo>
                  <a:pt x="1193387" y="970336"/>
                </a:lnTo>
                <a:lnTo>
                  <a:pt x="1083683" y="970336"/>
                </a:lnTo>
                <a:close/>
                <a:moveTo>
                  <a:pt x="1190149" y="0"/>
                </a:moveTo>
                <a:lnTo>
                  <a:pt x="396716" y="0"/>
                </a:lnTo>
                <a:lnTo>
                  <a:pt x="0" y="694253"/>
                </a:lnTo>
                <a:lnTo>
                  <a:pt x="396716" y="1388507"/>
                </a:lnTo>
                <a:lnTo>
                  <a:pt x="1190149" y="1388507"/>
                </a:lnTo>
                <a:lnTo>
                  <a:pt x="1586865" y="694253"/>
                </a:lnTo>
                <a:lnTo>
                  <a:pt x="1190149" y="0"/>
                </a:lnTo>
                <a:close/>
              </a:path>
            </a:pathLst>
          </a:custGeom>
          <a:solidFill>
            <a:schemeClr val="dk2"/>
          </a:solidFill>
          <a:ln>
            <a:noFill/>
          </a:ln>
        </p:spPr>
        <p:txBody>
          <a:bodyPr spcFirstLastPara="1" wrap="square" lIns="91433" tIns="45700" rIns="91433" bIns="45700"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591" name="Google Shape;1591;p33"/>
          <p:cNvSpPr txBox="1"/>
          <p:nvPr/>
        </p:nvSpPr>
        <p:spPr>
          <a:xfrm>
            <a:off x="481600" y="6245247"/>
            <a:ext cx="1288400" cy="273200"/>
          </a:xfrm>
          <a:prstGeom prst="rect">
            <a:avLst/>
          </a:prstGeom>
          <a:noFill/>
          <a:ln>
            <a:noFill/>
          </a:ln>
        </p:spPr>
        <p:txBody>
          <a:bodyPr spcFirstLastPara="1" wrap="square" lIns="0" tIns="0" rIns="0" bIns="0" anchor="b" anchorCtr="0">
            <a:noAutofit/>
          </a:bodyPr>
          <a:lstStyle/>
          <a:p>
            <a:pPr marL="0" lvl="0" indent="0" algn="l" rtl="0">
              <a:spcBef>
                <a:spcPts val="0"/>
              </a:spcBef>
              <a:spcAft>
                <a:spcPts val="0"/>
              </a:spcAft>
              <a:buNone/>
            </a:pPr>
            <a:r>
              <a:rPr lang="en-GB" sz="667">
                <a:solidFill>
                  <a:schemeClr val="dk2"/>
                </a:solidFill>
                <a:latin typeface="Inter"/>
                <a:ea typeface="Inter"/>
                <a:cs typeface="Inter"/>
                <a:sym typeface="Inter"/>
              </a:rPr>
              <a:t>Multiverse</a:t>
            </a:r>
            <a:endParaRPr sz="667">
              <a:solidFill>
                <a:schemeClr val="dk2"/>
              </a:solidFill>
              <a:latin typeface="Inter"/>
              <a:ea typeface="Inter"/>
              <a:cs typeface="Inter"/>
              <a:sym typeface="Inter"/>
            </a:endParaRPr>
          </a:p>
        </p:txBody>
      </p:sp>
    </p:spTree>
    <p:extLst>
      <p:ext uri="{BB962C8B-B14F-4D97-AF65-F5344CB8AC3E}">
        <p14:creationId xmlns:p14="http://schemas.microsoft.com/office/powerpoint/2010/main" val="207104432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matchingName="Agenda 6 Rectangles and Image -  Lunar">
  <p:cSld name="Agenda 6 Rectangles and Image -  Lunar">
    <p:bg>
      <p:bgPr>
        <a:solidFill>
          <a:schemeClr val="lt2"/>
        </a:solidFill>
        <a:effectLst/>
      </p:bgPr>
    </p:bg>
    <p:spTree>
      <p:nvGrpSpPr>
        <p:cNvPr id="1" name="Shape 1592"/>
        <p:cNvGrpSpPr/>
        <p:nvPr/>
      </p:nvGrpSpPr>
      <p:grpSpPr>
        <a:xfrm>
          <a:off x="0" y="0"/>
          <a:ext cx="0" cy="0"/>
          <a:chOff x="0" y="0"/>
          <a:chExt cx="0" cy="0"/>
        </a:xfrm>
      </p:grpSpPr>
      <p:sp>
        <p:nvSpPr>
          <p:cNvPr id="1593" name="Google Shape;1593;p34"/>
          <p:cNvSpPr txBox="1">
            <a:spLocks noGrp="1"/>
          </p:cNvSpPr>
          <p:nvPr>
            <p:ph type="sldNum" idx="12"/>
          </p:nvPr>
        </p:nvSpPr>
        <p:spPr>
          <a:xfrm>
            <a:off x="10978845" y="5993647"/>
            <a:ext cx="731600" cy="524800"/>
          </a:xfrm>
          <a:prstGeom prst="rect">
            <a:avLst/>
          </a:prstGeom>
        </p:spPr>
        <p:txBody>
          <a:bodyPr spcFirstLastPara="1" wrap="square" lIns="91425" tIns="91425" rIns="0" bIns="0" anchor="b" anchorCtr="0">
            <a:noAutofit/>
          </a:bodyPr>
          <a:lstStyle>
            <a:lvl1pPr lvl="0" algn="r" rtl="0">
              <a:buNone/>
              <a:defRPr sz="667">
                <a:solidFill>
                  <a:schemeClr val="dk2"/>
                </a:solidFill>
                <a:latin typeface="Inter"/>
                <a:ea typeface="Inter"/>
                <a:cs typeface="Inter"/>
                <a:sym typeface="Inter"/>
              </a:defRPr>
            </a:lvl1pPr>
            <a:lvl2pPr lvl="1" algn="r" rtl="0">
              <a:buNone/>
              <a:defRPr sz="667">
                <a:solidFill>
                  <a:schemeClr val="dk2"/>
                </a:solidFill>
                <a:latin typeface="Inter"/>
                <a:ea typeface="Inter"/>
                <a:cs typeface="Inter"/>
                <a:sym typeface="Inter"/>
              </a:defRPr>
            </a:lvl2pPr>
            <a:lvl3pPr lvl="2" algn="r" rtl="0">
              <a:buNone/>
              <a:defRPr sz="667">
                <a:solidFill>
                  <a:schemeClr val="dk2"/>
                </a:solidFill>
                <a:latin typeface="Inter"/>
                <a:ea typeface="Inter"/>
                <a:cs typeface="Inter"/>
                <a:sym typeface="Inter"/>
              </a:defRPr>
            </a:lvl3pPr>
            <a:lvl4pPr lvl="3" algn="r" rtl="0">
              <a:buNone/>
              <a:defRPr sz="667">
                <a:solidFill>
                  <a:schemeClr val="dk2"/>
                </a:solidFill>
                <a:latin typeface="Inter"/>
                <a:ea typeface="Inter"/>
                <a:cs typeface="Inter"/>
                <a:sym typeface="Inter"/>
              </a:defRPr>
            </a:lvl4pPr>
            <a:lvl5pPr lvl="4" algn="r" rtl="0">
              <a:buNone/>
              <a:defRPr sz="667">
                <a:solidFill>
                  <a:schemeClr val="dk2"/>
                </a:solidFill>
                <a:latin typeface="Inter"/>
                <a:ea typeface="Inter"/>
                <a:cs typeface="Inter"/>
                <a:sym typeface="Inter"/>
              </a:defRPr>
            </a:lvl5pPr>
            <a:lvl6pPr lvl="5" algn="r" rtl="0">
              <a:buNone/>
              <a:defRPr sz="667">
                <a:solidFill>
                  <a:schemeClr val="dk2"/>
                </a:solidFill>
                <a:latin typeface="Inter"/>
                <a:ea typeface="Inter"/>
                <a:cs typeface="Inter"/>
                <a:sym typeface="Inter"/>
              </a:defRPr>
            </a:lvl6pPr>
            <a:lvl7pPr lvl="6" algn="r" rtl="0">
              <a:buNone/>
              <a:defRPr sz="667">
                <a:solidFill>
                  <a:schemeClr val="dk2"/>
                </a:solidFill>
                <a:latin typeface="Inter"/>
                <a:ea typeface="Inter"/>
                <a:cs typeface="Inter"/>
                <a:sym typeface="Inter"/>
              </a:defRPr>
            </a:lvl7pPr>
            <a:lvl8pPr lvl="7" algn="r" rtl="0">
              <a:buNone/>
              <a:defRPr sz="667">
                <a:solidFill>
                  <a:schemeClr val="dk2"/>
                </a:solidFill>
                <a:latin typeface="Inter"/>
                <a:ea typeface="Inter"/>
                <a:cs typeface="Inter"/>
                <a:sym typeface="Inter"/>
              </a:defRPr>
            </a:lvl8pPr>
            <a:lvl9pPr lvl="8" algn="r" rtl="0">
              <a:buNone/>
              <a:defRPr sz="667">
                <a:solidFill>
                  <a:schemeClr val="dk2"/>
                </a:solidFill>
                <a:latin typeface="Inter"/>
                <a:ea typeface="Inter"/>
                <a:cs typeface="Inter"/>
                <a:sym typeface="Inter"/>
              </a:defRPr>
            </a:lvl9pPr>
          </a:lstStyle>
          <a:p>
            <a:fld id="{00000000-1234-1234-1234-123412341234}" type="slidenum">
              <a:rPr lang="en-GB" smtClean="0"/>
              <a:pPr/>
              <a:t>‹#›</a:t>
            </a:fld>
            <a:endParaRPr lang="en-GB"/>
          </a:p>
        </p:txBody>
      </p:sp>
      <p:sp>
        <p:nvSpPr>
          <p:cNvPr id="1594" name="Google Shape;1594;p34"/>
          <p:cNvSpPr>
            <a:spLocks noGrp="1"/>
          </p:cNvSpPr>
          <p:nvPr>
            <p:ph type="body" idx="1"/>
          </p:nvPr>
        </p:nvSpPr>
        <p:spPr>
          <a:xfrm>
            <a:off x="481600" y="1335200"/>
            <a:ext cx="2723200" cy="1527600"/>
          </a:xfrm>
          <a:prstGeom prst="roundRect">
            <a:avLst>
              <a:gd name="adj" fmla="val 8792"/>
            </a:avLst>
          </a:prstGeom>
          <a:solidFill>
            <a:schemeClr val="accent1"/>
          </a:solidFill>
          <a:ln>
            <a:noFill/>
          </a:ln>
        </p:spPr>
        <p:txBody>
          <a:bodyPr spcFirstLastPara="1" wrap="square" lIns="108000" tIns="108000" rIns="108000" bIns="34275" anchor="t" anchorCtr="0">
            <a:normAutofit/>
          </a:bodyPr>
          <a:lstStyle>
            <a:lvl1pPr marL="609585" lvl="0" indent="-406390" rtl="0">
              <a:lnSpc>
                <a:spcPct val="90000"/>
              </a:lnSpc>
              <a:spcBef>
                <a:spcPts val="0"/>
              </a:spcBef>
              <a:spcAft>
                <a:spcPts val="0"/>
              </a:spcAft>
              <a:buClr>
                <a:schemeClr val="dk2"/>
              </a:buClr>
              <a:buSzPts val="1200"/>
              <a:buFont typeface="Inter Medium"/>
              <a:buAutoNum type="alphaUcPeriod"/>
              <a:defRPr sz="1600">
                <a:solidFill>
                  <a:schemeClr val="dk2"/>
                </a:solidFill>
                <a:latin typeface="Inter Medium"/>
                <a:ea typeface="Inter Medium"/>
                <a:cs typeface="Inter Medium"/>
                <a:sym typeface="Inter Medium"/>
              </a:defRPr>
            </a:lvl1pPr>
            <a:lvl2pPr marL="1219170" lvl="1" indent="-406390" rtl="0">
              <a:lnSpc>
                <a:spcPct val="90000"/>
              </a:lnSpc>
              <a:spcBef>
                <a:spcPts val="0"/>
              </a:spcBef>
              <a:spcAft>
                <a:spcPts val="0"/>
              </a:spcAft>
              <a:buClr>
                <a:schemeClr val="dk2"/>
              </a:buClr>
              <a:buSzPts val="1200"/>
              <a:buFont typeface="Inter Medium"/>
              <a:buAutoNum type="alphaLcPeriod"/>
              <a:defRPr sz="1600">
                <a:solidFill>
                  <a:schemeClr val="dk2"/>
                </a:solidFill>
                <a:latin typeface="Inter Medium"/>
                <a:ea typeface="Inter Medium"/>
                <a:cs typeface="Inter Medium"/>
                <a:sym typeface="Inter Medium"/>
              </a:defRPr>
            </a:lvl2pPr>
            <a:lvl3pPr marL="1828754" lvl="2" indent="-406390" rtl="0">
              <a:lnSpc>
                <a:spcPct val="90000"/>
              </a:lnSpc>
              <a:spcBef>
                <a:spcPts val="0"/>
              </a:spcBef>
              <a:spcAft>
                <a:spcPts val="0"/>
              </a:spcAft>
              <a:buClr>
                <a:schemeClr val="dk2"/>
              </a:buClr>
              <a:buSzPts val="1200"/>
              <a:buFont typeface="Inter Medium"/>
              <a:buAutoNum type="romanLcPeriod"/>
              <a:defRPr sz="1600">
                <a:solidFill>
                  <a:schemeClr val="dk2"/>
                </a:solidFill>
                <a:latin typeface="Inter Medium"/>
                <a:ea typeface="Inter Medium"/>
                <a:cs typeface="Inter Medium"/>
                <a:sym typeface="Inter Medium"/>
              </a:defRPr>
            </a:lvl3pPr>
            <a:lvl4pPr marL="2438339" lvl="3" indent="-406390" rtl="0">
              <a:lnSpc>
                <a:spcPct val="90000"/>
              </a:lnSpc>
              <a:spcBef>
                <a:spcPts val="0"/>
              </a:spcBef>
              <a:spcAft>
                <a:spcPts val="0"/>
              </a:spcAft>
              <a:buClr>
                <a:schemeClr val="dk2"/>
              </a:buClr>
              <a:buSzPts val="1200"/>
              <a:buFont typeface="Inter Medium"/>
              <a:buAutoNum type="arabicPeriod"/>
              <a:defRPr sz="1600">
                <a:solidFill>
                  <a:schemeClr val="dk2"/>
                </a:solidFill>
                <a:latin typeface="Inter Medium"/>
                <a:ea typeface="Inter Medium"/>
                <a:cs typeface="Inter Medium"/>
                <a:sym typeface="Inter Medium"/>
              </a:defRPr>
            </a:lvl4pPr>
            <a:lvl5pPr marL="3047924" lvl="4" indent="-406390" rtl="0">
              <a:lnSpc>
                <a:spcPct val="90000"/>
              </a:lnSpc>
              <a:spcBef>
                <a:spcPts val="0"/>
              </a:spcBef>
              <a:spcAft>
                <a:spcPts val="0"/>
              </a:spcAft>
              <a:buClr>
                <a:schemeClr val="dk2"/>
              </a:buClr>
              <a:buSzPts val="1200"/>
              <a:buFont typeface="Inter Medium"/>
              <a:buAutoNum type="alphaLcPeriod"/>
              <a:defRPr sz="1600">
                <a:solidFill>
                  <a:schemeClr val="dk2"/>
                </a:solidFill>
                <a:latin typeface="Inter Medium"/>
                <a:ea typeface="Inter Medium"/>
                <a:cs typeface="Inter Medium"/>
                <a:sym typeface="Inter Medium"/>
              </a:defRPr>
            </a:lvl5pPr>
            <a:lvl6pPr marL="3657509" lvl="5" indent="-406390" rtl="0">
              <a:lnSpc>
                <a:spcPct val="90000"/>
              </a:lnSpc>
              <a:spcBef>
                <a:spcPts val="0"/>
              </a:spcBef>
              <a:spcAft>
                <a:spcPts val="0"/>
              </a:spcAft>
              <a:buClr>
                <a:schemeClr val="dk2"/>
              </a:buClr>
              <a:buSzPts val="1200"/>
              <a:buFont typeface="Inter Medium"/>
              <a:buAutoNum type="romanLcPeriod"/>
              <a:defRPr sz="1600">
                <a:solidFill>
                  <a:schemeClr val="dk2"/>
                </a:solidFill>
                <a:latin typeface="Inter Medium"/>
                <a:ea typeface="Inter Medium"/>
                <a:cs typeface="Inter Medium"/>
                <a:sym typeface="Inter Medium"/>
              </a:defRPr>
            </a:lvl6pPr>
            <a:lvl7pPr marL="4267093" lvl="6" indent="-406390" rtl="0">
              <a:lnSpc>
                <a:spcPct val="90000"/>
              </a:lnSpc>
              <a:spcBef>
                <a:spcPts val="0"/>
              </a:spcBef>
              <a:spcAft>
                <a:spcPts val="0"/>
              </a:spcAft>
              <a:buClr>
                <a:schemeClr val="dk2"/>
              </a:buClr>
              <a:buSzPts val="1200"/>
              <a:buFont typeface="Inter Medium"/>
              <a:buAutoNum type="arabicPeriod"/>
              <a:defRPr sz="1600">
                <a:solidFill>
                  <a:schemeClr val="dk2"/>
                </a:solidFill>
                <a:latin typeface="Inter Medium"/>
                <a:ea typeface="Inter Medium"/>
                <a:cs typeface="Inter Medium"/>
                <a:sym typeface="Inter Medium"/>
              </a:defRPr>
            </a:lvl7pPr>
            <a:lvl8pPr marL="4876678" lvl="7" indent="-406390" rtl="0">
              <a:lnSpc>
                <a:spcPct val="90000"/>
              </a:lnSpc>
              <a:spcBef>
                <a:spcPts val="0"/>
              </a:spcBef>
              <a:spcAft>
                <a:spcPts val="0"/>
              </a:spcAft>
              <a:buClr>
                <a:schemeClr val="dk2"/>
              </a:buClr>
              <a:buSzPts val="1200"/>
              <a:buFont typeface="Inter Medium"/>
              <a:buAutoNum type="alphaLcPeriod"/>
              <a:defRPr sz="1600">
                <a:solidFill>
                  <a:schemeClr val="dk2"/>
                </a:solidFill>
                <a:latin typeface="Inter Medium"/>
                <a:ea typeface="Inter Medium"/>
                <a:cs typeface="Inter Medium"/>
                <a:sym typeface="Inter Medium"/>
              </a:defRPr>
            </a:lvl8pPr>
            <a:lvl9pPr marL="5486263" lvl="8" indent="-406390" rtl="0">
              <a:lnSpc>
                <a:spcPct val="90000"/>
              </a:lnSpc>
              <a:spcBef>
                <a:spcPts val="0"/>
              </a:spcBef>
              <a:spcAft>
                <a:spcPts val="0"/>
              </a:spcAft>
              <a:buClr>
                <a:schemeClr val="dk2"/>
              </a:buClr>
              <a:buSzPts val="1200"/>
              <a:buFont typeface="Inter Medium"/>
              <a:buAutoNum type="romanLcPeriod"/>
              <a:defRPr sz="1600">
                <a:solidFill>
                  <a:schemeClr val="dk2"/>
                </a:solidFill>
                <a:latin typeface="Inter Medium"/>
                <a:ea typeface="Inter Medium"/>
                <a:cs typeface="Inter Medium"/>
                <a:sym typeface="Inter Medium"/>
              </a:defRPr>
            </a:lvl9pPr>
          </a:lstStyle>
          <a:p>
            <a:endParaRPr/>
          </a:p>
        </p:txBody>
      </p:sp>
      <p:sp>
        <p:nvSpPr>
          <p:cNvPr id="1595" name="Google Shape;1595;p34"/>
          <p:cNvSpPr>
            <a:spLocks noGrp="1"/>
          </p:cNvSpPr>
          <p:nvPr>
            <p:ph type="body" idx="2"/>
          </p:nvPr>
        </p:nvSpPr>
        <p:spPr>
          <a:xfrm>
            <a:off x="3312971" y="1335200"/>
            <a:ext cx="2723200" cy="1527600"/>
          </a:xfrm>
          <a:prstGeom prst="roundRect">
            <a:avLst>
              <a:gd name="adj" fmla="val 8792"/>
            </a:avLst>
          </a:prstGeom>
          <a:solidFill>
            <a:schemeClr val="accent1"/>
          </a:solidFill>
          <a:ln>
            <a:noFill/>
          </a:ln>
        </p:spPr>
        <p:txBody>
          <a:bodyPr spcFirstLastPara="1" wrap="square" lIns="108000" tIns="108000" rIns="108000" bIns="34275" anchor="t" anchorCtr="0">
            <a:normAutofit/>
          </a:bodyPr>
          <a:lstStyle>
            <a:lvl1pPr marL="609585" lvl="0" indent="-406390" rtl="0">
              <a:lnSpc>
                <a:spcPct val="90000"/>
              </a:lnSpc>
              <a:spcBef>
                <a:spcPts val="0"/>
              </a:spcBef>
              <a:spcAft>
                <a:spcPts val="0"/>
              </a:spcAft>
              <a:buClr>
                <a:schemeClr val="dk2"/>
              </a:buClr>
              <a:buSzPts val="1200"/>
              <a:buFont typeface="Inter Medium"/>
              <a:buAutoNum type="alphaUcPeriod"/>
              <a:defRPr sz="1600">
                <a:solidFill>
                  <a:schemeClr val="dk2"/>
                </a:solidFill>
                <a:latin typeface="Inter Medium"/>
                <a:ea typeface="Inter Medium"/>
                <a:cs typeface="Inter Medium"/>
                <a:sym typeface="Inter Medium"/>
              </a:defRPr>
            </a:lvl1pPr>
            <a:lvl2pPr marL="1219170" lvl="1" indent="-406390" rtl="0">
              <a:lnSpc>
                <a:spcPct val="90000"/>
              </a:lnSpc>
              <a:spcBef>
                <a:spcPts val="0"/>
              </a:spcBef>
              <a:spcAft>
                <a:spcPts val="0"/>
              </a:spcAft>
              <a:buClr>
                <a:schemeClr val="dk2"/>
              </a:buClr>
              <a:buSzPts val="1200"/>
              <a:buFont typeface="Inter Medium"/>
              <a:buAutoNum type="alphaLcPeriod"/>
              <a:defRPr sz="1600">
                <a:solidFill>
                  <a:schemeClr val="dk2"/>
                </a:solidFill>
                <a:latin typeface="Inter Medium"/>
                <a:ea typeface="Inter Medium"/>
                <a:cs typeface="Inter Medium"/>
                <a:sym typeface="Inter Medium"/>
              </a:defRPr>
            </a:lvl2pPr>
            <a:lvl3pPr marL="1828754" lvl="2" indent="-406390" rtl="0">
              <a:lnSpc>
                <a:spcPct val="90000"/>
              </a:lnSpc>
              <a:spcBef>
                <a:spcPts val="0"/>
              </a:spcBef>
              <a:spcAft>
                <a:spcPts val="0"/>
              </a:spcAft>
              <a:buClr>
                <a:schemeClr val="dk2"/>
              </a:buClr>
              <a:buSzPts val="1200"/>
              <a:buFont typeface="Inter Medium"/>
              <a:buAutoNum type="romanLcPeriod"/>
              <a:defRPr sz="1600">
                <a:solidFill>
                  <a:schemeClr val="dk2"/>
                </a:solidFill>
                <a:latin typeface="Inter Medium"/>
                <a:ea typeface="Inter Medium"/>
                <a:cs typeface="Inter Medium"/>
                <a:sym typeface="Inter Medium"/>
              </a:defRPr>
            </a:lvl3pPr>
            <a:lvl4pPr marL="2438339" lvl="3" indent="-406390" rtl="0">
              <a:lnSpc>
                <a:spcPct val="90000"/>
              </a:lnSpc>
              <a:spcBef>
                <a:spcPts val="0"/>
              </a:spcBef>
              <a:spcAft>
                <a:spcPts val="0"/>
              </a:spcAft>
              <a:buClr>
                <a:schemeClr val="dk2"/>
              </a:buClr>
              <a:buSzPts val="1200"/>
              <a:buFont typeface="Inter Medium"/>
              <a:buAutoNum type="arabicPeriod"/>
              <a:defRPr sz="1600">
                <a:solidFill>
                  <a:schemeClr val="dk2"/>
                </a:solidFill>
                <a:latin typeface="Inter Medium"/>
                <a:ea typeface="Inter Medium"/>
                <a:cs typeface="Inter Medium"/>
                <a:sym typeface="Inter Medium"/>
              </a:defRPr>
            </a:lvl4pPr>
            <a:lvl5pPr marL="3047924" lvl="4" indent="-406390" rtl="0">
              <a:lnSpc>
                <a:spcPct val="90000"/>
              </a:lnSpc>
              <a:spcBef>
                <a:spcPts val="0"/>
              </a:spcBef>
              <a:spcAft>
                <a:spcPts val="0"/>
              </a:spcAft>
              <a:buClr>
                <a:schemeClr val="dk2"/>
              </a:buClr>
              <a:buSzPts val="1200"/>
              <a:buFont typeface="Inter Medium"/>
              <a:buAutoNum type="alphaLcPeriod"/>
              <a:defRPr sz="1600">
                <a:solidFill>
                  <a:schemeClr val="dk2"/>
                </a:solidFill>
                <a:latin typeface="Inter Medium"/>
                <a:ea typeface="Inter Medium"/>
                <a:cs typeface="Inter Medium"/>
                <a:sym typeface="Inter Medium"/>
              </a:defRPr>
            </a:lvl5pPr>
            <a:lvl6pPr marL="3657509" lvl="5" indent="-406390" rtl="0">
              <a:lnSpc>
                <a:spcPct val="90000"/>
              </a:lnSpc>
              <a:spcBef>
                <a:spcPts val="0"/>
              </a:spcBef>
              <a:spcAft>
                <a:spcPts val="0"/>
              </a:spcAft>
              <a:buClr>
                <a:schemeClr val="dk2"/>
              </a:buClr>
              <a:buSzPts val="1200"/>
              <a:buFont typeface="Inter Medium"/>
              <a:buAutoNum type="romanLcPeriod"/>
              <a:defRPr sz="1600">
                <a:solidFill>
                  <a:schemeClr val="dk2"/>
                </a:solidFill>
                <a:latin typeface="Inter Medium"/>
                <a:ea typeface="Inter Medium"/>
                <a:cs typeface="Inter Medium"/>
                <a:sym typeface="Inter Medium"/>
              </a:defRPr>
            </a:lvl6pPr>
            <a:lvl7pPr marL="4267093" lvl="6" indent="-406390" rtl="0">
              <a:lnSpc>
                <a:spcPct val="90000"/>
              </a:lnSpc>
              <a:spcBef>
                <a:spcPts val="0"/>
              </a:spcBef>
              <a:spcAft>
                <a:spcPts val="0"/>
              </a:spcAft>
              <a:buClr>
                <a:schemeClr val="dk2"/>
              </a:buClr>
              <a:buSzPts val="1200"/>
              <a:buFont typeface="Inter Medium"/>
              <a:buAutoNum type="arabicPeriod"/>
              <a:defRPr sz="1600">
                <a:solidFill>
                  <a:schemeClr val="dk2"/>
                </a:solidFill>
                <a:latin typeface="Inter Medium"/>
                <a:ea typeface="Inter Medium"/>
                <a:cs typeface="Inter Medium"/>
                <a:sym typeface="Inter Medium"/>
              </a:defRPr>
            </a:lvl7pPr>
            <a:lvl8pPr marL="4876678" lvl="7" indent="-406390" rtl="0">
              <a:lnSpc>
                <a:spcPct val="90000"/>
              </a:lnSpc>
              <a:spcBef>
                <a:spcPts val="0"/>
              </a:spcBef>
              <a:spcAft>
                <a:spcPts val="0"/>
              </a:spcAft>
              <a:buClr>
                <a:schemeClr val="dk2"/>
              </a:buClr>
              <a:buSzPts val="1200"/>
              <a:buFont typeface="Inter Medium"/>
              <a:buAutoNum type="alphaLcPeriod"/>
              <a:defRPr sz="1600">
                <a:solidFill>
                  <a:schemeClr val="dk2"/>
                </a:solidFill>
                <a:latin typeface="Inter Medium"/>
                <a:ea typeface="Inter Medium"/>
                <a:cs typeface="Inter Medium"/>
                <a:sym typeface="Inter Medium"/>
              </a:defRPr>
            </a:lvl8pPr>
            <a:lvl9pPr marL="5486263" lvl="8" indent="-406390" rtl="0">
              <a:lnSpc>
                <a:spcPct val="90000"/>
              </a:lnSpc>
              <a:spcBef>
                <a:spcPts val="0"/>
              </a:spcBef>
              <a:spcAft>
                <a:spcPts val="0"/>
              </a:spcAft>
              <a:buClr>
                <a:schemeClr val="dk2"/>
              </a:buClr>
              <a:buSzPts val="1200"/>
              <a:buFont typeface="Inter Medium"/>
              <a:buAutoNum type="romanLcPeriod"/>
              <a:defRPr sz="1600">
                <a:solidFill>
                  <a:schemeClr val="dk2"/>
                </a:solidFill>
                <a:latin typeface="Inter Medium"/>
                <a:ea typeface="Inter Medium"/>
                <a:cs typeface="Inter Medium"/>
                <a:sym typeface="Inter Medium"/>
              </a:defRPr>
            </a:lvl9pPr>
          </a:lstStyle>
          <a:p>
            <a:endParaRPr/>
          </a:p>
        </p:txBody>
      </p:sp>
      <p:sp>
        <p:nvSpPr>
          <p:cNvPr id="1596" name="Google Shape;1596;p34"/>
          <p:cNvSpPr>
            <a:spLocks noGrp="1"/>
          </p:cNvSpPr>
          <p:nvPr>
            <p:ph type="body" idx="3"/>
          </p:nvPr>
        </p:nvSpPr>
        <p:spPr>
          <a:xfrm>
            <a:off x="481600" y="2970852"/>
            <a:ext cx="2723200" cy="1527600"/>
          </a:xfrm>
          <a:prstGeom prst="roundRect">
            <a:avLst>
              <a:gd name="adj" fmla="val 8792"/>
            </a:avLst>
          </a:prstGeom>
          <a:solidFill>
            <a:schemeClr val="accent1"/>
          </a:solidFill>
          <a:ln>
            <a:noFill/>
          </a:ln>
        </p:spPr>
        <p:txBody>
          <a:bodyPr spcFirstLastPara="1" wrap="square" lIns="108000" tIns="108000" rIns="108000" bIns="34275" anchor="t" anchorCtr="0">
            <a:normAutofit/>
          </a:bodyPr>
          <a:lstStyle>
            <a:lvl1pPr marL="609585" lvl="0" indent="-406390" rtl="0">
              <a:lnSpc>
                <a:spcPct val="90000"/>
              </a:lnSpc>
              <a:spcBef>
                <a:spcPts val="0"/>
              </a:spcBef>
              <a:spcAft>
                <a:spcPts val="0"/>
              </a:spcAft>
              <a:buClr>
                <a:schemeClr val="dk2"/>
              </a:buClr>
              <a:buSzPts val="1200"/>
              <a:buFont typeface="Inter Medium"/>
              <a:buAutoNum type="alphaUcPeriod"/>
              <a:defRPr sz="1600">
                <a:solidFill>
                  <a:schemeClr val="dk2"/>
                </a:solidFill>
                <a:latin typeface="Inter Medium"/>
                <a:ea typeface="Inter Medium"/>
                <a:cs typeface="Inter Medium"/>
                <a:sym typeface="Inter Medium"/>
              </a:defRPr>
            </a:lvl1pPr>
            <a:lvl2pPr marL="1219170" lvl="1" indent="-406390" rtl="0">
              <a:lnSpc>
                <a:spcPct val="90000"/>
              </a:lnSpc>
              <a:spcBef>
                <a:spcPts val="0"/>
              </a:spcBef>
              <a:spcAft>
                <a:spcPts val="0"/>
              </a:spcAft>
              <a:buClr>
                <a:schemeClr val="dk2"/>
              </a:buClr>
              <a:buSzPts val="1200"/>
              <a:buFont typeface="Inter Medium"/>
              <a:buAutoNum type="alphaLcPeriod"/>
              <a:defRPr sz="1600">
                <a:solidFill>
                  <a:schemeClr val="dk2"/>
                </a:solidFill>
                <a:latin typeface="Inter Medium"/>
                <a:ea typeface="Inter Medium"/>
                <a:cs typeface="Inter Medium"/>
                <a:sym typeface="Inter Medium"/>
              </a:defRPr>
            </a:lvl2pPr>
            <a:lvl3pPr marL="1828754" lvl="2" indent="-406390" rtl="0">
              <a:lnSpc>
                <a:spcPct val="90000"/>
              </a:lnSpc>
              <a:spcBef>
                <a:spcPts val="0"/>
              </a:spcBef>
              <a:spcAft>
                <a:spcPts val="0"/>
              </a:spcAft>
              <a:buClr>
                <a:schemeClr val="dk2"/>
              </a:buClr>
              <a:buSzPts val="1200"/>
              <a:buFont typeface="Inter Medium"/>
              <a:buAutoNum type="romanLcPeriod"/>
              <a:defRPr sz="1600">
                <a:solidFill>
                  <a:schemeClr val="dk2"/>
                </a:solidFill>
                <a:latin typeface="Inter Medium"/>
                <a:ea typeface="Inter Medium"/>
                <a:cs typeface="Inter Medium"/>
                <a:sym typeface="Inter Medium"/>
              </a:defRPr>
            </a:lvl3pPr>
            <a:lvl4pPr marL="2438339" lvl="3" indent="-406390" rtl="0">
              <a:lnSpc>
                <a:spcPct val="90000"/>
              </a:lnSpc>
              <a:spcBef>
                <a:spcPts val="0"/>
              </a:spcBef>
              <a:spcAft>
                <a:spcPts val="0"/>
              </a:spcAft>
              <a:buClr>
                <a:schemeClr val="dk2"/>
              </a:buClr>
              <a:buSzPts val="1200"/>
              <a:buFont typeface="Inter Medium"/>
              <a:buAutoNum type="arabicPeriod"/>
              <a:defRPr sz="1600">
                <a:solidFill>
                  <a:schemeClr val="dk2"/>
                </a:solidFill>
                <a:latin typeface="Inter Medium"/>
                <a:ea typeface="Inter Medium"/>
                <a:cs typeface="Inter Medium"/>
                <a:sym typeface="Inter Medium"/>
              </a:defRPr>
            </a:lvl4pPr>
            <a:lvl5pPr marL="3047924" lvl="4" indent="-406390" rtl="0">
              <a:lnSpc>
                <a:spcPct val="90000"/>
              </a:lnSpc>
              <a:spcBef>
                <a:spcPts val="0"/>
              </a:spcBef>
              <a:spcAft>
                <a:spcPts val="0"/>
              </a:spcAft>
              <a:buClr>
                <a:schemeClr val="dk2"/>
              </a:buClr>
              <a:buSzPts val="1200"/>
              <a:buFont typeface="Inter Medium"/>
              <a:buAutoNum type="alphaLcPeriod"/>
              <a:defRPr sz="1600">
                <a:solidFill>
                  <a:schemeClr val="dk2"/>
                </a:solidFill>
                <a:latin typeface="Inter Medium"/>
                <a:ea typeface="Inter Medium"/>
                <a:cs typeface="Inter Medium"/>
                <a:sym typeface="Inter Medium"/>
              </a:defRPr>
            </a:lvl5pPr>
            <a:lvl6pPr marL="3657509" lvl="5" indent="-406390" rtl="0">
              <a:lnSpc>
                <a:spcPct val="90000"/>
              </a:lnSpc>
              <a:spcBef>
                <a:spcPts val="0"/>
              </a:spcBef>
              <a:spcAft>
                <a:spcPts val="0"/>
              </a:spcAft>
              <a:buClr>
                <a:schemeClr val="dk2"/>
              </a:buClr>
              <a:buSzPts val="1200"/>
              <a:buFont typeface="Inter Medium"/>
              <a:buAutoNum type="romanLcPeriod"/>
              <a:defRPr sz="1600">
                <a:solidFill>
                  <a:schemeClr val="dk2"/>
                </a:solidFill>
                <a:latin typeface="Inter Medium"/>
                <a:ea typeface="Inter Medium"/>
                <a:cs typeface="Inter Medium"/>
                <a:sym typeface="Inter Medium"/>
              </a:defRPr>
            </a:lvl6pPr>
            <a:lvl7pPr marL="4267093" lvl="6" indent="-406390" rtl="0">
              <a:lnSpc>
                <a:spcPct val="90000"/>
              </a:lnSpc>
              <a:spcBef>
                <a:spcPts val="0"/>
              </a:spcBef>
              <a:spcAft>
                <a:spcPts val="0"/>
              </a:spcAft>
              <a:buClr>
                <a:schemeClr val="dk2"/>
              </a:buClr>
              <a:buSzPts val="1200"/>
              <a:buFont typeface="Inter Medium"/>
              <a:buAutoNum type="arabicPeriod"/>
              <a:defRPr sz="1600">
                <a:solidFill>
                  <a:schemeClr val="dk2"/>
                </a:solidFill>
                <a:latin typeface="Inter Medium"/>
                <a:ea typeface="Inter Medium"/>
                <a:cs typeface="Inter Medium"/>
                <a:sym typeface="Inter Medium"/>
              </a:defRPr>
            </a:lvl7pPr>
            <a:lvl8pPr marL="4876678" lvl="7" indent="-406390" rtl="0">
              <a:lnSpc>
                <a:spcPct val="90000"/>
              </a:lnSpc>
              <a:spcBef>
                <a:spcPts val="0"/>
              </a:spcBef>
              <a:spcAft>
                <a:spcPts val="0"/>
              </a:spcAft>
              <a:buClr>
                <a:schemeClr val="dk2"/>
              </a:buClr>
              <a:buSzPts val="1200"/>
              <a:buFont typeface="Inter Medium"/>
              <a:buAutoNum type="alphaLcPeriod"/>
              <a:defRPr sz="1600">
                <a:solidFill>
                  <a:schemeClr val="dk2"/>
                </a:solidFill>
                <a:latin typeface="Inter Medium"/>
                <a:ea typeface="Inter Medium"/>
                <a:cs typeface="Inter Medium"/>
                <a:sym typeface="Inter Medium"/>
              </a:defRPr>
            </a:lvl8pPr>
            <a:lvl9pPr marL="5486263" lvl="8" indent="-406390" rtl="0">
              <a:lnSpc>
                <a:spcPct val="90000"/>
              </a:lnSpc>
              <a:spcBef>
                <a:spcPts val="0"/>
              </a:spcBef>
              <a:spcAft>
                <a:spcPts val="0"/>
              </a:spcAft>
              <a:buClr>
                <a:schemeClr val="dk2"/>
              </a:buClr>
              <a:buSzPts val="1200"/>
              <a:buFont typeface="Inter Medium"/>
              <a:buAutoNum type="romanLcPeriod"/>
              <a:defRPr sz="1600">
                <a:solidFill>
                  <a:schemeClr val="dk2"/>
                </a:solidFill>
                <a:latin typeface="Inter Medium"/>
                <a:ea typeface="Inter Medium"/>
                <a:cs typeface="Inter Medium"/>
                <a:sym typeface="Inter Medium"/>
              </a:defRPr>
            </a:lvl9pPr>
          </a:lstStyle>
          <a:p>
            <a:endParaRPr/>
          </a:p>
        </p:txBody>
      </p:sp>
      <p:sp>
        <p:nvSpPr>
          <p:cNvPr id="1597" name="Google Shape;1597;p34"/>
          <p:cNvSpPr>
            <a:spLocks noGrp="1"/>
          </p:cNvSpPr>
          <p:nvPr>
            <p:ph type="body" idx="4"/>
          </p:nvPr>
        </p:nvSpPr>
        <p:spPr>
          <a:xfrm>
            <a:off x="3312971" y="2970852"/>
            <a:ext cx="2723200" cy="1527600"/>
          </a:xfrm>
          <a:prstGeom prst="roundRect">
            <a:avLst>
              <a:gd name="adj" fmla="val 8792"/>
            </a:avLst>
          </a:prstGeom>
          <a:solidFill>
            <a:schemeClr val="accent1"/>
          </a:solidFill>
          <a:ln>
            <a:noFill/>
          </a:ln>
        </p:spPr>
        <p:txBody>
          <a:bodyPr spcFirstLastPara="1" wrap="square" lIns="108000" tIns="108000" rIns="108000" bIns="34275" anchor="t" anchorCtr="0">
            <a:normAutofit/>
          </a:bodyPr>
          <a:lstStyle>
            <a:lvl1pPr marL="609585" lvl="0" indent="-406390" rtl="0">
              <a:lnSpc>
                <a:spcPct val="90000"/>
              </a:lnSpc>
              <a:spcBef>
                <a:spcPts val="0"/>
              </a:spcBef>
              <a:spcAft>
                <a:spcPts val="0"/>
              </a:spcAft>
              <a:buClr>
                <a:schemeClr val="dk2"/>
              </a:buClr>
              <a:buSzPts val="1200"/>
              <a:buFont typeface="Inter Medium"/>
              <a:buAutoNum type="alphaUcPeriod"/>
              <a:defRPr sz="1600">
                <a:solidFill>
                  <a:schemeClr val="dk2"/>
                </a:solidFill>
                <a:latin typeface="Inter Medium"/>
                <a:ea typeface="Inter Medium"/>
                <a:cs typeface="Inter Medium"/>
                <a:sym typeface="Inter Medium"/>
              </a:defRPr>
            </a:lvl1pPr>
            <a:lvl2pPr marL="1219170" lvl="1" indent="-406390" rtl="0">
              <a:lnSpc>
                <a:spcPct val="90000"/>
              </a:lnSpc>
              <a:spcBef>
                <a:spcPts val="0"/>
              </a:spcBef>
              <a:spcAft>
                <a:spcPts val="0"/>
              </a:spcAft>
              <a:buClr>
                <a:schemeClr val="dk2"/>
              </a:buClr>
              <a:buSzPts val="1200"/>
              <a:buFont typeface="Inter Medium"/>
              <a:buAutoNum type="alphaLcPeriod"/>
              <a:defRPr sz="1600">
                <a:solidFill>
                  <a:schemeClr val="dk2"/>
                </a:solidFill>
                <a:latin typeface="Inter Medium"/>
                <a:ea typeface="Inter Medium"/>
                <a:cs typeface="Inter Medium"/>
                <a:sym typeface="Inter Medium"/>
              </a:defRPr>
            </a:lvl2pPr>
            <a:lvl3pPr marL="1828754" lvl="2" indent="-406390" rtl="0">
              <a:lnSpc>
                <a:spcPct val="90000"/>
              </a:lnSpc>
              <a:spcBef>
                <a:spcPts val="0"/>
              </a:spcBef>
              <a:spcAft>
                <a:spcPts val="0"/>
              </a:spcAft>
              <a:buClr>
                <a:schemeClr val="dk2"/>
              </a:buClr>
              <a:buSzPts val="1200"/>
              <a:buFont typeface="Inter Medium"/>
              <a:buAutoNum type="romanLcPeriod"/>
              <a:defRPr sz="1600">
                <a:solidFill>
                  <a:schemeClr val="dk2"/>
                </a:solidFill>
                <a:latin typeface="Inter Medium"/>
                <a:ea typeface="Inter Medium"/>
                <a:cs typeface="Inter Medium"/>
                <a:sym typeface="Inter Medium"/>
              </a:defRPr>
            </a:lvl3pPr>
            <a:lvl4pPr marL="2438339" lvl="3" indent="-406390" rtl="0">
              <a:lnSpc>
                <a:spcPct val="90000"/>
              </a:lnSpc>
              <a:spcBef>
                <a:spcPts val="0"/>
              </a:spcBef>
              <a:spcAft>
                <a:spcPts val="0"/>
              </a:spcAft>
              <a:buClr>
                <a:schemeClr val="dk2"/>
              </a:buClr>
              <a:buSzPts val="1200"/>
              <a:buFont typeface="Inter Medium"/>
              <a:buAutoNum type="arabicPeriod"/>
              <a:defRPr sz="1600">
                <a:solidFill>
                  <a:schemeClr val="dk2"/>
                </a:solidFill>
                <a:latin typeface="Inter Medium"/>
                <a:ea typeface="Inter Medium"/>
                <a:cs typeface="Inter Medium"/>
                <a:sym typeface="Inter Medium"/>
              </a:defRPr>
            </a:lvl4pPr>
            <a:lvl5pPr marL="3047924" lvl="4" indent="-406390" rtl="0">
              <a:lnSpc>
                <a:spcPct val="90000"/>
              </a:lnSpc>
              <a:spcBef>
                <a:spcPts val="0"/>
              </a:spcBef>
              <a:spcAft>
                <a:spcPts val="0"/>
              </a:spcAft>
              <a:buClr>
                <a:schemeClr val="dk2"/>
              </a:buClr>
              <a:buSzPts val="1200"/>
              <a:buFont typeface="Inter Medium"/>
              <a:buAutoNum type="alphaLcPeriod"/>
              <a:defRPr sz="1600">
                <a:solidFill>
                  <a:schemeClr val="dk2"/>
                </a:solidFill>
                <a:latin typeface="Inter Medium"/>
                <a:ea typeface="Inter Medium"/>
                <a:cs typeface="Inter Medium"/>
                <a:sym typeface="Inter Medium"/>
              </a:defRPr>
            </a:lvl5pPr>
            <a:lvl6pPr marL="3657509" lvl="5" indent="-406390" rtl="0">
              <a:lnSpc>
                <a:spcPct val="90000"/>
              </a:lnSpc>
              <a:spcBef>
                <a:spcPts val="0"/>
              </a:spcBef>
              <a:spcAft>
                <a:spcPts val="0"/>
              </a:spcAft>
              <a:buClr>
                <a:schemeClr val="dk2"/>
              </a:buClr>
              <a:buSzPts val="1200"/>
              <a:buFont typeface="Inter Medium"/>
              <a:buAutoNum type="romanLcPeriod"/>
              <a:defRPr sz="1600">
                <a:solidFill>
                  <a:schemeClr val="dk2"/>
                </a:solidFill>
                <a:latin typeface="Inter Medium"/>
                <a:ea typeface="Inter Medium"/>
                <a:cs typeface="Inter Medium"/>
                <a:sym typeface="Inter Medium"/>
              </a:defRPr>
            </a:lvl6pPr>
            <a:lvl7pPr marL="4267093" lvl="6" indent="-406390" rtl="0">
              <a:lnSpc>
                <a:spcPct val="90000"/>
              </a:lnSpc>
              <a:spcBef>
                <a:spcPts val="0"/>
              </a:spcBef>
              <a:spcAft>
                <a:spcPts val="0"/>
              </a:spcAft>
              <a:buClr>
                <a:schemeClr val="dk2"/>
              </a:buClr>
              <a:buSzPts val="1200"/>
              <a:buFont typeface="Inter Medium"/>
              <a:buAutoNum type="arabicPeriod"/>
              <a:defRPr sz="1600">
                <a:solidFill>
                  <a:schemeClr val="dk2"/>
                </a:solidFill>
                <a:latin typeface="Inter Medium"/>
                <a:ea typeface="Inter Medium"/>
                <a:cs typeface="Inter Medium"/>
                <a:sym typeface="Inter Medium"/>
              </a:defRPr>
            </a:lvl7pPr>
            <a:lvl8pPr marL="4876678" lvl="7" indent="-406390" rtl="0">
              <a:lnSpc>
                <a:spcPct val="90000"/>
              </a:lnSpc>
              <a:spcBef>
                <a:spcPts val="0"/>
              </a:spcBef>
              <a:spcAft>
                <a:spcPts val="0"/>
              </a:spcAft>
              <a:buClr>
                <a:schemeClr val="dk2"/>
              </a:buClr>
              <a:buSzPts val="1200"/>
              <a:buFont typeface="Inter Medium"/>
              <a:buAutoNum type="alphaLcPeriod"/>
              <a:defRPr sz="1600">
                <a:solidFill>
                  <a:schemeClr val="dk2"/>
                </a:solidFill>
                <a:latin typeface="Inter Medium"/>
                <a:ea typeface="Inter Medium"/>
                <a:cs typeface="Inter Medium"/>
                <a:sym typeface="Inter Medium"/>
              </a:defRPr>
            </a:lvl8pPr>
            <a:lvl9pPr marL="5486263" lvl="8" indent="-406390" rtl="0">
              <a:lnSpc>
                <a:spcPct val="90000"/>
              </a:lnSpc>
              <a:spcBef>
                <a:spcPts val="0"/>
              </a:spcBef>
              <a:spcAft>
                <a:spcPts val="0"/>
              </a:spcAft>
              <a:buClr>
                <a:schemeClr val="dk2"/>
              </a:buClr>
              <a:buSzPts val="1200"/>
              <a:buFont typeface="Inter Medium"/>
              <a:buAutoNum type="romanLcPeriod"/>
              <a:defRPr sz="1600">
                <a:solidFill>
                  <a:schemeClr val="dk2"/>
                </a:solidFill>
                <a:latin typeface="Inter Medium"/>
                <a:ea typeface="Inter Medium"/>
                <a:cs typeface="Inter Medium"/>
                <a:sym typeface="Inter Medium"/>
              </a:defRPr>
            </a:lvl9pPr>
          </a:lstStyle>
          <a:p>
            <a:endParaRPr/>
          </a:p>
        </p:txBody>
      </p:sp>
      <p:sp>
        <p:nvSpPr>
          <p:cNvPr id="1598" name="Google Shape;1598;p34"/>
          <p:cNvSpPr txBox="1">
            <a:spLocks noGrp="1"/>
          </p:cNvSpPr>
          <p:nvPr>
            <p:ph type="title"/>
          </p:nvPr>
        </p:nvSpPr>
        <p:spPr>
          <a:xfrm>
            <a:off x="951700" y="359999"/>
            <a:ext cx="10515600" cy="524800"/>
          </a:xfrm>
          <a:prstGeom prst="rect">
            <a:avLst/>
          </a:prstGeom>
          <a:noFill/>
          <a:ln>
            <a:noFill/>
          </a:ln>
        </p:spPr>
        <p:txBody>
          <a:bodyPr spcFirstLastPara="1" wrap="square" lIns="0" tIns="0" rIns="68575" bIns="34275" anchor="t" anchorCtr="0">
            <a:noAutofit/>
          </a:bodyPr>
          <a:lstStyle>
            <a:lvl1pPr lvl="0" algn="l" rtl="0">
              <a:lnSpc>
                <a:spcPct val="90000"/>
              </a:lnSpc>
              <a:spcBef>
                <a:spcPts val="0"/>
              </a:spcBef>
              <a:spcAft>
                <a:spcPts val="0"/>
              </a:spcAft>
              <a:buClr>
                <a:schemeClr val="dk1"/>
              </a:buClr>
              <a:buSzPts val="2400"/>
              <a:buFont typeface="Inter Medium"/>
              <a:buNone/>
              <a:defRPr sz="3200">
                <a:latin typeface="Inter Medium"/>
                <a:ea typeface="Inter Medium"/>
                <a:cs typeface="Inter Medium"/>
                <a:sym typeface="Inter Medium"/>
              </a:defRPr>
            </a:lvl1pPr>
            <a:lvl2pPr lvl="1" rtl="0">
              <a:spcBef>
                <a:spcPts val="0"/>
              </a:spcBef>
              <a:spcAft>
                <a:spcPts val="0"/>
              </a:spcAft>
              <a:buSzPts val="1100"/>
              <a:buNone/>
              <a:defRPr b="1"/>
            </a:lvl2pPr>
            <a:lvl3pPr lvl="2" rtl="0">
              <a:spcBef>
                <a:spcPts val="0"/>
              </a:spcBef>
              <a:spcAft>
                <a:spcPts val="0"/>
              </a:spcAft>
              <a:buSzPts val="1100"/>
              <a:buNone/>
              <a:defRPr b="1"/>
            </a:lvl3pPr>
            <a:lvl4pPr lvl="3" rtl="0">
              <a:spcBef>
                <a:spcPts val="0"/>
              </a:spcBef>
              <a:spcAft>
                <a:spcPts val="0"/>
              </a:spcAft>
              <a:buSzPts val="1100"/>
              <a:buNone/>
              <a:defRPr b="1"/>
            </a:lvl4pPr>
            <a:lvl5pPr lvl="4" rtl="0">
              <a:spcBef>
                <a:spcPts val="0"/>
              </a:spcBef>
              <a:spcAft>
                <a:spcPts val="0"/>
              </a:spcAft>
              <a:buSzPts val="1100"/>
              <a:buNone/>
              <a:defRPr b="1"/>
            </a:lvl5pPr>
            <a:lvl6pPr lvl="5" rtl="0">
              <a:spcBef>
                <a:spcPts val="0"/>
              </a:spcBef>
              <a:spcAft>
                <a:spcPts val="0"/>
              </a:spcAft>
              <a:buSzPts val="1100"/>
              <a:buNone/>
              <a:defRPr b="1"/>
            </a:lvl6pPr>
            <a:lvl7pPr lvl="6" rtl="0">
              <a:spcBef>
                <a:spcPts val="0"/>
              </a:spcBef>
              <a:spcAft>
                <a:spcPts val="0"/>
              </a:spcAft>
              <a:buSzPts val="1100"/>
              <a:buNone/>
              <a:defRPr b="1"/>
            </a:lvl7pPr>
            <a:lvl8pPr lvl="7" rtl="0">
              <a:spcBef>
                <a:spcPts val="0"/>
              </a:spcBef>
              <a:spcAft>
                <a:spcPts val="0"/>
              </a:spcAft>
              <a:buSzPts val="1100"/>
              <a:buNone/>
              <a:defRPr b="1"/>
            </a:lvl8pPr>
            <a:lvl9pPr lvl="8" rtl="0">
              <a:spcBef>
                <a:spcPts val="0"/>
              </a:spcBef>
              <a:spcAft>
                <a:spcPts val="0"/>
              </a:spcAft>
              <a:buSzPts val="1100"/>
              <a:buNone/>
              <a:defRPr b="1"/>
            </a:lvl9pPr>
          </a:lstStyle>
          <a:p>
            <a:endParaRPr/>
          </a:p>
        </p:txBody>
      </p:sp>
      <p:sp>
        <p:nvSpPr>
          <p:cNvPr id="1599" name="Google Shape;1599;p34"/>
          <p:cNvSpPr>
            <a:spLocks noGrp="1"/>
          </p:cNvSpPr>
          <p:nvPr>
            <p:ph type="body" idx="5"/>
          </p:nvPr>
        </p:nvSpPr>
        <p:spPr>
          <a:xfrm>
            <a:off x="481600" y="4606505"/>
            <a:ext cx="2723200" cy="1527600"/>
          </a:xfrm>
          <a:prstGeom prst="roundRect">
            <a:avLst>
              <a:gd name="adj" fmla="val 8792"/>
            </a:avLst>
          </a:prstGeom>
          <a:solidFill>
            <a:schemeClr val="accent1"/>
          </a:solidFill>
          <a:ln>
            <a:noFill/>
          </a:ln>
        </p:spPr>
        <p:txBody>
          <a:bodyPr spcFirstLastPara="1" wrap="square" lIns="108000" tIns="108000" rIns="108000" bIns="34275" anchor="t" anchorCtr="0">
            <a:normAutofit/>
          </a:bodyPr>
          <a:lstStyle>
            <a:lvl1pPr marL="609585" lvl="0" indent="-406390" rtl="0">
              <a:lnSpc>
                <a:spcPct val="90000"/>
              </a:lnSpc>
              <a:spcBef>
                <a:spcPts val="0"/>
              </a:spcBef>
              <a:spcAft>
                <a:spcPts val="0"/>
              </a:spcAft>
              <a:buClr>
                <a:schemeClr val="dk2"/>
              </a:buClr>
              <a:buSzPts val="1200"/>
              <a:buFont typeface="Inter Medium"/>
              <a:buAutoNum type="alphaUcPeriod"/>
              <a:defRPr sz="1600">
                <a:solidFill>
                  <a:schemeClr val="dk2"/>
                </a:solidFill>
                <a:latin typeface="Inter Medium"/>
                <a:ea typeface="Inter Medium"/>
                <a:cs typeface="Inter Medium"/>
                <a:sym typeface="Inter Medium"/>
              </a:defRPr>
            </a:lvl1pPr>
            <a:lvl2pPr marL="1219170" lvl="1" indent="-406390" rtl="0">
              <a:lnSpc>
                <a:spcPct val="90000"/>
              </a:lnSpc>
              <a:spcBef>
                <a:spcPts val="0"/>
              </a:spcBef>
              <a:spcAft>
                <a:spcPts val="0"/>
              </a:spcAft>
              <a:buClr>
                <a:schemeClr val="dk2"/>
              </a:buClr>
              <a:buSzPts val="1200"/>
              <a:buFont typeface="Inter Medium"/>
              <a:buAutoNum type="alphaLcPeriod"/>
              <a:defRPr sz="1600">
                <a:solidFill>
                  <a:schemeClr val="dk2"/>
                </a:solidFill>
                <a:latin typeface="Inter Medium"/>
                <a:ea typeface="Inter Medium"/>
                <a:cs typeface="Inter Medium"/>
                <a:sym typeface="Inter Medium"/>
              </a:defRPr>
            </a:lvl2pPr>
            <a:lvl3pPr marL="1828754" lvl="2" indent="-406390" rtl="0">
              <a:lnSpc>
                <a:spcPct val="90000"/>
              </a:lnSpc>
              <a:spcBef>
                <a:spcPts val="0"/>
              </a:spcBef>
              <a:spcAft>
                <a:spcPts val="0"/>
              </a:spcAft>
              <a:buClr>
                <a:schemeClr val="dk2"/>
              </a:buClr>
              <a:buSzPts val="1200"/>
              <a:buFont typeface="Inter Medium"/>
              <a:buAutoNum type="romanLcPeriod"/>
              <a:defRPr sz="1600">
                <a:solidFill>
                  <a:schemeClr val="dk2"/>
                </a:solidFill>
                <a:latin typeface="Inter Medium"/>
                <a:ea typeface="Inter Medium"/>
                <a:cs typeface="Inter Medium"/>
                <a:sym typeface="Inter Medium"/>
              </a:defRPr>
            </a:lvl3pPr>
            <a:lvl4pPr marL="2438339" lvl="3" indent="-406390" rtl="0">
              <a:lnSpc>
                <a:spcPct val="90000"/>
              </a:lnSpc>
              <a:spcBef>
                <a:spcPts val="0"/>
              </a:spcBef>
              <a:spcAft>
                <a:spcPts val="0"/>
              </a:spcAft>
              <a:buClr>
                <a:schemeClr val="dk2"/>
              </a:buClr>
              <a:buSzPts val="1200"/>
              <a:buFont typeface="Inter Medium"/>
              <a:buAutoNum type="arabicPeriod"/>
              <a:defRPr sz="1600">
                <a:solidFill>
                  <a:schemeClr val="dk2"/>
                </a:solidFill>
                <a:latin typeface="Inter Medium"/>
                <a:ea typeface="Inter Medium"/>
                <a:cs typeface="Inter Medium"/>
                <a:sym typeface="Inter Medium"/>
              </a:defRPr>
            </a:lvl4pPr>
            <a:lvl5pPr marL="3047924" lvl="4" indent="-406390" rtl="0">
              <a:lnSpc>
                <a:spcPct val="90000"/>
              </a:lnSpc>
              <a:spcBef>
                <a:spcPts val="0"/>
              </a:spcBef>
              <a:spcAft>
                <a:spcPts val="0"/>
              </a:spcAft>
              <a:buClr>
                <a:schemeClr val="dk2"/>
              </a:buClr>
              <a:buSzPts val="1200"/>
              <a:buFont typeface="Inter Medium"/>
              <a:buAutoNum type="alphaLcPeriod"/>
              <a:defRPr sz="1600">
                <a:solidFill>
                  <a:schemeClr val="dk2"/>
                </a:solidFill>
                <a:latin typeface="Inter Medium"/>
                <a:ea typeface="Inter Medium"/>
                <a:cs typeface="Inter Medium"/>
                <a:sym typeface="Inter Medium"/>
              </a:defRPr>
            </a:lvl5pPr>
            <a:lvl6pPr marL="3657509" lvl="5" indent="-406390" rtl="0">
              <a:lnSpc>
                <a:spcPct val="90000"/>
              </a:lnSpc>
              <a:spcBef>
                <a:spcPts val="0"/>
              </a:spcBef>
              <a:spcAft>
                <a:spcPts val="0"/>
              </a:spcAft>
              <a:buClr>
                <a:schemeClr val="dk2"/>
              </a:buClr>
              <a:buSzPts val="1200"/>
              <a:buFont typeface="Inter Medium"/>
              <a:buAutoNum type="romanLcPeriod"/>
              <a:defRPr sz="1600">
                <a:solidFill>
                  <a:schemeClr val="dk2"/>
                </a:solidFill>
                <a:latin typeface="Inter Medium"/>
                <a:ea typeface="Inter Medium"/>
                <a:cs typeface="Inter Medium"/>
                <a:sym typeface="Inter Medium"/>
              </a:defRPr>
            </a:lvl6pPr>
            <a:lvl7pPr marL="4267093" lvl="6" indent="-406390" rtl="0">
              <a:lnSpc>
                <a:spcPct val="90000"/>
              </a:lnSpc>
              <a:spcBef>
                <a:spcPts val="0"/>
              </a:spcBef>
              <a:spcAft>
                <a:spcPts val="0"/>
              </a:spcAft>
              <a:buClr>
                <a:schemeClr val="dk2"/>
              </a:buClr>
              <a:buSzPts val="1200"/>
              <a:buFont typeface="Inter Medium"/>
              <a:buAutoNum type="arabicPeriod"/>
              <a:defRPr sz="1600">
                <a:solidFill>
                  <a:schemeClr val="dk2"/>
                </a:solidFill>
                <a:latin typeface="Inter Medium"/>
                <a:ea typeface="Inter Medium"/>
                <a:cs typeface="Inter Medium"/>
                <a:sym typeface="Inter Medium"/>
              </a:defRPr>
            </a:lvl7pPr>
            <a:lvl8pPr marL="4876678" lvl="7" indent="-406390" rtl="0">
              <a:lnSpc>
                <a:spcPct val="90000"/>
              </a:lnSpc>
              <a:spcBef>
                <a:spcPts val="0"/>
              </a:spcBef>
              <a:spcAft>
                <a:spcPts val="0"/>
              </a:spcAft>
              <a:buClr>
                <a:schemeClr val="dk2"/>
              </a:buClr>
              <a:buSzPts val="1200"/>
              <a:buFont typeface="Inter Medium"/>
              <a:buAutoNum type="alphaLcPeriod"/>
              <a:defRPr sz="1600">
                <a:solidFill>
                  <a:schemeClr val="dk2"/>
                </a:solidFill>
                <a:latin typeface="Inter Medium"/>
                <a:ea typeface="Inter Medium"/>
                <a:cs typeface="Inter Medium"/>
                <a:sym typeface="Inter Medium"/>
              </a:defRPr>
            </a:lvl8pPr>
            <a:lvl9pPr marL="5486263" lvl="8" indent="-406390" rtl="0">
              <a:lnSpc>
                <a:spcPct val="90000"/>
              </a:lnSpc>
              <a:spcBef>
                <a:spcPts val="0"/>
              </a:spcBef>
              <a:spcAft>
                <a:spcPts val="0"/>
              </a:spcAft>
              <a:buClr>
                <a:schemeClr val="dk2"/>
              </a:buClr>
              <a:buSzPts val="1200"/>
              <a:buFont typeface="Inter Medium"/>
              <a:buAutoNum type="romanLcPeriod"/>
              <a:defRPr sz="1600">
                <a:solidFill>
                  <a:schemeClr val="dk2"/>
                </a:solidFill>
                <a:latin typeface="Inter Medium"/>
                <a:ea typeface="Inter Medium"/>
                <a:cs typeface="Inter Medium"/>
                <a:sym typeface="Inter Medium"/>
              </a:defRPr>
            </a:lvl9pPr>
          </a:lstStyle>
          <a:p>
            <a:endParaRPr/>
          </a:p>
        </p:txBody>
      </p:sp>
      <p:sp>
        <p:nvSpPr>
          <p:cNvPr id="1600" name="Google Shape;1600;p34"/>
          <p:cNvSpPr>
            <a:spLocks noGrp="1"/>
          </p:cNvSpPr>
          <p:nvPr>
            <p:ph type="body" idx="6"/>
          </p:nvPr>
        </p:nvSpPr>
        <p:spPr>
          <a:xfrm>
            <a:off x="3312971" y="4606505"/>
            <a:ext cx="2723200" cy="1527600"/>
          </a:xfrm>
          <a:prstGeom prst="roundRect">
            <a:avLst>
              <a:gd name="adj" fmla="val 8792"/>
            </a:avLst>
          </a:prstGeom>
          <a:solidFill>
            <a:schemeClr val="accent1"/>
          </a:solidFill>
          <a:ln>
            <a:noFill/>
          </a:ln>
        </p:spPr>
        <p:txBody>
          <a:bodyPr spcFirstLastPara="1" wrap="square" lIns="108000" tIns="108000" rIns="108000" bIns="34275" anchor="t" anchorCtr="0">
            <a:normAutofit/>
          </a:bodyPr>
          <a:lstStyle>
            <a:lvl1pPr marL="609585" lvl="0" indent="-406390" rtl="0">
              <a:lnSpc>
                <a:spcPct val="90000"/>
              </a:lnSpc>
              <a:spcBef>
                <a:spcPts val="0"/>
              </a:spcBef>
              <a:spcAft>
                <a:spcPts val="0"/>
              </a:spcAft>
              <a:buClr>
                <a:schemeClr val="dk2"/>
              </a:buClr>
              <a:buSzPts val="1200"/>
              <a:buFont typeface="Inter Medium"/>
              <a:buAutoNum type="alphaUcPeriod"/>
              <a:defRPr sz="1600">
                <a:solidFill>
                  <a:schemeClr val="dk2"/>
                </a:solidFill>
                <a:latin typeface="Inter Medium"/>
                <a:ea typeface="Inter Medium"/>
                <a:cs typeface="Inter Medium"/>
                <a:sym typeface="Inter Medium"/>
              </a:defRPr>
            </a:lvl1pPr>
            <a:lvl2pPr marL="1219170" lvl="1" indent="-406390" rtl="0">
              <a:lnSpc>
                <a:spcPct val="90000"/>
              </a:lnSpc>
              <a:spcBef>
                <a:spcPts val="0"/>
              </a:spcBef>
              <a:spcAft>
                <a:spcPts val="0"/>
              </a:spcAft>
              <a:buClr>
                <a:schemeClr val="dk2"/>
              </a:buClr>
              <a:buSzPts val="1200"/>
              <a:buFont typeface="Inter Medium"/>
              <a:buAutoNum type="alphaLcPeriod"/>
              <a:defRPr sz="1600">
                <a:solidFill>
                  <a:schemeClr val="dk2"/>
                </a:solidFill>
                <a:latin typeface="Inter Medium"/>
                <a:ea typeface="Inter Medium"/>
                <a:cs typeface="Inter Medium"/>
                <a:sym typeface="Inter Medium"/>
              </a:defRPr>
            </a:lvl2pPr>
            <a:lvl3pPr marL="1828754" lvl="2" indent="-406390" rtl="0">
              <a:lnSpc>
                <a:spcPct val="90000"/>
              </a:lnSpc>
              <a:spcBef>
                <a:spcPts val="0"/>
              </a:spcBef>
              <a:spcAft>
                <a:spcPts val="0"/>
              </a:spcAft>
              <a:buClr>
                <a:schemeClr val="dk2"/>
              </a:buClr>
              <a:buSzPts val="1200"/>
              <a:buFont typeface="Inter Medium"/>
              <a:buAutoNum type="romanLcPeriod"/>
              <a:defRPr sz="1600">
                <a:solidFill>
                  <a:schemeClr val="dk2"/>
                </a:solidFill>
                <a:latin typeface="Inter Medium"/>
                <a:ea typeface="Inter Medium"/>
                <a:cs typeface="Inter Medium"/>
                <a:sym typeface="Inter Medium"/>
              </a:defRPr>
            </a:lvl3pPr>
            <a:lvl4pPr marL="2438339" lvl="3" indent="-406390" rtl="0">
              <a:lnSpc>
                <a:spcPct val="90000"/>
              </a:lnSpc>
              <a:spcBef>
                <a:spcPts val="0"/>
              </a:spcBef>
              <a:spcAft>
                <a:spcPts val="0"/>
              </a:spcAft>
              <a:buClr>
                <a:schemeClr val="dk2"/>
              </a:buClr>
              <a:buSzPts val="1200"/>
              <a:buFont typeface="Inter Medium"/>
              <a:buAutoNum type="arabicPeriod"/>
              <a:defRPr sz="1600">
                <a:solidFill>
                  <a:schemeClr val="dk2"/>
                </a:solidFill>
                <a:latin typeface="Inter Medium"/>
                <a:ea typeface="Inter Medium"/>
                <a:cs typeface="Inter Medium"/>
                <a:sym typeface="Inter Medium"/>
              </a:defRPr>
            </a:lvl4pPr>
            <a:lvl5pPr marL="3047924" lvl="4" indent="-406390" rtl="0">
              <a:lnSpc>
                <a:spcPct val="90000"/>
              </a:lnSpc>
              <a:spcBef>
                <a:spcPts val="0"/>
              </a:spcBef>
              <a:spcAft>
                <a:spcPts val="0"/>
              </a:spcAft>
              <a:buClr>
                <a:schemeClr val="dk2"/>
              </a:buClr>
              <a:buSzPts val="1200"/>
              <a:buFont typeface="Inter Medium"/>
              <a:buAutoNum type="alphaLcPeriod"/>
              <a:defRPr sz="1600">
                <a:solidFill>
                  <a:schemeClr val="dk2"/>
                </a:solidFill>
                <a:latin typeface="Inter Medium"/>
                <a:ea typeface="Inter Medium"/>
                <a:cs typeface="Inter Medium"/>
                <a:sym typeface="Inter Medium"/>
              </a:defRPr>
            </a:lvl5pPr>
            <a:lvl6pPr marL="3657509" lvl="5" indent="-406390" rtl="0">
              <a:lnSpc>
                <a:spcPct val="90000"/>
              </a:lnSpc>
              <a:spcBef>
                <a:spcPts val="0"/>
              </a:spcBef>
              <a:spcAft>
                <a:spcPts val="0"/>
              </a:spcAft>
              <a:buClr>
                <a:schemeClr val="dk2"/>
              </a:buClr>
              <a:buSzPts val="1200"/>
              <a:buFont typeface="Inter Medium"/>
              <a:buAutoNum type="romanLcPeriod"/>
              <a:defRPr sz="1600">
                <a:solidFill>
                  <a:schemeClr val="dk2"/>
                </a:solidFill>
                <a:latin typeface="Inter Medium"/>
                <a:ea typeface="Inter Medium"/>
                <a:cs typeface="Inter Medium"/>
                <a:sym typeface="Inter Medium"/>
              </a:defRPr>
            </a:lvl6pPr>
            <a:lvl7pPr marL="4267093" lvl="6" indent="-406390" rtl="0">
              <a:lnSpc>
                <a:spcPct val="90000"/>
              </a:lnSpc>
              <a:spcBef>
                <a:spcPts val="0"/>
              </a:spcBef>
              <a:spcAft>
                <a:spcPts val="0"/>
              </a:spcAft>
              <a:buClr>
                <a:schemeClr val="dk2"/>
              </a:buClr>
              <a:buSzPts val="1200"/>
              <a:buFont typeface="Inter Medium"/>
              <a:buAutoNum type="arabicPeriod"/>
              <a:defRPr sz="1600">
                <a:solidFill>
                  <a:schemeClr val="dk2"/>
                </a:solidFill>
                <a:latin typeface="Inter Medium"/>
                <a:ea typeface="Inter Medium"/>
                <a:cs typeface="Inter Medium"/>
                <a:sym typeface="Inter Medium"/>
              </a:defRPr>
            </a:lvl7pPr>
            <a:lvl8pPr marL="4876678" lvl="7" indent="-406390" rtl="0">
              <a:lnSpc>
                <a:spcPct val="90000"/>
              </a:lnSpc>
              <a:spcBef>
                <a:spcPts val="0"/>
              </a:spcBef>
              <a:spcAft>
                <a:spcPts val="0"/>
              </a:spcAft>
              <a:buClr>
                <a:schemeClr val="dk2"/>
              </a:buClr>
              <a:buSzPts val="1200"/>
              <a:buFont typeface="Inter Medium"/>
              <a:buAutoNum type="alphaLcPeriod"/>
              <a:defRPr sz="1600">
                <a:solidFill>
                  <a:schemeClr val="dk2"/>
                </a:solidFill>
                <a:latin typeface="Inter Medium"/>
                <a:ea typeface="Inter Medium"/>
                <a:cs typeface="Inter Medium"/>
                <a:sym typeface="Inter Medium"/>
              </a:defRPr>
            </a:lvl8pPr>
            <a:lvl9pPr marL="5486263" lvl="8" indent="-406390" rtl="0">
              <a:lnSpc>
                <a:spcPct val="90000"/>
              </a:lnSpc>
              <a:spcBef>
                <a:spcPts val="0"/>
              </a:spcBef>
              <a:spcAft>
                <a:spcPts val="0"/>
              </a:spcAft>
              <a:buClr>
                <a:schemeClr val="dk2"/>
              </a:buClr>
              <a:buSzPts val="1200"/>
              <a:buFont typeface="Inter Medium"/>
              <a:buAutoNum type="romanLcPeriod"/>
              <a:defRPr sz="1600">
                <a:solidFill>
                  <a:schemeClr val="dk2"/>
                </a:solidFill>
                <a:latin typeface="Inter Medium"/>
                <a:ea typeface="Inter Medium"/>
                <a:cs typeface="Inter Medium"/>
                <a:sym typeface="Inter Medium"/>
              </a:defRPr>
            </a:lvl9pPr>
          </a:lstStyle>
          <a:p>
            <a:endParaRPr/>
          </a:p>
        </p:txBody>
      </p:sp>
      <p:sp>
        <p:nvSpPr>
          <p:cNvPr id="1601" name="Google Shape;1601;p34"/>
          <p:cNvSpPr>
            <a:spLocks noGrp="1"/>
          </p:cNvSpPr>
          <p:nvPr>
            <p:ph type="pic" idx="7"/>
          </p:nvPr>
        </p:nvSpPr>
        <p:spPr>
          <a:xfrm>
            <a:off x="6149633" y="1335200"/>
            <a:ext cx="5560800" cy="4798800"/>
          </a:xfrm>
          <a:prstGeom prst="roundRect">
            <a:avLst>
              <a:gd name="adj" fmla="val 2159"/>
            </a:avLst>
          </a:prstGeom>
          <a:noFill/>
          <a:ln>
            <a:noFill/>
          </a:ln>
        </p:spPr>
      </p:sp>
      <p:sp>
        <p:nvSpPr>
          <p:cNvPr id="1602" name="Google Shape;1602;p34"/>
          <p:cNvSpPr/>
          <p:nvPr/>
        </p:nvSpPr>
        <p:spPr>
          <a:xfrm>
            <a:off x="481601" y="414630"/>
            <a:ext cx="349111" cy="305471"/>
          </a:xfrm>
          <a:custGeom>
            <a:avLst/>
            <a:gdLst/>
            <a:ahLst/>
            <a:cxnLst/>
            <a:rect l="l" t="t" r="r" b="b"/>
            <a:pathLst>
              <a:path w="1586865" h="1388506" extrusionOk="0">
                <a:moveTo>
                  <a:pt x="1083683" y="969931"/>
                </a:moveTo>
                <a:lnTo>
                  <a:pt x="1083683" y="579692"/>
                </a:lnTo>
                <a:lnTo>
                  <a:pt x="849297" y="969931"/>
                </a:lnTo>
                <a:lnTo>
                  <a:pt x="848892" y="969931"/>
                </a:lnTo>
                <a:cubicBezTo>
                  <a:pt x="848892" y="969931"/>
                  <a:pt x="848892" y="969931"/>
                  <a:pt x="848892" y="969931"/>
                </a:cubicBezTo>
                <a:lnTo>
                  <a:pt x="738783" y="969931"/>
                </a:lnTo>
                <a:lnTo>
                  <a:pt x="738783" y="577668"/>
                </a:lnTo>
                <a:lnTo>
                  <a:pt x="549735" y="892612"/>
                </a:lnTo>
                <a:cubicBezTo>
                  <a:pt x="527876" y="929449"/>
                  <a:pt x="510873" y="958191"/>
                  <a:pt x="503992" y="969931"/>
                </a:cubicBezTo>
                <a:lnTo>
                  <a:pt x="393073" y="969931"/>
                </a:lnTo>
                <a:lnTo>
                  <a:pt x="393073" y="418576"/>
                </a:lnTo>
                <a:lnTo>
                  <a:pt x="503992" y="418576"/>
                </a:lnTo>
                <a:lnTo>
                  <a:pt x="502777" y="760643"/>
                </a:lnTo>
                <a:lnTo>
                  <a:pt x="503587" y="782098"/>
                </a:lnTo>
                <a:lnTo>
                  <a:pt x="721781" y="418981"/>
                </a:lnTo>
                <a:lnTo>
                  <a:pt x="721781" y="418981"/>
                </a:lnTo>
                <a:lnTo>
                  <a:pt x="721781" y="418981"/>
                </a:lnTo>
                <a:lnTo>
                  <a:pt x="739188" y="418981"/>
                </a:lnTo>
                <a:lnTo>
                  <a:pt x="847678" y="418981"/>
                </a:lnTo>
                <a:cubicBezTo>
                  <a:pt x="847678" y="418981"/>
                  <a:pt x="848487" y="722995"/>
                  <a:pt x="848892" y="783717"/>
                </a:cubicBezTo>
                <a:lnTo>
                  <a:pt x="1067895" y="418981"/>
                </a:lnTo>
                <a:lnTo>
                  <a:pt x="1067895" y="418981"/>
                </a:lnTo>
                <a:lnTo>
                  <a:pt x="1067895" y="418981"/>
                </a:lnTo>
                <a:lnTo>
                  <a:pt x="1085302" y="418981"/>
                </a:lnTo>
                <a:lnTo>
                  <a:pt x="1193387" y="418981"/>
                </a:lnTo>
                <a:lnTo>
                  <a:pt x="1193387" y="970336"/>
                </a:lnTo>
                <a:lnTo>
                  <a:pt x="1083683" y="970336"/>
                </a:lnTo>
                <a:close/>
                <a:moveTo>
                  <a:pt x="1190149" y="0"/>
                </a:moveTo>
                <a:lnTo>
                  <a:pt x="396716" y="0"/>
                </a:lnTo>
                <a:lnTo>
                  <a:pt x="0" y="694253"/>
                </a:lnTo>
                <a:lnTo>
                  <a:pt x="396716" y="1388507"/>
                </a:lnTo>
                <a:lnTo>
                  <a:pt x="1190149" y="1388507"/>
                </a:lnTo>
                <a:lnTo>
                  <a:pt x="1586865" y="694253"/>
                </a:lnTo>
                <a:lnTo>
                  <a:pt x="1190149" y="0"/>
                </a:lnTo>
                <a:close/>
              </a:path>
            </a:pathLst>
          </a:custGeom>
          <a:solidFill>
            <a:schemeClr val="dk2"/>
          </a:solidFill>
          <a:ln>
            <a:noFill/>
          </a:ln>
        </p:spPr>
        <p:txBody>
          <a:bodyPr spcFirstLastPara="1" wrap="square" lIns="91433" tIns="45700" rIns="91433" bIns="45700"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603" name="Google Shape;1603;p34"/>
          <p:cNvSpPr txBox="1"/>
          <p:nvPr/>
        </p:nvSpPr>
        <p:spPr>
          <a:xfrm>
            <a:off x="481600" y="6245247"/>
            <a:ext cx="1288400" cy="273200"/>
          </a:xfrm>
          <a:prstGeom prst="rect">
            <a:avLst/>
          </a:prstGeom>
          <a:noFill/>
          <a:ln>
            <a:noFill/>
          </a:ln>
        </p:spPr>
        <p:txBody>
          <a:bodyPr spcFirstLastPara="1" wrap="square" lIns="0" tIns="0" rIns="0" bIns="0" anchor="b" anchorCtr="0">
            <a:noAutofit/>
          </a:bodyPr>
          <a:lstStyle/>
          <a:p>
            <a:pPr marL="0" lvl="0" indent="0" algn="l" rtl="0">
              <a:spcBef>
                <a:spcPts val="0"/>
              </a:spcBef>
              <a:spcAft>
                <a:spcPts val="0"/>
              </a:spcAft>
              <a:buNone/>
            </a:pPr>
            <a:r>
              <a:rPr lang="en-GB" sz="667">
                <a:solidFill>
                  <a:schemeClr val="dk2"/>
                </a:solidFill>
                <a:latin typeface="Inter"/>
                <a:ea typeface="Inter"/>
                <a:cs typeface="Inter"/>
                <a:sym typeface="Inter"/>
              </a:rPr>
              <a:t>Multiverse</a:t>
            </a:r>
            <a:endParaRPr sz="667">
              <a:solidFill>
                <a:schemeClr val="dk2"/>
              </a:solidFill>
              <a:latin typeface="Inter"/>
              <a:ea typeface="Inter"/>
              <a:cs typeface="Inter"/>
              <a:sym typeface="Inter"/>
            </a:endParaRPr>
          </a:p>
        </p:txBody>
      </p:sp>
    </p:spTree>
    <p:extLst>
      <p:ext uri="{BB962C8B-B14F-4D97-AF65-F5344CB8AC3E}">
        <p14:creationId xmlns:p14="http://schemas.microsoft.com/office/powerpoint/2010/main" val="250632690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matchingName="Agenda List and 3 Images - White">
  <p:cSld name="Agenda List and 3 Images - White">
    <p:spTree>
      <p:nvGrpSpPr>
        <p:cNvPr id="1" name="Shape 1604"/>
        <p:cNvGrpSpPr/>
        <p:nvPr/>
      </p:nvGrpSpPr>
      <p:grpSpPr>
        <a:xfrm>
          <a:off x="0" y="0"/>
          <a:ext cx="0" cy="0"/>
          <a:chOff x="0" y="0"/>
          <a:chExt cx="0" cy="0"/>
        </a:xfrm>
      </p:grpSpPr>
      <p:sp>
        <p:nvSpPr>
          <p:cNvPr id="1605" name="Google Shape;1605;p35"/>
          <p:cNvSpPr>
            <a:spLocks noGrp="1"/>
          </p:cNvSpPr>
          <p:nvPr>
            <p:ph type="pic" idx="2"/>
          </p:nvPr>
        </p:nvSpPr>
        <p:spPr>
          <a:xfrm>
            <a:off x="8946733" y="1335200"/>
            <a:ext cx="2763600" cy="2340800"/>
          </a:xfrm>
          <a:prstGeom prst="roundRect">
            <a:avLst>
              <a:gd name="adj" fmla="val 5837"/>
            </a:avLst>
          </a:prstGeom>
          <a:noFill/>
          <a:ln>
            <a:noFill/>
          </a:ln>
        </p:spPr>
      </p:sp>
      <p:sp>
        <p:nvSpPr>
          <p:cNvPr id="1606" name="Google Shape;1606;p35"/>
          <p:cNvSpPr>
            <a:spLocks noGrp="1"/>
          </p:cNvSpPr>
          <p:nvPr>
            <p:ph type="pic" idx="3"/>
          </p:nvPr>
        </p:nvSpPr>
        <p:spPr>
          <a:xfrm>
            <a:off x="8946733" y="3793200"/>
            <a:ext cx="2763600" cy="2340800"/>
          </a:xfrm>
          <a:prstGeom prst="roundRect">
            <a:avLst>
              <a:gd name="adj" fmla="val 5837"/>
            </a:avLst>
          </a:prstGeom>
          <a:noFill/>
          <a:ln>
            <a:noFill/>
          </a:ln>
        </p:spPr>
      </p:sp>
      <p:sp>
        <p:nvSpPr>
          <p:cNvPr id="1607" name="Google Shape;1607;p35"/>
          <p:cNvSpPr>
            <a:spLocks noGrp="1"/>
          </p:cNvSpPr>
          <p:nvPr>
            <p:ph type="pic" idx="4"/>
          </p:nvPr>
        </p:nvSpPr>
        <p:spPr>
          <a:xfrm>
            <a:off x="6063900" y="1335200"/>
            <a:ext cx="2763600" cy="4798800"/>
          </a:xfrm>
          <a:prstGeom prst="roundRect">
            <a:avLst>
              <a:gd name="adj" fmla="val 5837"/>
            </a:avLst>
          </a:prstGeom>
          <a:noFill/>
          <a:ln>
            <a:noFill/>
          </a:ln>
        </p:spPr>
      </p:sp>
      <p:sp>
        <p:nvSpPr>
          <p:cNvPr id="1608" name="Google Shape;1608;p35"/>
          <p:cNvSpPr txBox="1">
            <a:spLocks noGrp="1"/>
          </p:cNvSpPr>
          <p:nvPr>
            <p:ph type="sldNum" idx="12"/>
          </p:nvPr>
        </p:nvSpPr>
        <p:spPr>
          <a:xfrm>
            <a:off x="10978845" y="5993647"/>
            <a:ext cx="731600" cy="524800"/>
          </a:xfrm>
          <a:prstGeom prst="rect">
            <a:avLst/>
          </a:prstGeom>
        </p:spPr>
        <p:txBody>
          <a:bodyPr spcFirstLastPara="1" wrap="square" lIns="91425" tIns="91425" rIns="0" bIns="0" anchor="b" anchorCtr="0">
            <a:noAutofit/>
          </a:bodyPr>
          <a:lstStyle>
            <a:lvl1pPr lvl="0" algn="r" rtl="0">
              <a:buNone/>
              <a:defRPr sz="667">
                <a:solidFill>
                  <a:schemeClr val="dk2"/>
                </a:solidFill>
                <a:latin typeface="Inter"/>
                <a:ea typeface="Inter"/>
                <a:cs typeface="Inter"/>
                <a:sym typeface="Inter"/>
              </a:defRPr>
            </a:lvl1pPr>
            <a:lvl2pPr lvl="1" algn="r" rtl="0">
              <a:buNone/>
              <a:defRPr sz="667">
                <a:solidFill>
                  <a:schemeClr val="dk2"/>
                </a:solidFill>
                <a:latin typeface="Inter"/>
                <a:ea typeface="Inter"/>
                <a:cs typeface="Inter"/>
                <a:sym typeface="Inter"/>
              </a:defRPr>
            </a:lvl2pPr>
            <a:lvl3pPr lvl="2" algn="r" rtl="0">
              <a:buNone/>
              <a:defRPr sz="667">
                <a:solidFill>
                  <a:schemeClr val="dk2"/>
                </a:solidFill>
                <a:latin typeface="Inter"/>
                <a:ea typeface="Inter"/>
                <a:cs typeface="Inter"/>
                <a:sym typeface="Inter"/>
              </a:defRPr>
            </a:lvl3pPr>
            <a:lvl4pPr lvl="3" algn="r" rtl="0">
              <a:buNone/>
              <a:defRPr sz="667">
                <a:solidFill>
                  <a:schemeClr val="dk2"/>
                </a:solidFill>
                <a:latin typeface="Inter"/>
                <a:ea typeface="Inter"/>
                <a:cs typeface="Inter"/>
                <a:sym typeface="Inter"/>
              </a:defRPr>
            </a:lvl4pPr>
            <a:lvl5pPr lvl="4" algn="r" rtl="0">
              <a:buNone/>
              <a:defRPr sz="667">
                <a:solidFill>
                  <a:schemeClr val="dk2"/>
                </a:solidFill>
                <a:latin typeface="Inter"/>
                <a:ea typeface="Inter"/>
                <a:cs typeface="Inter"/>
                <a:sym typeface="Inter"/>
              </a:defRPr>
            </a:lvl5pPr>
            <a:lvl6pPr lvl="5" algn="r" rtl="0">
              <a:buNone/>
              <a:defRPr sz="667">
                <a:solidFill>
                  <a:schemeClr val="dk2"/>
                </a:solidFill>
                <a:latin typeface="Inter"/>
                <a:ea typeface="Inter"/>
                <a:cs typeface="Inter"/>
                <a:sym typeface="Inter"/>
              </a:defRPr>
            </a:lvl6pPr>
            <a:lvl7pPr lvl="6" algn="r" rtl="0">
              <a:buNone/>
              <a:defRPr sz="667">
                <a:solidFill>
                  <a:schemeClr val="dk2"/>
                </a:solidFill>
                <a:latin typeface="Inter"/>
                <a:ea typeface="Inter"/>
                <a:cs typeface="Inter"/>
                <a:sym typeface="Inter"/>
              </a:defRPr>
            </a:lvl7pPr>
            <a:lvl8pPr lvl="7" algn="r" rtl="0">
              <a:buNone/>
              <a:defRPr sz="667">
                <a:solidFill>
                  <a:schemeClr val="dk2"/>
                </a:solidFill>
                <a:latin typeface="Inter"/>
                <a:ea typeface="Inter"/>
                <a:cs typeface="Inter"/>
                <a:sym typeface="Inter"/>
              </a:defRPr>
            </a:lvl8pPr>
            <a:lvl9pPr lvl="8" algn="r" rtl="0">
              <a:buNone/>
              <a:defRPr sz="667">
                <a:solidFill>
                  <a:schemeClr val="dk2"/>
                </a:solidFill>
                <a:latin typeface="Inter"/>
                <a:ea typeface="Inter"/>
                <a:cs typeface="Inter"/>
                <a:sym typeface="Inter"/>
              </a:defRPr>
            </a:lvl9pPr>
          </a:lstStyle>
          <a:p>
            <a:fld id="{00000000-1234-1234-1234-123412341234}" type="slidenum">
              <a:rPr lang="en-GB" smtClean="0"/>
              <a:pPr/>
              <a:t>‹#›</a:t>
            </a:fld>
            <a:endParaRPr lang="en-GB"/>
          </a:p>
        </p:txBody>
      </p:sp>
      <p:sp>
        <p:nvSpPr>
          <p:cNvPr id="1609" name="Google Shape;1609;p35"/>
          <p:cNvSpPr txBox="1">
            <a:spLocks noGrp="1"/>
          </p:cNvSpPr>
          <p:nvPr>
            <p:ph type="title"/>
          </p:nvPr>
        </p:nvSpPr>
        <p:spPr>
          <a:xfrm>
            <a:off x="951700" y="359999"/>
            <a:ext cx="10515600" cy="524800"/>
          </a:xfrm>
          <a:prstGeom prst="rect">
            <a:avLst/>
          </a:prstGeom>
          <a:noFill/>
          <a:ln>
            <a:noFill/>
          </a:ln>
        </p:spPr>
        <p:txBody>
          <a:bodyPr spcFirstLastPara="1" wrap="square" lIns="0" tIns="0" rIns="68575" bIns="34275" anchor="t" anchorCtr="0">
            <a:noAutofit/>
          </a:bodyPr>
          <a:lstStyle>
            <a:lvl1pPr lvl="0" algn="l" rtl="0">
              <a:lnSpc>
                <a:spcPct val="90000"/>
              </a:lnSpc>
              <a:spcBef>
                <a:spcPts val="0"/>
              </a:spcBef>
              <a:spcAft>
                <a:spcPts val="0"/>
              </a:spcAft>
              <a:buClr>
                <a:schemeClr val="dk1"/>
              </a:buClr>
              <a:buSzPts val="2400"/>
              <a:buFont typeface="Inter Medium"/>
              <a:buNone/>
              <a:defRPr sz="3200">
                <a:latin typeface="Inter Medium"/>
                <a:ea typeface="Inter Medium"/>
                <a:cs typeface="Inter Medium"/>
                <a:sym typeface="Inter Medium"/>
              </a:defRPr>
            </a:lvl1pPr>
            <a:lvl2pPr lvl="1" rtl="0">
              <a:spcBef>
                <a:spcPts val="0"/>
              </a:spcBef>
              <a:spcAft>
                <a:spcPts val="0"/>
              </a:spcAft>
              <a:buSzPts val="1100"/>
              <a:buNone/>
              <a:defRPr b="1"/>
            </a:lvl2pPr>
            <a:lvl3pPr lvl="2" rtl="0">
              <a:spcBef>
                <a:spcPts val="0"/>
              </a:spcBef>
              <a:spcAft>
                <a:spcPts val="0"/>
              </a:spcAft>
              <a:buSzPts val="1100"/>
              <a:buNone/>
              <a:defRPr b="1"/>
            </a:lvl3pPr>
            <a:lvl4pPr lvl="3" rtl="0">
              <a:spcBef>
                <a:spcPts val="0"/>
              </a:spcBef>
              <a:spcAft>
                <a:spcPts val="0"/>
              </a:spcAft>
              <a:buSzPts val="1100"/>
              <a:buNone/>
              <a:defRPr b="1"/>
            </a:lvl4pPr>
            <a:lvl5pPr lvl="4" rtl="0">
              <a:spcBef>
                <a:spcPts val="0"/>
              </a:spcBef>
              <a:spcAft>
                <a:spcPts val="0"/>
              </a:spcAft>
              <a:buSzPts val="1100"/>
              <a:buNone/>
              <a:defRPr b="1"/>
            </a:lvl5pPr>
            <a:lvl6pPr lvl="5" rtl="0">
              <a:spcBef>
                <a:spcPts val="0"/>
              </a:spcBef>
              <a:spcAft>
                <a:spcPts val="0"/>
              </a:spcAft>
              <a:buSzPts val="1100"/>
              <a:buNone/>
              <a:defRPr b="1"/>
            </a:lvl6pPr>
            <a:lvl7pPr lvl="6" rtl="0">
              <a:spcBef>
                <a:spcPts val="0"/>
              </a:spcBef>
              <a:spcAft>
                <a:spcPts val="0"/>
              </a:spcAft>
              <a:buSzPts val="1100"/>
              <a:buNone/>
              <a:defRPr b="1"/>
            </a:lvl7pPr>
            <a:lvl8pPr lvl="7" rtl="0">
              <a:spcBef>
                <a:spcPts val="0"/>
              </a:spcBef>
              <a:spcAft>
                <a:spcPts val="0"/>
              </a:spcAft>
              <a:buSzPts val="1100"/>
              <a:buNone/>
              <a:defRPr b="1"/>
            </a:lvl8pPr>
            <a:lvl9pPr lvl="8" rtl="0">
              <a:spcBef>
                <a:spcPts val="0"/>
              </a:spcBef>
              <a:spcAft>
                <a:spcPts val="0"/>
              </a:spcAft>
              <a:buSzPts val="1100"/>
              <a:buNone/>
              <a:defRPr b="1"/>
            </a:lvl9pPr>
          </a:lstStyle>
          <a:p>
            <a:endParaRPr/>
          </a:p>
        </p:txBody>
      </p:sp>
      <p:sp>
        <p:nvSpPr>
          <p:cNvPr id="1610" name="Google Shape;1610;p35"/>
          <p:cNvSpPr/>
          <p:nvPr/>
        </p:nvSpPr>
        <p:spPr>
          <a:xfrm>
            <a:off x="481601" y="414630"/>
            <a:ext cx="349111" cy="305471"/>
          </a:xfrm>
          <a:custGeom>
            <a:avLst/>
            <a:gdLst/>
            <a:ahLst/>
            <a:cxnLst/>
            <a:rect l="l" t="t" r="r" b="b"/>
            <a:pathLst>
              <a:path w="1586865" h="1388506" extrusionOk="0">
                <a:moveTo>
                  <a:pt x="1083683" y="969931"/>
                </a:moveTo>
                <a:lnTo>
                  <a:pt x="1083683" y="579692"/>
                </a:lnTo>
                <a:lnTo>
                  <a:pt x="849297" y="969931"/>
                </a:lnTo>
                <a:lnTo>
                  <a:pt x="848892" y="969931"/>
                </a:lnTo>
                <a:cubicBezTo>
                  <a:pt x="848892" y="969931"/>
                  <a:pt x="848892" y="969931"/>
                  <a:pt x="848892" y="969931"/>
                </a:cubicBezTo>
                <a:lnTo>
                  <a:pt x="738783" y="969931"/>
                </a:lnTo>
                <a:lnTo>
                  <a:pt x="738783" y="577668"/>
                </a:lnTo>
                <a:lnTo>
                  <a:pt x="549735" y="892612"/>
                </a:lnTo>
                <a:cubicBezTo>
                  <a:pt x="527876" y="929449"/>
                  <a:pt x="510873" y="958191"/>
                  <a:pt x="503992" y="969931"/>
                </a:cubicBezTo>
                <a:lnTo>
                  <a:pt x="393073" y="969931"/>
                </a:lnTo>
                <a:lnTo>
                  <a:pt x="393073" y="418576"/>
                </a:lnTo>
                <a:lnTo>
                  <a:pt x="503992" y="418576"/>
                </a:lnTo>
                <a:lnTo>
                  <a:pt x="502777" y="760643"/>
                </a:lnTo>
                <a:lnTo>
                  <a:pt x="503587" y="782098"/>
                </a:lnTo>
                <a:lnTo>
                  <a:pt x="721781" y="418981"/>
                </a:lnTo>
                <a:lnTo>
                  <a:pt x="721781" y="418981"/>
                </a:lnTo>
                <a:lnTo>
                  <a:pt x="721781" y="418981"/>
                </a:lnTo>
                <a:lnTo>
                  <a:pt x="739188" y="418981"/>
                </a:lnTo>
                <a:lnTo>
                  <a:pt x="847678" y="418981"/>
                </a:lnTo>
                <a:cubicBezTo>
                  <a:pt x="847678" y="418981"/>
                  <a:pt x="848487" y="722995"/>
                  <a:pt x="848892" y="783717"/>
                </a:cubicBezTo>
                <a:lnTo>
                  <a:pt x="1067895" y="418981"/>
                </a:lnTo>
                <a:lnTo>
                  <a:pt x="1067895" y="418981"/>
                </a:lnTo>
                <a:lnTo>
                  <a:pt x="1067895" y="418981"/>
                </a:lnTo>
                <a:lnTo>
                  <a:pt x="1085302" y="418981"/>
                </a:lnTo>
                <a:lnTo>
                  <a:pt x="1193387" y="418981"/>
                </a:lnTo>
                <a:lnTo>
                  <a:pt x="1193387" y="970336"/>
                </a:lnTo>
                <a:lnTo>
                  <a:pt x="1083683" y="970336"/>
                </a:lnTo>
                <a:close/>
                <a:moveTo>
                  <a:pt x="1190149" y="0"/>
                </a:moveTo>
                <a:lnTo>
                  <a:pt x="396716" y="0"/>
                </a:lnTo>
                <a:lnTo>
                  <a:pt x="0" y="694253"/>
                </a:lnTo>
                <a:lnTo>
                  <a:pt x="396716" y="1388507"/>
                </a:lnTo>
                <a:lnTo>
                  <a:pt x="1190149" y="1388507"/>
                </a:lnTo>
                <a:lnTo>
                  <a:pt x="1586865" y="694253"/>
                </a:lnTo>
                <a:lnTo>
                  <a:pt x="1190149" y="0"/>
                </a:lnTo>
                <a:close/>
              </a:path>
            </a:pathLst>
          </a:custGeom>
          <a:solidFill>
            <a:schemeClr val="dk2"/>
          </a:solidFill>
          <a:ln>
            <a:noFill/>
          </a:ln>
        </p:spPr>
        <p:txBody>
          <a:bodyPr spcFirstLastPara="1" wrap="square" lIns="91433" tIns="45700" rIns="91433" bIns="45700"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611" name="Google Shape;1611;p35"/>
          <p:cNvSpPr txBox="1"/>
          <p:nvPr/>
        </p:nvSpPr>
        <p:spPr>
          <a:xfrm>
            <a:off x="481600" y="6245247"/>
            <a:ext cx="1288400" cy="273200"/>
          </a:xfrm>
          <a:prstGeom prst="rect">
            <a:avLst/>
          </a:prstGeom>
          <a:noFill/>
          <a:ln>
            <a:noFill/>
          </a:ln>
        </p:spPr>
        <p:txBody>
          <a:bodyPr spcFirstLastPara="1" wrap="square" lIns="0" tIns="0" rIns="0" bIns="0" anchor="b" anchorCtr="0">
            <a:noAutofit/>
          </a:bodyPr>
          <a:lstStyle/>
          <a:p>
            <a:pPr marL="0" lvl="0" indent="0" algn="l" rtl="0">
              <a:spcBef>
                <a:spcPts val="0"/>
              </a:spcBef>
              <a:spcAft>
                <a:spcPts val="0"/>
              </a:spcAft>
              <a:buNone/>
            </a:pPr>
            <a:r>
              <a:rPr lang="en-GB" sz="667">
                <a:solidFill>
                  <a:schemeClr val="dk2"/>
                </a:solidFill>
                <a:latin typeface="Inter"/>
                <a:ea typeface="Inter"/>
                <a:cs typeface="Inter"/>
                <a:sym typeface="Inter"/>
              </a:rPr>
              <a:t>Multiverse</a:t>
            </a:r>
            <a:endParaRPr sz="667">
              <a:solidFill>
                <a:schemeClr val="dk2"/>
              </a:solidFill>
              <a:latin typeface="Inter"/>
              <a:ea typeface="Inter"/>
              <a:cs typeface="Inter"/>
              <a:sym typeface="Inter"/>
            </a:endParaRPr>
          </a:p>
        </p:txBody>
      </p:sp>
      <p:sp>
        <p:nvSpPr>
          <p:cNvPr id="1612" name="Google Shape;1612;p35"/>
          <p:cNvSpPr txBox="1">
            <a:spLocks noGrp="1"/>
          </p:cNvSpPr>
          <p:nvPr>
            <p:ph type="body" idx="1"/>
          </p:nvPr>
        </p:nvSpPr>
        <p:spPr>
          <a:xfrm>
            <a:off x="501900" y="2616200"/>
            <a:ext cx="5117600" cy="3518000"/>
          </a:xfrm>
          <a:prstGeom prst="rect">
            <a:avLst/>
          </a:prstGeom>
        </p:spPr>
        <p:txBody>
          <a:bodyPr spcFirstLastPara="1" wrap="square" lIns="0" tIns="34275" rIns="68575" bIns="34275" anchor="t" anchorCtr="0">
            <a:noAutofit/>
          </a:bodyPr>
          <a:lstStyle>
            <a:lvl1pPr marL="609585" lvl="0" indent="-457189" rtl="0">
              <a:spcBef>
                <a:spcPts val="1067"/>
              </a:spcBef>
              <a:spcAft>
                <a:spcPts val="0"/>
              </a:spcAft>
              <a:buSzPts val="1800"/>
              <a:buChar char="●"/>
              <a:defRPr sz="3200"/>
            </a:lvl1pPr>
            <a:lvl2pPr marL="1219170" lvl="1" indent="-457189" rtl="0">
              <a:spcBef>
                <a:spcPts val="533"/>
              </a:spcBef>
              <a:spcAft>
                <a:spcPts val="0"/>
              </a:spcAft>
              <a:buSzPts val="1800"/>
              <a:buChar char="●"/>
              <a:defRPr sz="3200"/>
            </a:lvl2pPr>
            <a:lvl3pPr marL="1828754" lvl="2" indent="-457189" rtl="0">
              <a:spcBef>
                <a:spcPts val="533"/>
              </a:spcBef>
              <a:spcAft>
                <a:spcPts val="0"/>
              </a:spcAft>
              <a:buSzPts val="1800"/>
              <a:buChar char="●"/>
              <a:defRPr sz="3200"/>
            </a:lvl3pPr>
            <a:lvl4pPr marL="2438339" lvl="3" indent="-457189" rtl="0">
              <a:spcBef>
                <a:spcPts val="533"/>
              </a:spcBef>
              <a:spcAft>
                <a:spcPts val="0"/>
              </a:spcAft>
              <a:buSzPts val="1800"/>
              <a:buChar char="●"/>
              <a:defRPr sz="3200"/>
            </a:lvl4pPr>
            <a:lvl5pPr marL="3047924" lvl="4" indent="-457189" rtl="0">
              <a:spcBef>
                <a:spcPts val="533"/>
              </a:spcBef>
              <a:spcAft>
                <a:spcPts val="0"/>
              </a:spcAft>
              <a:buSzPts val="1800"/>
              <a:buChar char="●"/>
              <a:defRPr sz="3200"/>
            </a:lvl5pPr>
            <a:lvl6pPr marL="3657509" lvl="5" indent="-457189" rtl="0">
              <a:spcBef>
                <a:spcPts val="533"/>
              </a:spcBef>
              <a:spcAft>
                <a:spcPts val="0"/>
              </a:spcAft>
              <a:buSzPts val="1800"/>
              <a:buChar char="●"/>
              <a:defRPr sz="3200"/>
            </a:lvl6pPr>
            <a:lvl7pPr marL="4267093" lvl="6" indent="-457189" rtl="0">
              <a:spcBef>
                <a:spcPts val="533"/>
              </a:spcBef>
              <a:spcAft>
                <a:spcPts val="0"/>
              </a:spcAft>
              <a:buSzPts val="1800"/>
              <a:buChar char="●"/>
              <a:defRPr sz="3200"/>
            </a:lvl7pPr>
            <a:lvl8pPr marL="4876678" lvl="7" indent="-457189" rtl="0">
              <a:spcBef>
                <a:spcPts val="533"/>
              </a:spcBef>
              <a:spcAft>
                <a:spcPts val="0"/>
              </a:spcAft>
              <a:buSzPts val="1800"/>
              <a:buChar char="●"/>
              <a:defRPr sz="3200"/>
            </a:lvl8pPr>
            <a:lvl9pPr marL="5486263" lvl="8" indent="-507987" rtl="0">
              <a:spcBef>
                <a:spcPts val="533"/>
              </a:spcBef>
              <a:spcAft>
                <a:spcPts val="0"/>
              </a:spcAft>
              <a:buSzPts val="2400"/>
              <a:buChar char="●"/>
              <a:defRPr sz="3200"/>
            </a:lvl9pPr>
          </a:lstStyle>
          <a:p>
            <a:endParaRPr/>
          </a:p>
        </p:txBody>
      </p:sp>
      <p:sp>
        <p:nvSpPr>
          <p:cNvPr id="1613" name="Google Shape;1613;p35"/>
          <p:cNvSpPr txBox="1">
            <a:spLocks noGrp="1"/>
          </p:cNvSpPr>
          <p:nvPr>
            <p:ph type="subTitle" idx="5"/>
          </p:nvPr>
        </p:nvSpPr>
        <p:spPr>
          <a:xfrm>
            <a:off x="501908" y="2173300"/>
            <a:ext cx="2542800" cy="192000"/>
          </a:xfrm>
          <a:prstGeom prst="rect">
            <a:avLst/>
          </a:prstGeom>
          <a:solidFill>
            <a:schemeClr val="accent4"/>
          </a:solidFill>
          <a:ln w="28575" cap="flat" cmpd="sng">
            <a:solidFill>
              <a:schemeClr val="accent4"/>
            </a:solidFill>
            <a:prstDash val="solid"/>
            <a:round/>
            <a:headEnd type="none" w="sm" len="sm"/>
            <a:tailEnd type="none" w="sm" len="sm"/>
          </a:ln>
        </p:spPr>
        <p:txBody>
          <a:bodyPr spcFirstLastPara="1" wrap="square" lIns="36000" tIns="0" rIns="36000" bIns="0" anchor="ctr" anchorCtr="0">
            <a:noAutofit/>
          </a:bodyPr>
          <a:lstStyle>
            <a:lvl1pPr lvl="0" rtl="0">
              <a:spcBef>
                <a:spcPts val="1067"/>
              </a:spcBef>
              <a:spcAft>
                <a:spcPts val="0"/>
              </a:spcAft>
              <a:buSzPts val="900"/>
              <a:buFont typeface="Inter Medium"/>
              <a:buNone/>
              <a:defRPr sz="1200">
                <a:latin typeface="Inter Medium"/>
                <a:ea typeface="Inter Medium"/>
                <a:cs typeface="Inter Medium"/>
                <a:sym typeface="Inter Medium"/>
              </a:defRPr>
            </a:lvl1pPr>
            <a:lvl2pPr lvl="1" rtl="0">
              <a:spcBef>
                <a:spcPts val="533"/>
              </a:spcBef>
              <a:spcAft>
                <a:spcPts val="0"/>
              </a:spcAft>
              <a:buSzPts val="1200"/>
              <a:buNone/>
              <a:defRPr/>
            </a:lvl2pPr>
            <a:lvl3pPr lvl="2" rtl="0">
              <a:spcBef>
                <a:spcPts val="533"/>
              </a:spcBef>
              <a:spcAft>
                <a:spcPts val="0"/>
              </a:spcAft>
              <a:buSzPts val="1200"/>
              <a:buNone/>
              <a:defRPr/>
            </a:lvl3pPr>
            <a:lvl4pPr lvl="3" rtl="0">
              <a:spcBef>
                <a:spcPts val="533"/>
              </a:spcBef>
              <a:spcAft>
                <a:spcPts val="0"/>
              </a:spcAft>
              <a:buSzPts val="1200"/>
              <a:buNone/>
              <a:defRPr/>
            </a:lvl4pPr>
            <a:lvl5pPr lvl="4" rtl="0">
              <a:spcBef>
                <a:spcPts val="533"/>
              </a:spcBef>
              <a:spcAft>
                <a:spcPts val="0"/>
              </a:spcAft>
              <a:buSzPts val="1200"/>
              <a:buNone/>
              <a:defRPr/>
            </a:lvl5pPr>
            <a:lvl6pPr lvl="5" rtl="0">
              <a:spcBef>
                <a:spcPts val="533"/>
              </a:spcBef>
              <a:spcAft>
                <a:spcPts val="0"/>
              </a:spcAft>
              <a:buSzPts val="1200"/>
              <a:buNone/>
              <a:defRPr/>
            </a:lvl6pPr>
            <a:lvl7pPr lvl="6" rtl="0">
              <a:spcBef>
                <a:spcPts val="533"/>
              </a:spcBef>
              <a:spcAft>
                <a:spcPts val="0"/>
              </a:spcAft>
              <a:buSzPts val="1200"/>
              <a:buNone/>
              <a:defRPr/>
            </a:lvl7pPr>
            <a:lvl8pPr lvl="7" rtl="0">
              <a:spcBef>
                <a:spcPts val="533"/>
              </a:spcBef>
              <a:spcAft>
                <a:spcPts val="0"/>
              </a:spcAft>
              <a:buSzPts val="1200"/>
              <a:buNone/>
              <a:defRPr/>
            </a:lvl8pPr>
            <a:lvl9pPr lvl="8" rtl="0">
              <a:spcBef>
                <a:spcPts val="533"/>
              </a:spcBef>
              <a:spcAft>
                <a:spcPts val="0"/>
              </a:spcAft>
              <a:buSzPts val="1200"/>
              <a:buNone/>
              <a:defRPr/>
            </a:lvl9pPr>
          </a:lstStyle>
          <a:p>
            <a:endParaRPr/>
          </a:p>
        </p:txBody>
      </p:sp>
    </p:spTree>
    <p:extLst>
      <p:ext uri="{BB962C8B-B14F-4D97-AF65-F5344CB8AC3E}">
        <p14:creationId xmlns:p14="http://schemas.microsoft.com/office/powerpoint/2010/main" val="169983883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matchingName="Agenda List and 3 Images - Lunar">
  <p:cSld name="Agenda List and 3 Images - Lunar">
    <p:bg>
      <p:bgPr>
        <a:solidFill>
          <a:schemeClr val="lt2"/>
        </a:solidFill>
        <a:effectLst/>
      </p:bgPr>
    </p:bg>
    <p:spTree>
      <p:nvGrpSpPr>
        <p:cNvPr id="1" name="Shape 1614"/>
        <p:cNvGrpSpPr/>
        <p:nvPr/>
      </p:nvGrpSpPr>
      <p:grpSpPr>
        <a:xfrm>
          <a:off x="0" y="0"/>
          <a:ext cx="0" cy="0"/>
          <a:chOff x="0" y="0"/>
          <a:chExt cx="0" cy="0"/>
        </a:xfrm>
      </p:grpSpPr>
      <p:sp>
        <p:nvSpPr>
          <p:cNvPr id="1615" name="Google Shape;1615;p36"/>
          <p:cNvSpPr>
            <a:spLocks noGrp="1"/>
          </p:cNvSpPr>
          <p:nvPr>
            <p:ph type="pic" idx="2"/>
          </p:nvPr>
        </p:nvSpPr>
        <p:spPr>
          <a:xfrm>
            <a:off x="8946733" y="1335200"/>
            <a:ext cx="2763600" cy="2340800"/>
          </a:xfrm>
          <a:prstGeom prst="roundRect">
            <a:avLst>
              <a:gd name="adj" fmla="val 5837"/>
            </a:avLst>
          </a:prstGeom>
          <a:noFill/>
          <a:ln>
            <a:noFill/>
          </a:ln>
        </p:spPr>
      </p:sp>
      <p:sp>
        <p:nvSpPr>
          <p:cNvPr id="1616" name="Google Shape;1616;p36"/>
          <p:cNvSpPr>
            <a:spLocks noGrp="1"/>
          </p:cNvSpPr>
          <p:nvPr>
            <p:ph type="pic" idx="3"/>
          </p:nvPr>
        </p:nvSpPr>
        <p:spPr>
          <a:xfrm>
            <a:off x="8946733" y="3793200"/>
            <a:ext cx="2763600" cy="2340800"/>
          </a:xfrm>
          <a:prstGeom prst="roundRect">
            <a:avLst>
              <a:gd name="adj" fmla="val 5837"/>
            </a:avLst>
          </a:prstGeom>
          <a:noFill/>
          <a:ln>
            <a:noFill/>
          </a:ln>
        </p:spPr>
      </p:sp>
      <p:sp>
        <p:nvSpPr>
          <p:cNvPr id="1617" name="Google Shape;1617;p36"/>
          <p:cNvSpPr>
            <a:spLocks noGrp="1"/>
          </p:cNvSpPr>
          <p:nvPr>
            <p:ph type="pic" idx="4"/>
          </p:nvPr>
        </p:nvSpPr>
        <p:spPr>
          <a:xfrm>
            <a:off x="6063900" y="1335200"/>
            <a:ext cx="2763600" cy="4798800"/>
          </a:xfrm>
          <a:prstGeom prst="roundRect">
            <a:avLst>
              <a:gd name="adj" fmla="val 5837"/>
            </a:avLst>
          </a:prstGeom>
          <a:noFill/>
          <a:ln>
            <a:noFill/>
          </a:ln>
        </p:spPr>
      </p:sp>
      <p:sp>
        <p:nvSpPr>
          <p:cNvPr id="1618" name="Google Shape;1618;p36"/>
          <p:cNvSpPr txBox="1">
            <a:spLocks noGrp="1"/>
          </p:cNvSpPr>
          <p:nvPr>
            <p:ph type="sldNum" idx="12"/>
          </p:nvPr>
        </p:nvSpPr>
        <p:spPr>
          <a:xfrm>
            <a:off x="10978845" y="5993647"/>
            <a:ext cx="731600" cy="524800"/>
          </a:xfrm>
          <a:prstGeom prst="rect">
            <a:avLst/>
          </a:prstGeom>
        </p:spPr>
        <p:txBody>
          <a:bodyPr spcFirstLastPara="1" wrap="square" lIns="91425" tIns="91425" rIns="0" bIns="0" anchor="b" anchorCtr="0">
            <a:noAutofit/>
          </a:bodyPr>
          <a:lstStyle>
            <a:lvl1pPr lvl="0" algn="r" rtl="0">
              <a:buNone/>
              <a:defRPr sz="667">
                <a:solidFill>
                  <a:schemeClr val="dk2"/>
                </a:solidFill>
                <a:latin typeface="Inter"/>
                <a:ea typeface="Inter"/>
                <a:cs typeface="Inter"/>
                <a:sym typeface="Inter"/>
              </a:defRPr>
            </a:lvl1pPr>
            <a:lvl2pPr lvl="1" algn="r" rtl="0">
              <a:buNone/>
              <a:defRPr sz="667">
                <a:solidFill>
                  <a:schemeClr val="dk2"/>
                </a:solidFill>
                <a:latin typeface="Inter"/>
                <a:ea typeface="Inter"/>
                <a:cs typeface="Inter"/>
                <a:sym typeface="Inter"/>
              </a:defRPr>
            </a:lvl2pPr>
            <a:lvl3pPr lvl="2" algn="r" rtl="0">
              <a:buNone/>
              <a:defRPr sz="667">
                <a:solidFill>
                  <a:schemeClr val="dk2"/>
                </a:solidFill>
                <a:latin typeface="Inter"/>
                <a:ea typeface="Inter"/>
                <a:cs typeface="Inter"/>
                <a:sym typeface="Inter"/>
              </a:defRPr>
            </a:lvl3pPr>
            <a:lvl4pPr lvl="3" algn="r" rtl="0">
              <a:buNone/>
              <a:defRPr sz="667">
                <a:solidFill>
                  <a:schemeClr val="dk2"/>
                </a:solidFill>
                <a:latin typeface="Inter"/>
                <a:ea typeface="Inter"/>
                <a:cs typeface="Inter"/>
                <a:sym typeface="Inter"/>
              </a:defRPr>
            </a:lvl4pPr>
            <a:lvl5pPr lvl="4" algn="r" rtl="0">
              <a:buNone/>
              <a:defRPr sz="667">
                <a:solidFill>
                  <a:schemeClr val="dk2"/>
                </a:solidFill>
                <a:latin typeface="Inter"/>
                <a:ea typeface="Inter"/>
                <a:cs typeface="Inter"/>
                <a:sym typeface="Inter"/>
              </a:defRPr>
            </a:lvl5pPr>
            <a:lvl6pPr lvl="5" algn="r" rtl="0">
              <a:buNone/>
              <a:defRPr sz="667">
                <a:solidFill>
                  <a:schemeClr val="dk2"/>
                </a:solidFill>
                <a:latin typeface="Inter"/>
                <a:ea typeface="Inter"/>
                <a:cs typeface="Inter"/>
                <a:sym typeface="Inter"/>
              </a:defRPr>
            </a:lvl6pPr>
            <a:lvl7pPr lvl="6" algn="r" rtl="0">
              <a:buNone/>
              <a:defRPr sz="667">
                <a:solidFill>
                  <a:schemeClr val="dk2"/>
                </a:solidFill>
                <a:latin typeface="Inter"/>
                <a:ea typeface="Inter"/>
                <a:cs typeface="Inter"/>
                <a:sym typeface="Inter"/>
              </a:defRPr>
            </a:lvl7pPr>
            <a:lvl8pPr lvl="7" algn="r" rtl="0">
              <a:buNone/>
              <a:defRPr sz="667">
                <a:solidFill>
                  <a:schemeClr val="dk2"/>
                </a:solidFill>
                <a:latin typeface="Inter"/>
                <a:ea typeface="Inter"/>
                <a:cs typeface="Inter"/>
                <a:sym typeface="Inter"/>
              </a:defRPr>
            </a:lvl8pPr>
            <a:lvl9pPr lvl="8" algn="r" rtl="0">
              <a:buNone/>
              <a:defRPr sz="667">
                <a:solidFill>
                  <a:schemeClr val="dk2"/>
                </a:solidFill>
                <a:latin typeface="Inter"/>
                <a:ea typeface="Inter"/>
                <a:cs typeface="Inter"/>
                <a:sym typeface="Inter"/>
              </a:defRPr>
            </a:lvl9pPr>
          </a:lstStyle>
          <a:p>
            <a:fld id="{00000000-1234-1234-1234-123412341234}" type="slidenum">
              <a:rPr lang="en-GB" smtClean="0"/>
              <a:pPr/>
              <a:t>‹#›</a:t>
            </a:fld>
            <a:endParaRPr lang="en-GB"/>
          </a:p>
        </p:txBody>
      </p:sp>
      <p:sp>
        <p:nvSpPr>
          <p:cNvPr id="1619" name="Google Shape;1619;p36"/>
          <p:cNvSpPr txBox="1">
            <a:spLocks noGrp="1"/>
          </p:cNvSpPr>
          <p:nvPr>
            <p:ph type="title"/>
          </p:nvPr>
        </p:nvSpPr>
        <p:spPr>
          <a:xfrm>
            <a:off x="951700" y="359999"/>
            <a:ext cx="10515600" cy="524800"/>
          </a:xfrm>
          <a:prstGeom prst="rect">
            <a:avLst/>
          </a:prstGeom>
          <a:noFill/>
          <a:ln>
            <a:noFill/>
          </a:ln>
        </p:spPr>
        <p:txBody>
          <a:bodyPr spcFirstLastPara="1" wrap="square" lIns="0" tIns="0" rIns="68575" bIns="34275" anchor="t" anchorCtr="0">
            <a:noAutofit/>
          </a:bodyPr>
          <a:lstStyle>
            <a:lvl1pPr lvl="0" algn="l" rtl="0">
              <a:lnSpc>
                <a:spcPct val="90000"/>
              </a:lnSpc>
              <a:spcBef>
                <a:spcPts val="0"/>
              </a:spcBef>
              <a:spcAft>
                <a:spcPts val="0"/>
              </a:spcAft>
              <a:buClr>
                <a:schemeClr val="dk1"/>
              </a:buClr>
              <a:buSzPts val="2400"/>
              <a:buFont typeface="Inter Medium"/>
              <a:buNone/>
              <a:defRPr sz="3200">
                <a:latin typeface="Inter Medium"/>
                <a:ea typeface="Inter Medium"/>
                <a:cs typeface="Inter Medium"/>
                <a:sym typeface="Inter Medium"/>
              </a:defRPr>
            </a:lvl1pPr>
            <a:lvl2pPr lvl="1" rtl="0">
              <a:spcBef>
                <a:spcPts val="0"/>
              </a:spcBef>
              <a:spcAft>
                <a:spcPts val="0"/>
              </a:spcAft>
              <a:buSzPts val="1100"/>
              <a:buNone/>
              <a:defRPr b="1"/>
            </a:lvl2pPr>
            <a:lvl3pPr lvl="2" rtl="0">
              <a:spcBef>
                <a:spcPts val="0"/>
              </a:spcBef>
              <a:spcAft>
                <a:spcPts val="0"/>
              </a:spcAft>
              <a:buSzPts val="1100"/>
              <a:buNone/>
              <a:defRPr b="1"/>
            </a:lvl3pPr>
            <a:lvl4pPr lvl="3" rtl="0">
              <a:spcBef>
                <a:spcPts val="0"/>
              </a:spcBef>
              <a:spcAft>
                <a:spcPts val="0"/>
              </a:spcAft>
              <a:buSzPts val="1100"/>
              <a:buNone/>
              <a:defRPr b="1"/>
            </a:lvl4pPr>
            <a:lvl5pPr lvl="4" rtl="0">
              <a:spcBef>
                <a:spcPts val="0"/>
              </a:spcBef>
              <a:spcAft>
                <a:spcPts val="0"/>
              </a:spcAft>
              <a:buSzPts val="1100"/>
              <a:buNone/>
              <a:defRPr b="1"/>
            </a:lvl5pPr>
            <a:lvl6pPr lvl="5" rtl="0">
              <a:spcBef>
                <a:spcPts val="0"/>
              </a:spcBef>
              <a:spcAft>
                <a:spcPts val="0"/>
              </a:spcAft>
              <a:buSzPts val="1100"/>
              <a:buNone/>
              <a:defRPr b="1"/>
            </a:lvl6pPr>
            <a:lvl7pPr lvl="6" rtl="0">
              <a:spcBef>
                <a:spcPts val="0"/>
              </a:spcBef>
              <a:spcAft>
                <a:spcPts val="0"/>
              </a:spcAft>
              <a:buSzPts val="1100"/>
              <a:buNone/>
              <a:defRPr b="1"/>
            </a:lvl7pPr>
            <a:lvl8pPr lvl="7" rtl="0">
              <a:spcBef>
                <a:spcPts val="0"/>
              </a:spcBef>
              <a:spcAft>
                <a:spcPts val="0"/>
              </a:spcAft>
              <a:buSzPts val="1100"/>
              <a:buNone/>
              <a:defRPr b="1"/>
            </a:lvl8pPr>
            <a:lvl9pPr lvl="8" rtl="0">
              <a:spcBef>
                <a:spcPts val="0"/>
              </a:spcBef>
              <a:spcAft>
                <a:spcPts val="0"/>
              </a:spcAft>
              <a:buSzPts val="1100"/>
              <a:buNone/>
              <a:defRPr b="1"/>
            </a:lvl9pPr>
          </a:lstStyle>
          <a:p>
            <a:endParaRPr/>
          </a:p>
        </p:txBody>
      </p:sp>
      <p:sp>
        <p:nvSpPr>
          <p:cNvPr id="1620" name="Google Shape;1620;p36"/>
          <p:cNvSpPr/>
          <p:nvPr/>
        </p:nvSpPr>
        <p:spPr>
          <a:xfrm>
            <a:off x="481601" y="414630"/>
            <a:ext cx="349111" cy="305471"/>
          </a:xfrm>
          <a:custGeom>
            <a:avLst/>
            <a:gdLst/>
            <a:ahLst/>
            <a:cxnLst/>
            <a:rect l="l" t="t" r="r" b="b"/>
            <a:pathLst>
              <a:path w="1586865" h="1388506" extrusionOk="0">
                <a:moveTo>
                  <a:pt x="1083683" y="969931"/>
                </a:moveTo>
                <a:lnTo>
                  <a:pt x="1083683" y="579692"/>
                </a:lnTo>
                <a:lnTo>
                  <a:pt x="849297" y="969931"/>
                </a:lnTo>
                <a:lnTo>
                  <a:pt x="848892" y="969931"/>
                </a:lnTo>
                <a:cubicBezTo>
                  <a:pt x="848892" y="969931"/>
                  <a:pt x="848892" y="969931"/>
                  <a:pt x="848892" y="969931"/>
                </a:cubicBezTo>
                <a:lnTo>
                  <a:pt x="738783" y="969931"/>
                </a:lnTo>
                <a:lnTo>
                  <a:pt x="738783" y="577668"/>
                </a:lnTo>
                <a:lnTo>
                  <a:pt x="549735" y="892612"/>
                </a:lnTo>
                <a:cubicBezTo>
                  <a:pt x="527876" y="929449"/>
                  <a:pt x="510873" y="958191"/>
                  <a:pt x="503992" y="969931"/>
                </a:cubicBezTo>
                <a:lnTo>
                  <a:pt x="393073" y="969931"/>
                </a:lnTo>
                <a:lnTo>
                  <a:pt x="393073" y="418576"/>
                </a:lnTo>
                <a:lnTo>
                  <a:pt x="503992" y="418576"/>
                </a:lnTo>
                <a:lnTo>
                  <a:pt x="502777" y="760643"/>
                </a:lnTo>
                <a:lnTo>
                  <a:pt x="503587" y="782098"/>
                </a:lnTo>
                <a:lnTo>
                  <a:pt x="721781" y="418981"/>
                </a:lnTo>
                <a:lnTo>
                  <a:pt x="721781" y="418981"/>
                </a:lnTo>
                <a:lnTo>
                  <a:pt x="721781" y="418981"/>
                </a:lnTo>
                <a:lnTo>
                  <a:pt x="739188" y="418981"/>
                </a:lnTo>
                <a:lnTo>
                  <a:pt x="847678" y="418981"/>
                </a:lnTo>
                <a:cubicBezTo>
                  <a:pt x="847678" y="418981"/>
                  <a:pt x="848487" y="722995"/>
                  <a:pt x="848892" y="783717"/>
                </a:cubicBezTo>
                <a:lnTo>
                  <a:pt x="1067895" y="418981"/>
                </a:lnTo>
                <a:lnTo>
                  <a:pt x="1067895" y="418981"/>
                </a:lnTo>
                <a:lnTo>
                  <a:pt x="1067895" y="418981"/>
                </a:lnTo>
                <a:lnTo>
                  <a:pt x="1085302" y="418981"/>
                </a:lnTo>
                <a:lnTo>
                  <a:pt x="1193387" y="418981"/>
                </a:lnTo>
                <a:lnTo>
                  <a:pt x="1193387" y="970336"/>
                </a:lnTo>
                <a:lnTo>
                  <a:pt x="1083683" y="970336"/>
                </a:lnTo>
                <a:close/>
                <a:moveTo>
                  <a:pt x="1190149" y="0"/>
                </a:moveTo>
                <a:lnTo>
                  <a:pt x="396716" y="0"/>
                </a:lnTo>
                <a:lnTo>
                  <a:pt x="0" y="694253"/>
                </a:lnTo>
                <a:lnTo>
                  <a:pt x="396716" y="1388507"/>
                </a:lnTo>
                <a:lnTo>
                  <a:pt x="1190149" y="1388507"/>
                </a:lnTo>
                <a:lnTo>
                  <a:pt x="1586865" y="694253"/>
                </a:lnTo>
                <a:lnTo>
                  <a:pt x="1190149" y="0"/>
                </a:lnTo>
                <a:close/>
              </a:path>
            </a:pathLst>
          </a:custGeom>
          <a:solidFill>
            <a:schemeClr val="dk2"/>
          </a:solidFill>
          <a:ln>
            <a:noFill/>
          </a:ln>
        </p:spPr>
        <p:txBody>
          <a:bodyPr spcFirstLastPara="1" wrap="square" lIns="91433" tIns="45700" rIns="91433" bIns="45700"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621" name="Google Shape;1621;p36"/>
          <p:cNvSpPr txBox="1"/>
          <p:nvPr/>
        </p:nvSpPr>
        <p:spPr>
          <a:xfrm>
            <a:off x="481600" y="6245247"/>
            <a:ext cx="1288400" cy="273200"/>
          </a:xfrm>
          <a:prstGeom prst="rect">
            <a:avLst/>
          </a:prstGeom>
          <a:noFill/>
          <a:ln>
            <a:noFill/>
          </a:ln>
        </p:spPr>
        <p:txBody>
          <a:bodyPr spcFirstLastPara="1" wrap="square" lIns="0" tIns="0" rIns="0" bIns="0" anchor="b" anchorCtr="0">
            <a:noAutofit/>
          </a:bodyPr>
          <a:lstStyle/>
          <a:p>
            <a:pPr marL="0" lvl="0" indent="0" algn="l" rtl="0">
              <a:spcBef>
                <a:spcPts val="0"/>
              </a:spcBef>
              <a:spcAft>
                <a:spcPts val="0"/>
              </a:spcAft>
              <a:buNone/>
            </a:pPr>
            <a:r>
              <a:rPr lang="en-GB" sz="667">
                <a:solidFill>
                  <a:schemeClr val="dk2"/>
                </a:solidFill>
                <a:latin typeface="Inter"/>
                <a:ea typeface="Inter"/>
                <a:cs typeface="Inter"/>
                <a:sym typeface="Inter"/>
              </a:rPr>
              <a:t>Multiverse</a:t>
            </a:r>
            <a:endParaRPr sz="667">
              <a:solidFill>
                <a:schemeClr val="dk2"/>
              </a:solidFill>
              <a:latin typeface="Inter"/>
              <a:ea typeface="Inter"/>
              <a:cs typeface="Inter"/>
              <a:sym typeface="Inter"/>
            </a:endParaRPr>
          </a:p>
        </p:txBody>
      </p:sp>
      <p:sp>
        <p:nvSpPr>
          <p:cNvPr id="1622" name="Google Shape;1622;p36"/>
          <p:cNvSpPr txBox="1">
            <a:spLocks noGrp="1"/>
          </p:cNvSpPr>
          <p:nvPr>
            <p:ph type="body" idx="1"/>
          </p:nvPr>
        </p:nvSpPr>
        <p:spPr>
          <a:xfrm>
            <a:off x="501900" y="2616200"/>
            <a:ext cx="5117600" cy="3518000"/>
          </a:xfrm>
          <a:prstGeom prst="rect">
            <a:avLst/>
          </a:prstGeom>
        </p:spPr>
        <p:txBody>
          <a:bodyPr spcFirstLastPara="1" wrap="square" lIns="0" tIns="34275" rIns="68575" bIns="34275" anchor="t" anchorCtr="0">
            <a:noAutofit/>
          </a:bodyPr>
          <a:lstStyle>
            <a:lvl1pPr marL="609585" lvl="0" indent="-457189" rtl="0">
              <a:spcBef>
                <a:spcPts val="1067"/>
              </a:spcBef>
              <a:spcAft>
                <a:spcPts val="0"/>
              </a:spcAft>
              <a:buSzPts val="1800"/>
              <a:buChar char="●"/>
              <a:defRPr sz="3200"/>
            </a:lvl1pPr>
            <a:lvl2pPr marL="1219170" lvl="1" indent="-457189" rtl="0">
              <a:spcBef>
                <a:spcPts val="533"/>
              </a:spcBef>
              <a:spcAft>
                <a:spcPts val="0"/>
              </a:spcAft>
              <a:buSzPts val="1800"/>
              <a:buChar char="●"/>
              <a:defRPr sz="3200"/>
            </a:lvl2pPr>
            <a:lvl3pPr marL="1828754" lvl="2" indent="-457189" rtl="0">
              <a:spcBef>
                <a:spcPts val="533"/>
              </a:spcBef>
              <a:spcAft>
                <a:spcPts val="0"/>
              </a:spcAft>
              <a:buSzPts val="1800"/>
              <a:buChar char="●"/>
              <a:defRPr sz="3200"/>
            </a:lvl3pPr>
            <a:lvl4pPr marL="2438339" lvl="3" indent="-457189" rtl="0">
              <a:spcBef>
                <a:spcPts val="533"/>
              </a:spcBef>
              <a:spcAft>
                <a:spcPts val="0"/>
              </a:spcAft>
              <a:buSzPts val="1800"/>
              <a:buChar char="●"/>
              <a:defRPr sz="3200"/>
            </a:lvl4pPr>
            <a:lvl5pPr marL="3047924" lvl="4" indent="-457189" rtl="0">
              <a:spcBef>
                <a:spcPts val="533"/>
              </a:spcBef>
              <a:spcAft>
                <a:spcPts val="0"/>
              </a:spcAft>
              <a:buSzPts val="1800"/>
              <a:buChar char="●"/>
              <a:defRPr sz="3200"/>
            </a:lvl5pPr>
            <a:lvl6pPr marL="3657509" lvl="5" indent="-457189" rtl="0">
              <a:spcBef>
                <a:spcPts val="533"/>
              </a:spcBef>
              <a:spcAft>
                <a:spcPts val="0"/>
              </a:spcAft>
              <a:buSzPts val="1800"/>
              <a:buChar char="●"/>
              <a:defRPr sz="3200"/>
            </a:lvl6pPr>
            <a:lvl7pPr marL="4267093" lvl="6" indent="-457189" rtl="0">
              <a:spcBef>
                <a:spcPts val="533"/>
              </a:spcBef>
              <a:spcAft>
                <a:spcPts val="0"/>
              </a:spcAft>
              <a:buSzPts val="1800"/>
              <a:buChar char="●"/>
              <a:defRPr sz="3200"/>
            </a:lvl7pPr>
            <a:lvl8pPr marL="4876678" lvl="7" indent="-457189" rtl="0">
              <a:spcBef>
                <a:spcPts val="533"/>
              </a:spcBef>
              <a:spcAft>
                <a:spcPts val="0"/>
              </a:spcAft>
              <a:buSzPts val="1800"/>
              <a:buChar char="●"/>
              <a:defRPr sz="3200"/>
            </a:lvl8pPr>
            <a:lvl9pPr marL="5486263" lvl="8" indent="-507987" rtl="0">
              <a:spcBef>
                <a:spcPts val="533"/>
              </a:spcBef>
              <a:spcAft>
                <a:spcPts val="0"/>
              </a:spcAft>
              <a:buSzPts val="2400"/>
              <a:buChar char="●"/>
              <a:defRPr sz="3200"/>
            </a:lvl9pPr>
          </a:lstStyle>
          <a:p>
            <a:endParaRPr/>
          </a:p>
        </p:txBody>
      </p:sp>
      <p:sp>
        <p:nvSpPr>
          <p:cNvPr id="1623" name="Google Shape;1623;p36"/>
          <p:cNvSpPr txBox="1">
            <a:spLocks noGrp="1"/>
          </p:cNvSpPr>
          <p:nvPr>
            <p:ph type="subTitle" idx="5"/>
          </p:nvPr>
        </p:nvSpPr>
        <p:spPr>
          <a:xfrm>
            <a:off x="501908" y="2173300"/>
            <a:ext cx="2542800" cy="192000"/>
          </a:xfrm>
          <a:prstGeom prst="rect">
            <a:avLst/>
          </a:prstGeom>
          <a:solidFill>
            <a:schemeClr val="accent4"/>
          </a:solidFill>
          <a:ln w="28575" cap="flat" cmpd="sng">
            <a:solidFill>
              <a:schemeClr val="accent4"/>
            </a:solidFill>
            <a:prstDash val="solid"/>
            <a:round/>
            <a:headEnd type="none" w="sm" len="sm"/>
            <a:tailEnd type="none" w="sm" len="sm"/>
          </a:ln>
        </p:spPr>
        <p:txBody>
          <a:bodyPr spcFirstLastPara="1" wrap="square" lIns="36000" tIns="0" rIns="36000" bIns="0" anchor="ctr" anchorCtr="0">
            <a:noAutofit/>
          </a:bodyPr>
          <a:lstStyle>
            <a:lvl1pPr lvl="0" rtl="0">
              <a:spcBef>
                <a:spcPts val="1067"/>
              </a:spcBef>
              <a:spcAft>
                <a:spcPts val="0"/>
              </a:spcAft>
              <a:buSzPts val="900"/>
              <a:buFont typeface="Inter Medium"/>
              <a:buNone/>
              <a:defRPr sz="1200">
                <a:latin typeface="Inter Medium"/>
                <a:ea typeface="Inter Medium"/>
                <a:cs typeface="Inter Medium"/>
                <a:sym typeface="Inter Medium"/>
              </a:defRPr>
            </a:lvl1pPr>
            <a:lvl2pPr lvl="1" rtl="0">
              <a:spcBef>
                <a:spcPts val="533"/>
              </a:spcBef>
              <a:spcAft>
                <a:spcPts val="0"/>
              </a:spcAft>
              <a:buSzPts val="1200"/>
              <a:buNone/>
              <a:defRPr/>
            </a:lvl2pPr>
            <a:lvl3pPr lvl="2" rtl="0">
              <a:spcBef>
                <a:spcPts val="533"/>
              </a:spcBef>
              <a:spcAft>
                <a:spcPts val="0"/>
              </a:spcAft>
              <a:buSzPts val="1200"/>
              <a:buNone/>
              <a:defRPr/>
            </a:lvl3pPr>
            <a:lvl4pPr lvl="3" rtl="0">
              <a:spcBef>
                <a:spcPts val="533"/>
              </a:spcBef>
              <a:spcAft>
                <a:spcPts val="0"/>
              </a:spcAft>
              <a:buSzPts val="1200"/>
              <a:buNone/>
              <a:defRPr/>
            </a:lvl4pPr>
            <a:lvl5pPr lvl="4" rtl="0">
              <a:spcBef>
                <a:spcPts val="533"/>
              </a:spcBef>
              <a:spcAft>
                <a:spcPts val="0"/>
              </a:spcAft>
              <a:buSzPts val="1200"/>
              <a:buNone/>
              <a:defRPr/>
            </a:lvl5pPr>
            <a:lvl6pPr lvl="5" rtl="0">
              <a:spcBef>
                <a:spcPts val="533"/>
              </a:spcBef>
              <a:spcAft>
                <a:spcPts val="0"/>
              </a:spcAft>
              <a:buSzPts val="1200"/>
              <a:buNone/>
              <a:defRPr/>
            </a:lvl6pPr>
            <a:lvl7pPr lvl="6" rtl="0">
              <a:spcBef>
                <a:spcPts val="533"/>
              </a:spcBef>
              <a:spcAft>
                <a:spcPts val="0"/>
              </a:spcAft>
              <a:buSzPts val="1200"/>
              <a:buNone/>
              <a:defRPr/>
            </a:lvl7pPr>
            <a:lvl8pPr lvl="7" rtl="0">
              <a:spcBef>
                <a:spcPts val="533"/>
              </a:spcBef>
              <a:spcAft>
                <a:spcPts val="0"/>
              </a:spcAft>
              <a:buSzPts val="1200"/>
              <a:buNone/>
              <a:defRPr/>
            </a:lvl8pPr>
            <a:lvl9pPr lvl="8" rtl="0">
              <a:spcBef>
                <a:spcPts val="533"/>
              </a:spcBef>
              <a:spcAft>
                <a:spcPts val="0"/>
              </a:spcAft>
              <a:buSzPts val="1200"/>
              <a:buNone/>
              <a:defRPr/>
            </a:lvl9pPr>
          </a:lstStyle>
          <a:p>
            <a:endParaRPr/>
          </a:p>
        </p:txBody>
      </p:sp>
    </p:spTree>
    <p:extLst>
      <p:ext uri="{BB962C8B-B14F-4D97-AF65-F5344CB8AC3E}">
        <p14:creationId xmlns:p14="http://schemas.microsoft.com/office/powerpoint/2010/main" val="193777179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matchingName="Agenda List  - 1 Image">
  <p:cSld name="Agenda List  - 1 Image">
    <p:bg>
      <p:bgPr>
        <a:solidFill>
          <a:schemeClr val="lt2"/>
        </a:solidFill>
        <a:effectLst/>
      </p:bgPr>
    </p:bg>
    <p:spTree>
      <p:nvGrpSpPr>
        <p:cNvPr id="1" name="Shape 1624"/>
        <p:cNvGrpSpPr/>
        <p:nvPr/>
      </p:nvGrpSpPr>
      <p:grpSpPr>
        <a:xfrm>
          <a:off x="0" y="0"/>
          <a:ext cx="0" cy="0"/>
          <a:chOff x="0" y="0"/>
          <a:chExt cx="0" cy="0"/>
        </a:xfrm>
      </p:grpSpPr>
      <p:sp>
        <p:nvSpPr>
          <p:cNvPr id="1625" name="Google Shape;1625;p37"/>
          <p:cNvSpPr txBox="1">
            <a:spLocks noGrp="1"/>
          </p:cNvSpPr>
          <p:nvPr>
            <p:ph type="title"/>
          </p:nvPr>
        </p:nvSpPr>
        <p:spPr>
          <a:xfrm>
            <a:off x="951700" y="359997"/>
            <a:ext cx="10515600" cy="975200"/>
          </a:xfrm>
          <a:prstGeom prst="rect">
            <a:avLst/>
          </a:prstGeom>
          <a:noFill/>
          <a:ln>
            <a:noFill/>
          </a:ln>
        </p:spPr>
        <p:txBody>
          <a:bodyPr spcFirstLastPara="1" wrap="square" lIns="0" tIns="0" rIns="68575" bIns="34275" anchor="t" anchorCtr="0">
            <a:noAutofit/>
          </a:bodyPr>
          <a:lstStyle>
            <a:lvl1pPr lvl="0" algn="l" rtl="0">
              <a:lnSpc>
                <a:spcPct val="90000"/>
              </a:lnSpc>
              <a:spcBef>
                <a:spcPts val="0"/>
              </a:spcBef>
              <a:spcAft>
                <a:spcPts val="0"/>
              </a:spcAft>
              <a:buClr>
                <a:schemeClr val="dk1"/>
              </a:buClr>
              <a:buSzPts val="2400"/>
              <a:buFont typeface="Inter Medium"/>
              <a:buNone/>
              <a:defRPr sz="3200">
                <a:latin typeface="Inter Medium"/>
                <a:ea typeface="Inter Medium"/>
                <a:cs typeface="Inter Medium"/>
                <a:sym typeface="Inter Medium"/>
              </a:defRPr>
            </a:lvl1pPr>
            <a:lvl2pPr lvl="1" rtl="0">
              <a:spcBef>
                <a:spcPts val="0"/>
              </a:spcBef>
              <a:spcAft>
                <a:spcPts val="0"/>
              </a:spcAft>
              <a:buSzPts val="1100"/>
              <a:buNone/>
              <a:defRPr b="1"/>
            </a:lvl2pPr>
            <a:lvl3pPr lvl="2" rtl="0">
              <a:spcBef>
                <a:spcPts val="0"/>
              </a:spcBef>
              <a:spcAft>
                <a:spcPts val="0"/>
              </a:spcAft>
              <a:buSzPts val="1100"/>
              <a:buNone/>
              <a:defRPr b="1"/>
            </a:lvl3pPr>
            <a:lvl4pPr lvl="3" rtl="0">
              <a:spcBef>
                <a:spcPts val="0"/>
              </a:spcBef>
              <a:spcAft>
                <a:spcPts val="0"/>
              </a:spcAft>
              <a:buSzPts val="1100"/>
              <a:buNone/>
              <a:defRPr b="1"/>
            </a:lvl4pPr>
            <a:lvl5pPr lvl="4" rtl="0">
              <a:spcBef>
                <a:spcPts val="0"/>
              </a:spcBef>
              <a:spcAft>
                <a:spcPts val="0"/>
              </a:spcAft>
              <a:buSzPts val="1100"/>
              <a:buNone/>
              <a:defRPr b="1"/>
            </a:lvl5pPr>
            <a:lvl6pPr lvl="5" rtl="0">
              <a:spcBef>
                <a:spcPts val="0"/>
              </a:spcBef>
              <a:spcAft>
                <a:spcPts val="0"/>
              </a:spcAft>
              <a:buSzPts val="1100"/>
              <a:buNone/>
              <a:defRPr b="1"/>
            </a:lvl6pPr>
            <a:lvl7pPr lvl="6" rtl="0">
              <a:spcBef>
                <a:spcPts val="0"/>
              </a:spcBef>
              <a:spcAft>
                <a:spcPts val="0"/>
              </a:spcAft>
              <a:buSzPts val="1100"/>
              <a:buNone/>
              <a:defRPr b="1"/>
            </a:lvl7pPr>
            <a:lvl8pPr lvl="7" rtl="0">
              <a:spcBef>
                <a:spcPts val="0"/>
              </a:spcBef>
              <a:spcAft>
                <a:spcPts val="0"/>
              </a:spcAft>
              <a:buSzPts val="1100"/>
              <a:buNone/>
              <a:defRPr b="1"/>
            </a:lvl8pPr>
            <a:lvl9pPr lvl="8" rtl="0">
              <a:spcBef>
                <a:spcPts val="0"/>
              </a:spcBef>
              <a:spcAft>
                <a:spcPts val="0"/>
              </a:spcAft>
              <a:buSzPts val="1100"/>
              <a:buNone/>
              <a:defRPr b="1"/>
            </a:lvl9pPr>
          </a:lstStyle>
          <a:p>
            <a:endParaRPr/>
          </a:p>
        </p:txBody>
      </p:sp>
      <p:sp>
        <p:nvSpPr>
          <p:cNvPr id="1626" name="Google Shape;1626;p37"/>
          <p:cNvSpPr txBox="1">
            <a:spLocks noGrp="1"/>
          </p:cNvSpPr>
          <p:nvPr>
            <p:ph type="sldNum" idx="12"/>
          </p:nvPr>
        </p:nvSpPr>
        <p:spPr>
          <a:xfrm>
            <a:off x="10978812" y="5993647"/>
            <a:ext cx="731600" cy="524800"/>
          </a:xfrm>
          <a:prstGeom prst="rect">
            <a:avLst/>
          </a:prstGeom>
        </p:spPr>
        <p:txBody>
          <a:bodyPr spcFirstLastPara="1" wrap="square" lIns="91425" tIns="91425" rIns="0" bIns="0" anchor="b" anchorCtr="0">
            <a:noAutofit/>
          </a:bodyPr>
          <a:lstStyle>
            <a:lvl1pPr lvl="0" algn="r" rtl="0">
              <a:buNone/>
              <a:defRPr sz="667">
                <a:solidFill>
                  <a:schemeClr val="dk2"/>
                </a:solidFill>
                <a:latin typeface="Inter"/>
                <a:ea typeface="Inter"/>
                <a:cs typeface="Inter"/>
                <a:sym typeface="Inter"/>
              </a:defRPr>
            </a:lvl1pPr>
            <a:lvl2pPr lvl="1" algn="r" rtl="0">
              <a:buNone/>
              <a:defRPr sz="667">
                <a:solidFill>
                  <a:schemeClr val="dk2"/>
                </a:solidFill>
                <a:latin typeface="Inter"/>
                <a:ea typeface="Inter"/>
                <a:cs typeface="Inter"/>
                <a:sym typeface="Inter"/>
              </a:defRPr>
            </a:lvl2pPr>
            <a:lvl3pPr lvl="2" algn="r" rtl="0">
              <a:buNone/>
              <a:defRPr sz="667">
                <a:solidFill>
                  <a:schemeClr val="dk2"/>
                </a:solidFill>
                <a:latin typeface="Inter"/>
                <a:ea typeface="Inter"/>
                <a:cs typeface="Inter"/>
                <a:sym typeface="Inter"/>
              </a:defRPr>
            </a:lvl3pPr>
            <a:lvl4pPr lvl="3" algn="r" rtl="0">
              <a:buNone/>
              <a:defRPr sz="667">
                <a:solidFill>
                  <a:schemeClr val="dk2"/>
                </a:solidFill>
                <a:latin typeface="Inter"/>
                <a:ea typeface="Inter"/>
                <a:cs typeface="Inter"/>
                <a:sym typeface="Inter"/>
              </a:defRPr>
            </a:lvl4pPr>
            <a:lvl5pPr lvl="4" algn="r" rtl="0">
              <a:buNone/>
              <a:defRPr sz="667">
                <a:solidFill>
                  <a:schemeClr val="dk2"/>
                </a:solidFill>
                <a:latin typeface="Inter"/>
                <a:ea typeface="Inter"/>
                <a:cs typeface="Inter"/>
                <a:sym typeface="Inter"/>
              </a:defRPr>
            </a:lvl5pPr>
            <a:lvl6pPr lvl="5" algn="r" rtl="0">
              <a:buNone/>
              <a:defRPr sz="667">
                <a:solidFill>
                  <a:schemeClr val="dk2"/>
                </a:solidFill>
                <a:latin typeface="Inter"/>
                <a:ea typeface="Inter"/>
                <a:cs typeface="Inter"/>
                <a:sym typeface="Inter"/>
              </a:defRPr>
            </a:lvl6pPr>
            <a:lvl7pPr lvl="6" algn="r" rtl="0">
              <a:buNone/>
              <a:defRPr sz="667">
                <a:solidFill>
                  <a:schemeClr val="dk2"/>
                </a:solidFill>
                <a:latin typeface="Inter"/>
                <a:ea typeface="Inter"/>
                <a:cs typeface="Inter"/>
                <a:sym typeface="Inter"/>
              </a:defRPr>
            </a:lvl7pPr>
            <a:lvl8pPr lvl="7" algn="r" rtl="0">
              <a:buNone/>
              <a:defRPr sz="667">
                <a:solidFill>
                  <a:schemeClr val="dk2"/>
                </a:solidFill>
                <a:latin typeface="Inter"/>
                <a:ea typeface="Inter"/>
                <a:cs typeface="Inter"/>
                <a:sym typeface="Inter"/>
              </a:defRPr>
            </a:lvl8pPr>
            <a:lvl9pPr lvl="8" algn="r" rtl="0">
              <a:buNone/>
              <a:defRPr sz="667">
                <a:solidFill>
                  <a:schemeClr val="dk2"/>
                </a:solidFill>
                <a:latin typeface="Inter"/>
                <a:ea typeface="Inter"/>
                <a:cs typeface="Inter"/>
                <a:sym typeface="Inter"/>
              </a:defRPr>
            </a:lvl9pPr>
          </a:lstStyle>
          <a:p>
            <a:fld id="{00000000-1234-1234-1234-123412341234}" type="slidenum">
              <a:rPr lang="en-GB" smtClean="0"/>
              <a:pPr/>
              <a:t>‹#›</a:t>
            </a:fld>
            <a:endParaRPr lang="en-GB"/>
          </a:p>
        </p:txBody>
      </p:sp>
      <p:sp>
        <p:nvSpPr>
          <p:cNvPr id="1627" name="Google Shape;1627;p37"/>
          <p:cNvSpPr>
            <a:spLocks noGrp="1"/>
          </p:cNvSpPr>
          <p:nvPr>
            <p:ph type="pic" idx="2"/>
          </p:nvPr>
        </p:nvSpPr>
        <p:spPr>
          <a:xfrm>
            <a:off x="7479567" y="1335200"/>
            <a:ext cx="5080800" cy="4968800"/>
          </a:xfrm>
          <a:prstGeom prst="roundRect">
            <a:avLst>
              <a:gd name="adj" fmla="val 4171"/>
            </a:avLst>
          </a:prstGeom>
          <a:noFill/>
          <a:ln>
            <a:noFill/>
          </a:ln>
        </p:spPr>
      </p:sp>
      <p:sp>
        <p:nvSpPr>
          <p:cNvPr id="1628" name="Google Shape;1628;p37"/>
          <p:cNvSpPr txBox="1"/>
          <p:nvPr/>
        </p:nvSpPr>
        <p:spPr>
          <a:xfrm>
            <a:off x="481600" y="6245247"/>
            <a:ext cx="1288400" cy="273200"/>
          </a:xfrm>
          <a:prstGeom prst="rect">
            <a:avLst/>
          </a:prstGeom>
          <a:noFill/>
          <a:ln>
            <a:noFill/>
          </a:ln>
        </p:spPr>
        <p:txBody>
          <a:bodyPr spcFirstLastPara="1" wrap="square" lIns="0" tIns="0" rIns="0" bIns="0" anchor="b" anchorCtr="0">
            <a:noAutofit/>
          </a:bodyPr>
          <a:lstStyle/>
          <a:p>
            <a:pPr marL="0" lvl="0" indent="0" algn="l" rtl="0">
              <a:spcBef>
                <a:spcPts val="0"/>
              </a:spcBef>
              <a:spcAft>
                <a:spcPts val="0"/>
              </a:spcAft>
              <a:buNone/>
            </a:pPr>
            <a:r>
              <a:rPr lang="en-GB" sz="667">
                <a:solidFill>
                  <a:schemeClr val="dk2"/>
                </a:solidFill>
                <a:latin typeface="Inter"/>
                <a:ea typeface="Inter"/>
                <a:cs typeface="Inter"/>
                <a:sym typeface="Inter"/>
              </a:rPr>
              <a:t>Multiverse</a:t>
            </a:r>
            <a:endParaRPr sz="667">
              <a:solidFill>
                <a:schemeClr val="dk2"/>
              </a:solidFill>
              <a:latin typeface="Inter"/>
              <a:ea typeface="Inter"/>
              <a:cs typeface="Inter"/>
              <a:sym typeface="Inter"/>
            </a:endParaRPr>
          </a:p>
        </p:txBody>
      </p:sp>
      <p:sp>
        <p:nvSpPr>
          <p:cNvPr id="1629" name="Google Shape;1629;p37"/>
          <p:cNvSpPr/>
          <p:nvPr/>
        </p:nvSpPr>
        <p:spPr>
          <a:xfrm>
            <a:off x="481601" y="414630"/>
            <a:ext cx="349111" cy="305471"/>
          </a:xfrm>
          <a:custGeom>
            <a:avLst/>
            <a:gdLst/>
            <a:ahLst/>
            <a:cxnLst/>
            <a:rect l="l" t="t" r="r" b="b"/>
            <a:pathLst>
              <a:path w="1586865" h="1388506" extrusionOk="0">
                <a:moveTo>
                  <a:pt x="1083683" y="969931"/>
                </a:moveTo>
                <a:lnTo>
                  <a:pt x="1083683" y="579692"/>
                </a:lnTo>
                <a:lnTo>
                  <a:pt x="849297" y="969931"/>
                </a:lnTo>
                <a:lnTo>
                  <a:pt x="848892" y="969931"/>
                </a:lnTo>
                <a:cubicBezTo>
                  <a:pt x="848892" y="969931"/>
                  <a:pt x="848892" y="969931"/>
                  <a:pt x="848892" y="969931"/>
                </a:cubicBezTo>
                <a:lnTo>
                  <a:pt x="738783" y="969931"/>
                </a:lnTo>
                <a:lnTo>
                  <a:pt x="738783" y="577668"/>
                </a:lnTo>
                <a:lnTo>
                  <a:pt x="549735" y="892612"/>
                </a:lnTo>
                <a:cubicBezTo>
                  <a:pt x="527876" y="929449"/>
                  <a:pt x="510873" y="958191"/>
                  <a:pt x="503992" y="969931"/>
                </a:cubicBezTo>
                <a:lnTo>
                  <a:pt x="393073" y="969931"/>
                </a:lnTo>
                <a:lnTo>
                  <a:pt x="393073" y="418576"/>
                </a:lnTo>
                <a:lnTo>
                  <a:pt x="503992" y="418576"/>
                </a:lnTo>
                <a:lnTo>
                  <a:pt x="502777" y="760643"/>
                </a:lnTo>
                <a:lnTo>
                  <a:pt x="503587" y="782098"/>
                </a:lnTo>
                <a:lnTo>
                  <a:pt x="721781" y="418981"/>
                </a:lnTo>
                <a:lnTo>
                  <a:pt x="721781" y="418981"/>
                </a:lnTo>
                <a:lnTo>
                  <a:pt x="721781" y="418981"/>
                </a:lnTo>
                <a:lnTo>
                  <a:pt x="739188" y="418981"/>
                </a:lnTo>
                <a:lnTo>
                  <a:pt x="847678" y="418981"/>
                </a:lnTo>
                <a:cubicBezTo>
                  <a:pt x="847678" y="418981"/>
                  <a:pt x="848487" y="722995"/>
                  <a:pt x="848892" y="783717"/>
                </a:cubicBezTo>
                <a:lnTo>
                  <a:pt x="1067895" y="418981"/>
                </a:lnTo>
                <a:lnTo>
                  <a:pt x="1067895" y="418981"/>
                </a:lnTo>
                <a:lnTo>
                  <a:pt x="1067895" y="418981"/>
                </a:lnTo>
                <a:lnTo>
                  <a:pt x="1085302" y="418981"/>
                </a:lnTo>
                <a:lnTo>
                  <a:pt x="1193387" y="418981"/>
                </a:lnTo>
                <a:lnTo>
                  <a:pt x="1193387" y="970336"/>
                </a:lnTo>
                <a:lnTo>
                  <a:pt x="1083683" y="970336"/>
                </a:lnTo>
                <a:close/>
                <a:moveTo>
                  <a:pt x="1190149" y="0"/>
                </a:moveTo>
                <a:lnTo>
                  <a:pt x="396716" y="0"/>
                </a:lnTo>
                <a:lnTo>
                  <a:pt x="0" y="694253"/>
                </a:lnTo>
                <a:lnTo>
                  <a:pt x="396716" y="1388507"/>
                </a:lnTo>
                <a:lnTo>
                  <a:pt x="1190149" y="1388507"/>
                </a:lnTo>
                <a:lnTo>
                  <a:pt x="1586865" y="694253"/>
                </a:lnTo>
                <a:lnTo>
                  <a:pt x="1190149" y="0"/>
                </a:lnTo>
                <a:close/>
              </a:path>
            </a:pathLst>
          </a:custGeom>
          <a:solidFill>
            <a:schemeClr val="dk2"/>
          </a:solidFill>
          <a:ln>
            <a:noFill/>
          </a:ln>
        </p:spPr>
        <p:txBody>
          <a:bodyPr spcFirstLastPara="1" wrap="square" lIns="91433" tIns="45700" rIns="91433" bIns="45700"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630" name="Google Shape;1630;p37"/>
          <p:cNvSpPr txBox="1">
            <a:spLocks noGrp="1"/>
          </p:cNvSpPr>
          <p:nvPr>
            <p:ph type="body" idx="1"/>
          </p:nvPr>
        </p:nvSpPr>
        <p:spPr>
          <a:xfrm>
            <a:off x="481600" y="1335200"/>
            <a:ext cx="6581600" cy="4841600"/>
          </a:xfrm>
          <a:prstGeom prst="rect">
            <a:avLst/>
          </a:prstGeom>
          <a:noFill/>
          <a:ln>
            <a:noFill/>
          </a:ln>
        </p:spPr>
        <p:txBody>
          <a:bodyPr spcFirstLastPara="1" wrap="square" lIns="0" tIns="34275" rIns="68575" bIns="34275" anchor="t" anchorCtr="0">
            <a:noAutofit/>
          </a:bodyPr>
          <a:lstStyle>
            <a:lvl1pPr marL="609585" lvl="0" indent="-507987" algn="l" rtl="0">
              <a:lnSpc>
                <a:spcPct val="90000"/>
              </a:lnSpc>
              <a:spcBef>
                <a:spcPts val="1067"/>
              </a:spcBef>
              <a:spcAft>
                <a:spcPts val="0"/>
              </a:spcAft>
              <a:buClr>
                <a:schemeClr val="dk2"/>
              </a:buClr>
              <a:buSzPts val="2400"/>
              <a:buFont typeface="Inter"/>
              <a:buChar char="●"/>
              <a:defRPr sz="3200"/>
            </a:lvl1pPr>
            <a:lvl2pPr marL="1219170" lvl="1" indent="-507987" algn="l" rtl="0">
              <a:lnSpc>
                <a:spcPct val="90000"/>
              </a:lnSpc>
              <a:spcBef>
                <a:spcPts val="1067"/>
              </a:spcBef>
              <a:spcAft>
                <a:spcPts val="0"/>
              </a:spcAft>
              <a:buClr>
                <a:schemeClr val="dk2"/>
              </a:buClr>
              <a:buSzPts val="2400"/>
              <a:buFont typeface="Inter"/>
              <a:buChar char="●"/>
              <a:defRPr sz="3200"/>
            </a:lvl2pPr>
            <a:lvl3pPr marL="1828754" lvl="2" indent="-507987" algn="l" rtl="0">
              <a:lnSpc>
                <a:spcPct val="90000"/>
              </a:lnSpc>
              <a:spcBef>
                <a:spcPts val="1067"/>
              </a:spcBef>
              <a:spcAft>
                <a:spcPts val="0"/>
              </a:spcAft>
              <a:buClr>
                <a:schemeClr val="dk2"/>
              </a:buClr>
              <a:buSzPts val="2400"/>
              <a:buFont typeface="Inter"/>
              <a:buChar char="●"/>
              <a:defRPr sz="3200"/>
            </a:lvl3pPr>
            <a:lvl4pPr marL="2438339" lvl="3" indent="-507987" algn="l" rtl="0">
              <a:lnSpc>
                <a:spcPct val="90000"/>
              </a:lnSpc>
              <a:spcBef>
                <a:spcPts val="1067"/>
              </a:spcBef>
              <a:spcAft>
                <a:spcPts val="0"/>
              </a:spcAft>
              <a:buClr>
                <a:schemeClr val="dk2"/>
              </a:buClr>
              <a:buSzPts val="2400"/>
              <a:buFont typeface="Inter"/>
              <a:buChar char="●"/>
              <a:defRPr sz="3200"/>
            </a:lvl4pPr>
            <a:lvl5pPr marL="3047924" lvl="4" indent="-507987" algn="l" rtl="0">
              <a:lnSpc>
                <a:spcPct val="90000"/>
              </a:lnSpc>
              <a:spcBef>
                <a:spcPts val="1067"/>
              </a:spcBef>
              <a:spcAft>
                <a:spcPts val="0"/>
              </a:spcAft>
              <a:buClr>
                <a:schemeClr val="dk2"/>
              </a:buClr>
              <a:buSzPts val="2400"/>
              <a:buFont typeface="Inter"/>
              <a:buChar char="●"/>
              <a:defRPr sz="3200"/>
            </a:lvl5pPr>
            <a:lvl6pPr marL="3657509" lvl="5" indent="-507987" algn="l" rtl="0">
              <a:lnSpc>
                <a:spcPct val="90000"/>
              </a:lnSpc>
              <a:spcBef>
                <a:spcPts val="1067"/>
              </a:spcBef>
              <a:spcAft>
                <a:spcPts val="0"/>
              </a:spcAft>
              <a:buClr>
                <a:schemeClr val="dk2"/>
              </a:buClr>
              <a:buSzPts val="2400"/>
              <a:buFont typeface="Inter"/>
              <a:buChar char="●"/>
              <a:defRPr sz="3200"/>
            </a:lvl6pPr>
            <a:lvl7pPr marL="4267093" lvl="6" indent="-507987" algn="l" rtl="0">
              <a:lnSpc>
                <a:spcPct val="90000"/>
              </a:lnSpc>
              <a:spcBef>
                <a:spcPts val="1067"/>
              </a:spcBef>
              <a:spcAft>
                <a:spcPts val="0"/>
              </a:spcAft>
              <a:buClr>
                <a:schemeClr val="dk2"/>
              </a:buClr>
              <a:buSzPts val="2400"/>
              <a:buFont typeface="Inter"/>
              <a:buChar char="●"/>
              <a:defRPr sz="3200"/>
            </a:lvl7pPr>
            <a:lvl8pPr marL="4876678" lvl="7" indent="-507987" algn="l" rtl="0">
              <a:lnSpc>
                <a:spcPct val="90000"/>
              </a:lnSpc>
              <a:spcBef>
                <a:spcPts val="1067"/>
              </a:spcBef>
              <a:spcAft>
                <a:spcPts val="0"/>
              </a:spcAft>
              <a:buClr>
                <a:schemeClr val="dk2"/>
              </a:buClr>
              <a:buSzPts val="2400"/>
              <a:buFont typeface="Inter"/>
              <a:buChar char="●"/>
              <a:defRPr sz="3200"/>
            </a:lvl8pPr>
            <a:lvl9pPr marL="5486263" lvl="8" indent="-507987" algn="l" rtl="0">
              <a:lnSpc>
                <a:spcPct val="90000"/>
              </a:lnSpc>
              <a:spcBef>
                <a:spcPts val="1067"/>
              </a:spcBef>
              <a:spcAft>
                <a:spcPts val="0"/>
              </a:spcAft>
              <a:buClr>
                <a:schemeClr val="dk2"/>
              </a:buClr>
              <a:buSzPts val="2400"/>
              <a:buFont typeface="Inter"/>
              <a:buChar char="●"/>
              <a:defRPr sz="3200"/>
            </a:lvl9pPr>
          </a:lstStyle>
          <a:p>
            <a:endParaRPr/>
          </a:p>
        </p:txBody>
      </p:sp>
    </p:spTree>
    <p:extLst>
      <p:ext uri="{BB962C8B-B14F-4D97-AF65-F5344CB8AC3E}">
        <p14:creationId xmlns:p14="http://schemas.microsoft.com/office/powerpoint/2010/main" val="287641395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matchingName="Agenda List 2 Column - Lunar">
  <p:cSld name="Agenda List 2 Column - Lunar">
    <p:bg>
      <p:bgPr>
        <a:solidFill>
          <a:schemeClr val="lt2"/>
        </a:solidFill>
        <a:effectLst/>
      </p:bgPr>
    </p:bg>
    <p:spTree>
      <p:nvGrpSpPr>
        <p:cNvPr id="1" name="Shape 1631"/>
        <p:cNvGrpSpPr/>
        <p:nvPr/>
      </p:nvGrpSpPr>
      <p:grpSpPr>
        <a:xfrm>
          <a:off x="0" y="0"/>
          <a:ext cx="0" cy="0"/>
          <a:chOff x="0" y="0"/>
          <a:chExt cx="0" cy="0"/>
        </a:xfrm>
      </p:grpSpPr>
      <p:sp>
        <p:nvSpPr>
          <p:cNvPr id="1632" name="Google Shape;1632;p38"/>
          <p:cNvSpPr txBox="1">
            <a:spLocks noGrp="1"/>
          </p:cNvSpPr>
          <p:nvPr>
            <p:ph type="sldNum" idx="12"/>
          </p:nvPr>
        </p:nvSpPr>
        <p:spPr>
          <a:xfrm>
            <a:off x="10978845" y="5993647"/>
            <a:ext cx="731600" cy="524800"/>
          </a:xfrm>
          <a:prstGeom prst="rect">
            <a:avLst/>
          </a:prstGeom>
        </p:spPr>
        <p:txBody>
          <a:bodyPr spcFirstLastPara="1" wrap="square" lIns="91425" tIns="91425" rIns="0" bIns="0" anchor="b" anchorCtr="0">
            <a:noAutofit/>
          </a:bodyPr>
          <a:lstStyle>
            <a:lvl1pPr lvl="0" algn="r" rtl="0">
              <a:buNone/>
              <a:defRPr sz="667">
                <a:solidFill>
                  <a:schemeClr val="dk2"/>
                </a:solidFill>
                <a:latin typeface="Inter"/>
                <a:ea typeface="Inter"/>
                <a:cs typeface="Inter"/>
                <a:sym typeface="Inter"/>
              </a:defRPr>
            </a:lvl1pPr>
            <a:lvl2pPr lvl="1" algn="r" rtl="0">
              <a:buNone/>
              <a:defRPr sz="667">
                <a:solidFill>
                  <a:schemeClr val="dk2"/>
                </a:solidFill>
                <a:latin typeface="Inter"/>
                <a:ea typeface="Inter"/>
                <a:cs typeface="Inter"/>
                <a:sym typeface="Inter"/>
              </a:defRPr>
            </a:lvl2pPr>
            <a:lvl3pPr lvl="2" algn="r" rtl="0">
              <a:buNone/>
              <a:defRPr sz="667">
                <a:solidFill>
                  <a:schemeClr val="dk2"/>
                </a:solidFill>
                <a:latin typeface="Inter"/>
                <a:ea typeface="Inter"/>
                <a:cs typeface="Inter"/>
                <a:sym typeface="Inter"/>
              </a:defRPr>
            </a:lvl3pPr>
            <a:lvl4pPr lvl="3" algn="r" rtl="0">
              <a:buNone/>
              <a:defRPr sz="667">
                <a:solidFill>
                  <a:schemeClr val="dk2"/>
                </a:solidFill>
                <a:latin typeface="Inter"/>
                <a:ea typeface="Inter"/>
                <a:cs typeface="Inter"/>
                <a:sym typeface="Inter"/>
              </a:defRPr>
            </a:lvl4pPr>
            <a:lvl5pPr lvl="4" algn="r" rtl="0">
              <a:buNone/>
              <a:defRPr sz="667">
                <a:solidFill>
                  <a:schemeClr val="dk2"/>
                </a:solidFill>
                <a:latin typeface="Inter"/>
                <a:ea typeface="Inter"/>
                <a:cs typeface="Inter"/>
                <a:sym typeface="Inter"/>
              </a:defRPr>
            </a:lvl5pPr>
            <a:lvl6pPr lvl="5" algn="r" rtl="0">
              <a:buNone/>
              <a:defRPr sz="667">
                <a:solidFill>
                  <a:schemeClr val="dk2"/>
                </a:solidFill>
                <a:latin typeface="Inter"/>
                <a:ea typeface="Inter"/>
                <a:cs typeface="Inter"/>
                <a:sym typeface="Inter"/>
              </a:defRPr>
            </a:lvl6pPr>
            <a:lvl7pPr lvl="6" algn="r" rtl="0">
              <a:buNone/>
              <a:defRPr sz="667">
                <a:solidFill>
                  <a:schemeClr val="dk2"/>
                </a:solidFill>
                <a:latin typeface="Inter"/>
                <a:ea typeface="Inter"/>
                <a:cs typeface="Inter"/>
                <a:sym typeface="Inter"/>
              </a:defRPr>
            </a:lvl7pPr>
            <a:lvl8pPr lvl="7" algn="r" rtl="0">
              <a:buNone/>
              <a:defRPr sz="667">
                <a:solidFill>
                  <a:schemeClr val="dk2"/>
                </a:solidFill>
                <a:latin typeface="Inter"/>
                <a:ea typeface="Inter"/>
                <a:cs typeface="Inter"/>
                <a:sym typeface="Inter"/>
              </a:defRPr>
            </a:lvl8pPr>
            <a:lvl9pPr lvl="8" algn="r" rtl="0">
              <a:buNone/>
              <a:defRPr sz="667">
                <a:solidFill>
                  <a:schemeClr val="dk2"/>
                </a:solidFill>
                <a:latin typeface="Inter"/>
                <a:ea typeface="Inter"/>
                <a:cs typeface="Inter"/>
                <a:sym typeface="Inter"/>
              </a:defRPr>
            </a:lvl9pPr>
          </a:lstStyle>
          <a:p>
            <a:fld id="{00000000-1234-1234-1234-123412341234}" type="slidenum">
              <a:rPr lang="en-GB" smtClean="0"/>
              <a:pPr/>
              <a:t>‹#›</a:t>
            </a:fld>
            <a:endParaRPr lang="en-GB"/>
          </a:p>
        </p:txBody>
      </p:sp>
      <p:sp>
        <p:nvSpPr>
          <p:cNvPr id="1633" name="Google Shape;1633;p38"/>
          <p:cNvSpPr txBox="1">
            <a:spLocks noGrp="1"/>
          </p:cNvSpPr>
          <p:nvPr>
            <p:ph type="title"/>
          </p:nvPr>
        </p:nvSpPr>
        <p:spPr>
          <a:xfrm>
            <a:off x="951700" y="359999"/>
            <a:ext cx="10515600" cy="524800"/>
          </a:xfrm>
          <a:prstGeom prst="rect">
            <a:avLst/>
          </a:prstGeom>
          <a:noFill/>
          <a:ln>
            <a:noFill/>
          </a:ln>
        </p:spPr>
        <p:txBody>
          <a:bodyPr spcFirstLastPara="1" wrap="square" lIns="0" tIns="0" rIns="68575" bIns="34275" anchor="t" anchorCtr="0">
            <a:normAutofit/>
          </a:bodyPr>
          <a:lstStyle>
            <a:lvl1pPr lvl="0" algn="l" rtl="0">
              <a:lnSpc>
                <a:spcPct val="90000"/>
              </a:lnSpc>
              <a:spcBef>
                <a:spcPts val="0"/>
              </a:spcBef>
              <a:spcAft>
                <a:spcPts val="0"/>
              </a:spcAft>
              <a:buClr>
                <a:schemeClr val="dk1"/>
              </a:buClr>
              <a:buSzPts val="2400"/>
              <a:buFont typeface="Inter Medium"/>
              <a:buNone/>
              <a:defRPr sz="3200">
                <a:latin typeface="Inter Medium"/>
                <a:ea typeface="Inter Medium"/>
                <a:cs typeface="Inter Medium"/>
                <a:sym typeface="Inter Medium"/>
              </a:defRPr>
            </a:lvl1pPr>
            <a:lvl2pPr lvl="1" rtl="0">
              <a:spcBef>
                <a:spcPts val="0"/>
              </a:spcBef>
              <a:spcAft>
                <a:spcPts val="0"/>
              </a:spcAft>
              <a:buSzPts val="1100"/>
              <a:buNone/>
              <a:defRPr b="1"/>
            </a:lvl2pPr>
            <a:lvl3pPr lvl="2" rtl="0">
              <a:spcBef>
                <a:spcPts val="0"/>
              </a:spcBef>
              <a:spcAft>
                <a:spcPts val="0"/>
              </a:spcAft>
              <a:buSzPts val="1100"/>
              <a:buNone/>
              <a:defRPr b="1"/>
            </a:lvl3pPr>
            <a:lvl4pPr lvl="3" rtl="0">
              <a:spcBef>
                <a:spcPts val="0"/>
              </a:spcBef>
              <a:spcAft>
                <a:spcPts val="0"/>
              </a:spcAft>
              <a:buSzPts val="1100"/>
              <a:buNone/>
              <a:defRPr b="1"/>
            </a:lvl4pPr>
            <a:lvl5pPr lvl="4" rtl="0">
              <a:spcBef>
                <a:spcPts val="0"/>
              </a:spcBef>
              <a:spcAft>
                <a:spcPts val="0"/>
              </a:spcAft>
              <a:buSzPts val="1100"/>
              <a:buNone/>
              <a:defRPr b="1"/>
            </a:lvl5pPr>
            <a:lvl6pPr lvl="5" rtl="0">
              <a:spcBef>
                <a:spcPts val="0"/>
              </a:spcBef>
              <a:spcAft>
                <a:spcPts val="0"/>
              </a:spcAft>
              <a:buSzPts val="1100"/>
              <a:buNone/>
              <a:defRPr b="1"/>
            </a:lvl6pPr>
            <a:lvl7pPr lvl="6" rtl="0">
              <a:spcBef>
                <a:spcPts val="0"/>
              </a:spcBef>
              <a:spcAft>
                <a:spcPts val="0"/>
              </a:spcAft>
              <a:buSzPts val="1100"/>
              <a:buNone/>
              <a:defRPr b="1"/>
            </a:lvl7pPr>
            <a:lvl8pPr lvl="7" rtl="0">
              <a:spcBef>
                <a:spcPts val="0"/>
              </a:spcBef>
              <a:spcAft>
                <a:spcPts val="0"/>
              </a:spcAft>
              <a:buSzPts val="1100"/>
              <a:buNone/>
              <a:defRPr b="1"/>
            </a:lvl8pPr>
            <a:lvl9pPr lvl="8" rtl="0">
              <a:spcBef>
                <a:spcPts val="0"/>
              </a:spcBef>
              <a:spcAft>
                <a:spcPts val="0"/>
              </a:spcAft>
              <a:buSzPts val="1100"/>
              <a:buNone/>
              <a:defRPr b="1"/>
            </a:lvl9pPr>
          </a:lstStyle>
          <a:p>
            <a:endParaRPr/>
          </a:p>
        </p:txBody>
      </p:sp>
      <p:sp>
        <p:nvSpPr>
          <p:cNvPr id="1634" name="Google Shape;1634;p38"/>
          <p:cNvSpPr/>
          <p:nvPr/>
        </p:nvSpPr>
        <p:spPr>
          <a:xfrm>
            <a:off x="481601" y="414630"/>
            <a:ext cx="349111" cy="305471"/>
          </a:xfrm>
          <a:custGeom>
            <a:avLst/>
            <a:gdLst/>
            <a:ahLst/>
            <a:cxnLst/>
            <a:rect l="l" t="t" r="r" b="b"/>
            <a:pathLst>
              <a:path w="1586865" h="1388506" extrusionOk="0">
                <a:moveTo>
                  <a:pt x="1083683" y="969931"/>
                </a:moveTo>
                <a:lnTo>
                  <a:pt x="1083683" y="579692"/>
                </a:lnTo>
                <a:lnTo>
                  <a:pt x="849297" y="969931"/>
                </a:lnTo>
                <a:lnTo>
                  <a:pt x="848892" y="969931"/>
                </a:lnTo>
                <a:cubicBezTo>
                  <a:pt x="848892" y="969931"/>
                  <a:pt x="848892" y="969931"/>
                  <a:pt x="848892" y="969931"/>
                </a:cubicBezTo>
                <a:lnTo>
                  <a:pt x="738783" y="969931"/>
                </a:lnTo>
                <a:lnTo>
                  <a:pt x="738783" y="577668"/>
                </a:lnTo>
                <a:lnTo>
                  <a:pt x="549735" y="892612"/>
                </a:lnTo>
                <a:cubicBezTo>
                  <a:pt x="527876" y="929449"/>
                  <a:pt x="510873" y="958191"/>
                  <a:pt x="503992" y="969931"/>
                </a:cubicBezTo>
                <a:lnTo>
                  <a:pt x="393073" y="969931"/>
                </a:lnTo>
                <a:lnTo>
                  <a:pt x="393073" y="418576"/>
                </a:lnTo>
                <a:lnTo>
                  <a:pt x="503992" y="418576"/>
                </a:lnTo>
                <a:lnTo>
                  <a:pt x="502777" y="760643"/>
                </a:lnTo>
                <a:lnTo>
                  <a:pt x="503587" y="782098"/>
                </a:lnTo>
                <a:lnTo>
                  <a:pt x="721781" y="418981"/>
                </a:lnTo>
                <a:lnTo>
                  <a:pt x="721781" y="418981"/>
                </a:lnTo>
                <a:lnTo>
                  <a:pt x="721781" y="418981"/>
                </a:lnTo>
                <a:lnTo>
                  <a:pt x="739188" y="418981"/>
                </a:lnTo>
                <a:lnTo>
                  <a:pt x="847678" y="418981"/>
                </a:lnTo>
                <a:cubicBezTo>
                  <a:pt x="847678" y="418981"/>
                  <a:pt x="848487" y="722995"/>
                  <a:pt x="848892" y="783717"/>
                </a:cubicBezTo>
                <a:lnTo>
                  <a:pt x="1067895" y="418981"/>
                </a:lnTo>
                <a:lnTo>
                  <a:pt x="1067895" y="418981"/>
                </a:lnTo>
                <a:lnTo>
                  <a:pt x="1067895" y="418981"/>
                </a:lnTo>
                <a:lnTo>
                  <a:pt x="1085302" y="418981"/>
                </a:lnTo>
                <a:lnTo>
                  <a:pt x="1193387" y="418981"/>
                </a:lnTo>
                <a:lnTo>
                  <a:pt x="1193387" y="970336"/>
                </a:lnTo>
                <a:lnTo>
                  <a:pt x="1083683" y="970336"/>
                </a:lnTo>
                <a:close/>
                <a:moveTo>
                  <a:pt x="1190149" y="0"/>
                </a:moveTo>
                <a:lnTo>
                  <a:pt x="396716" y="0"/>
                </a:lnTo>
                <a:lnTo>
                  <a:pt x="0" y="694253"/>
                </a:lnTo>
                <a:lnTo>
                  <a:pt x="396716" y="1388507"/>
                </a:lnTo>
                <a:lnTo>
                  <a:pt x="1190149" y="1388507"/>
                </a:lnTo>
                <a:lnTo>
                  <a:pt x="1586865" y="694253"/>
                </a:lnTo>
                <a:lnTo>
                  <a:pt x="1190149" y="0"/>
                </a:lnTo>
                <a:close/>
              </a:path>
            </a:pathLst>
          </a:custGeom>
          <a:solidFill>
            <a:schemeClr val="dk2"/>
          </a:solidFill>
          <a:ln>
            <a:noFill/>
          </a:ln>
        </p:spPr>
        <p:txBody>
          <a:bodyPr spcFirstLastPara="1" wrap="square" lIns="91433" tIns="45700" rIns="91433" bIns="45700"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635" name="Google Shape;1635;p38"/>
          <p:cNvSpPr txBox="1"/>
          <p:nvPr/>
        </p:nvSpPr>
        <p:spPr>
          <a:xfrm>
            <a:off x="481600" y="6245247"/>
            <a:ext cx="1288400" cy="273200"/>
          </a:xfrm>
          <a:prstGeom prst="rect">
            <a:avLst/>
          </a:prstGeom>
          <a:noFill/>
          <a:ln>
            <a:noFill/>
          </a:ln>
        </p:spPr>
        <p:txBody>
          <a:bodyPr spcFirstLastPara="1" wrap="square" lIns="0" tIns="0" rIns="0" bIns="0" anchor="b" anchorCtr="0">
            <a:noAutofit/>
          </a:bodyPr>
          <a:lstStyle/>
          <a:p>
            <a:pPr marL="0" lvl="0" indent="0" algn="l" rtl="0">
              <a:spcBef>
                <a:spcPts val="0"/>
              </a:spcBef>
              <a:spcAft>
                <a:spcPts val="0"/>
              </a:spcAft>
              <a:buNone/>
            </a:pPr>
            <a:r>
              <a:rPr lang="en-GB" sz="667">
                <a:solidFill>
                  <a:schemeClr val="dk2"/>
                </a:solidFill>
                <a:latin typeface="Inter"/>
                <a:ea typeface="Inter"/>
                <a:cs typeface="Inter"/>
                <a:sym typeface="Inter"/>
              </a:rPr>
              <a:t>Multiverse</a:t>
            </a:r>
            <a:endParaRPr sz="667">
              <a:solidFill>
                <a:schemeClr val="dk2"/>
              </a:solidFill>
              <a:latin typeface="Inter"/>
              <a:ea typeface="Inter"/>
              <a:cs typeface="Inter"/>
              <a:sym typeface="Inter"/>
            </a:endParaRPr>
          </a:p>
        </p:txBody>
      </p:sp>
      <p:sp>
        <p:nvSpPr>
          <p:cNvPr id="1636" name="Google Shape;1636;p38"/>
          <p:cNvSpPr txBox="1">
            <a:spLocks noGrp="1"/>
          </p:cNvSpPr>
          <p:nvPr>
            <p:ph type="body" idx="1"/>
          </p:nvPr>
        </p:nvSpPr>
        <p:spPr>
          <a:xfrm>
            <a:off x="501900" y="1778100"/>
            <a:ext cx="5117600" cy="3518000"/>
          </a:xfrm>
          <a:prstGeom prst="rect">
            <a:avLst/>
          </a:prstGeom>
        </p:spPr>
        <p:txBody>
          <a:bodyPr spcFirstLastPara="1" wrap="square" lIns="0" tIns="34275" rIns="68575" bIns="34275" anchor="t" anchorCtr="0">
            <a:normAutofit/>
          </a:bodyPr>
          <a:lstStyle>
            <a:lvl1pPr marL="609585" lvl="0" indent="-457189" rtl="0">
              <a:spcBef>
                <a:spcPts val="1067"/>
              </a:spcBef>
              <a:spcAft>
                <a:spcPts val="0"/>
              </a:spcAft>
              <a:buSzPts val="1800"/>
              <a:buChar char="●"/>
              <a:defRPr sz="3200"/>
            </a:lvl1pPr>
            <a:lvl2pPr marL="1219170" lvl="1" indent="-457189" rtl="0">
              <a:spcBef>
                <a:spcPts val="533"/>
              </a:spcBef>
              <a:spcAft>
                <a:spcPts val="0"/>
              </a:spcAft>
              <a:buSzPts val="1800"/>
              <a:buChar char="●"/>
              <a:defRPr sz="3200"/>
            </a:lvl2pPr>
            <a:lvl3pPr marL="1828754" lvl="2" indent="-457189" rtl="0">
              <a:spcBef>
                <a:spcPts val="533"/>
              </a:spcBef>
              <a:spcAft>
                <a:spcPts val="0"/>
              </a:spcAft>
              <a:buSzPts val="1800"/>
              <a:buChar char="●"/>
              <a:defRPr sz="3200"/>
            </a:lvl3pPr>
            <a:lvl4pPr marL="2438339" lvl="3" indent="-457189" rtl="0">
              <a:spcBef>
                <a:spcPts val="533"/>
              </a:spcBef>
              <a:spcAft>
                <a:spcPts val="0"/>
              </a:spcAft>
              <a:buSzPts val="1800"/>
              <a:buChar char="●"/>
              <a:defRPr sz="3200"/>
            </a:lvl4pPr>
            <a:lvl5pPr marL="3047924" lvl="4" indent="-457189" rtl="0">
              <a:spcBef>
                <a:spcPts val="533"/>
              </a:spcBef>
              <a:spcAft>
                <a:spcPts val="0"/>
              </a:spcAft>
              <a:buSzPts val="1800"/>
              <a:buChar char="●"/>
              <a:defRPr sz="3200"/>
            </a:lvl5pPr>
            <a:lvl6pPr marL="3657509" lvl="5" indent="-457189" rtl="0">
              <a:spcBef>
                <a:spcPts val="533"/>
              </a:spcBef>
              <a:spcAft>
                <a:spcPts val="0"/>
              </a:spcAft>
              <a:buSzPts val="1800"/>
              <a:buChar char="●"/>
              <a:defRPr sz="3200"/>
            </a:lvl6pPr>
            <a:lvl7pPr marL="4267093" lvl="6" indent="-457189" rtl="0">
              <a:spcBef>
                <a:spcPts val="533"/>
              </a:spcBef>
              <a:spcAft>
                <a:spcPts val="0"/>
              </a:spcAft>
              <a:buSzPts val="1800"/>
              <a:buChar char="●"/>
              <a:defRPr sz="3200"/>
            </a:lvl7pPr>
            <a:lvl8pPr marL="4876678" lvl="7" indent="-457189" rtl="0">
              <a:spcBef>
                <a:spcPts val="533"/>
              </a:spcBef>
              <a:spcAft>
                <a:spcPts val="0"/>
              </a:spcAft>
              <a:buSzPts val="1800"/>
              <a:buChar char="●"/>
              <a:defRPr sz="3200"/>
            </a:lvl8pPr>
            <a:lvl9pPr marL="5486263" lvl="8" indent="-507987" rtl="0">
              <a:spcBef>
                <a:spcPts val="533"/>
              </a:spcBef>
              <a:spcAft>
                <a:spcPts val="0"/>
              </a:spcAft>
              <a:buSzPts val="2400"/>
              <a:buChar char="●"/>
              <a:defRPr sz="3200"/>
            </a:lvl9pPr>
          </a:lstStyle>
          <a:p>
            <a:endParaRPr/>
          </a:p>
        </p:txBody>
      </p:sp>
      <p:sp>
        <p:nvSpPr>
          <p:cNvPr id="1637" name="Google Shape;1637;p38"/>
          <p:cNvSpPr txBox="1">
            <a:spLocks noGrp="1"/>
          </p:cNvSpPr>
          <p:nvPr>
            <p:ph type="subTitle" idx="2"/>
          </p:nvPr>
        </p:nvSpPr>
        <p:spPr>
          <a:xfrm>
            <a:off x="501908" y="1335200"/>
            <a:ext cx="2542800" cy="192000"/>
          </a:xfrm>
          <a:prstGeom prst="rect">
            <a:avLst/>
          </a:prstGeom>
          <a:solidFill>
            <a:schemeClr val="accent2"/>
          </a:solidFill>
          <a:ln w="28575" cap="flat" cmpd="sng">
            <a:solidFill>
              <a:schemeClr val="accent2"/>
            </a:solidFill>
            <a:prstDash val="solid"/>
            <a:round/>
            <a:headEnd type="none" w="sm" len="sm"/>
            <a:tailEnd type="none" w="sm" len="sm"/>
          </a:ln>
        </p:spPr>
        <p:txBody>
          <a:bodyPr spcFirstLastPara="1" wrap="square" lIns="36000" tIns="0" rIns="36000" bIns="0" anchor="ctr" anchorCtr="0">
            <a:noAutofit/>
          </a:bodyPr>
          <a:lstStyle>
            <a:lvl1pPr lvl="0" rtl="0">
              <a:spcBef>
                <a:spcPts val="1067"/>
              </a:spcBef>
              <a:spcAft>
                <a:spcPts val="0"/>
              </a:spcAft>
              <a:buSzPts val="900"/>
              <a:buFont typeface="Inter Medium"/>
              <a:buNone/>
              <a:defRPr sz="1200">
                <a:latin typeface="Inter Medium"/>
                <a:ea typeface="Inter Medium"/>
                <a:cs typeface="Inter Medium"/>
                <a:sym typeface="Inter Medium"/>
              </a:defRPr>
            </a:lvl1pPr>
            <a:lvl2pPr lvl="1" rtl="0">
              <a:spcBef>
                <a:spcPts val="533"/>
              </a:spcBef>
              <a:spcAft>
                <a:spcPts val="0"/>
              </a:spcAft>
              <a:buSzPts val="1200"/>
              <a:buNone/>
              <a:defRPr/>
            </a:lvl2pPr>
            <a:lvl3pPr lvl="2" rtl="0">
              <a:spcBef>
                <a:spcPts val="533"/>
              </a:spcBef>
              <a:spcAft>
                <a:spcPts val="0"/>
              </a:spcAft>
              <a:buSzPts val="1200"/>
              <a:buNone/>
              <a:defRPr/>
            </a:lvl3pPr>
            <a:lvl4pPr lvl="3" rtl="0">
              <a:spcBef>
                <a:spcPts val="533"/>
              </a:spcBef>
              <a:spcAft>
                <a:spcPts val="0"/>
              </a:spcAft>
              <a:buSzPts val="1200"/>
              <a:buNone/>
              <a:defRPr/>
            </a:lvl4pPr>
            <a:lvl5pPr lvl="4" rtl="0">
              <a:spcBef>
                <a:spcPts val="533"/>
              </a:spcBef>
              <a:spcAft>
                <a:spcPts val="0"/>
              </a:spcAft>
              <a:buSzPts val="1200"/>
              <a:buNone/>
              <a:defRPr/>
            </a:lvl5pPr>
            <a:lvl6pPr lvl="5" rtl="0">
              <a:spcBef>
                <a:spcPts val="533"/>
              </a:spcBef>
              <a:spcAft>
                <a:spcPts val="0"/>
              </a:spcAft>
              <a:buSzPts val="1200"/>
              <a:buNone/>
              <a:defRPr/>
            </a:lvl6pPr>
            <a:lvl7pPr lvl="6" rtl="0">
              <a:spcBef>
                <a:spcPts val="533"/>
              </a:spcBef>
              <a:spcAft>
                <a:spcPts val="0"/>
              </a:spcAft>
              <a:buSzPts val="1200"/>
              <a:buNone/>
              <a:defRPr/>
            </a:lvl7pPr>
            <a:lvl8pPr lvl="7" rtl="0">
              <a:spcBef>
                <a:spcPts val="533"/>
              </a:spcBef>
              <a:spcAft>
                <a:spcPts val="0"/>
              </a:spcAft>
              <a:buSzPts val="1200"/>
              <a:buNone/>
              <a:defRPr/>
            </a:lvl8pPr>
            <a:lvl9pPr lvl="8" rtl="0">
              <a:spcBef>
                <a:spcPts val="533"/>
              </a:spcBef>
              <a:spcAft>
                <a:spcPts val="0"/>
              </a:spcAft>
              <a:buSzPts val="1200"/>
              <a:buNone/>
              <a:defRPr/>
            </a:lvl9pPr>
          </a:lstStyle>
          <a:p>
            <a:endParaRPr/>
          </a:p>
        </p:txBody>
      </p:sp>
      <p:sp>
        <p:nvSpPr>
          <p:cNvPr id="1638" name="Google Shape;1638;p38"/>
          <p:cNvSpPr txBox="1">
            <a:spLocks noGrp="1"/>
          </p:cNvSpPr>
          <p:nvPr>
            <p:ph type="body" idx="3"/>
          </p:nvPr>
        </p:nvSpPr>
        <p:spPr>
          <a:xfrm>
            <a:off x="6122933" y="1778100"/>
            <a:ext cx="5117600" cy="3518000"/>
          </a:xfrm>
          <a:prstGeom prst="rect">
            <a:avLst/>
          </a:prstGeom>
        </p:spPr>
        <p:txBody>
          <a:bodyPr spcFirstLastPara="1" wrap="square" lIns="0" tIns="34275" rIns="68575" bIns="34275" anchor="t" anchorCtr="0">
            <a:normAutofit/>
          </a:bodyPr>
          <a:lstStyle>
            <a:lvl1pPr marL="609585" lvl="0" indent="-457189" rtl="0">
              <a:spcBef>
                <a:spcPts val="1067"/>
              </a:spcBef>
              <a:spcAft>
                <a:spcPts val="0"/>
              </a:spcAft>
              <a:buSzPts val="1800"/>
              <a:buChar char="●"/>
              <a:defRPr sz="3200"/>
            </a:lvl1pPr>
            <a:lvl2pPr marL="1219170" lvl="1" indent="-457189" rtl="0">
              <a:spcBef>
                <a:spcPts val="533"/>
              </a:spcBef>
              <a:spcAft>
                <a:spcPts val="0"/>
              </a:spcAft>
              <a:buSzPts val="1800"/>
              <a:buChar char="●"/>
              <a:defRPr sz="3200"/>
            </a:lvl2pPr>
            <a:lvl3pPr marL="1828754" lvl="2" indent="-457189" rtl="0">
              <a:spcBef>
                <a:spcPts val="533"/>
              </a:spcBef>
              <a:spcAft>
                <a:spcPts val="0"/>
              </a:spcAft>
              <a:buSzPts val="1800"/>
              <a:buChar char="●"/>
              <a:defRPr sz="3200"/>
            </a:lvl3pPr>
            <a:lvl4pPr marL="2438339" lvl="3" indent="-457189" rtl="0">
              <a:spcBef>
                <a:spcPts val="533"/>
              </a:spcBef>
              <a:spcAft>
                <a:spcPts val="0"/>
              </a:spcAft>
              <a:buSzPts val="1800"/>
              <a:buChar char="●"/>
              <a:defRPr sz="3200"/>
            </a:lvl4pPr>
            <a:lvl5pPr marL="3047924" lvl="4" indent="-457189" rtl="0">
              <a:spcBef>
                <a:spcPts val="533"/>
              </a:spcBef>
              <a:spcAft>
                <a:spcPts val="0"/>
              </a:spcAft>
              <a:buSzPts val="1800"/>
              <a:buChar char="●"/>
              <a:defRPr sz="3200"/>
            </a:lvl5pPr>
            <a:lvl6pPr marL="3657509" lvl="5" indent="-457189" rtl="0">
              <a:spcBef>
                <a:spcPts val="533"/>
              </a:spcBef>
              <a:spcAft>
                <a:spcPts val="0"/>
              </a:spcAft>
              <a:buSzPts val="1800"/>
              <a:buChar char="●"/>
              <a:defRPr sz="3200"/>
            </a:lvl6pPr>
            <a:lvl7pPr marL="4267093" lvl="6" indent="-457189" rtl="0">
              <a:spcBef>
                <a:spcPts val="533"/>
              </a:spcBef>
              <a:spcAft>
                <a:spcPts val="0"/>
              </a:spcAft>
              <a:buSzPts val="1800"/>
              <a:buChar char="●"/>
              <a:defRPr sz="3200"/>
            </a:lvl7pPr>
            <a:lvl8pPr marL="4876678" lvl="7" indent="-457189" rtl="0">
              <a:spcBef>
                <a:spcPts val="533"/>
              </a:spcBef>
              <a:spcAft>
                <a:spcPts val="0"/>
              </a:spcAft>
              <a:buSzPts val="1800"/>
              <a:buChar char="●"/>
              <a:defRPr sz="3200"/>
            </a:lvl8pPr>
            <a:lvl9pPr marL="5486263" lvl="8" indent="-507987" rtl="0">
              <a:spcBef>
                <a:spcPts val="533"/>
              </a:spcBef>
              <a:spcAft>
                <a:spcPts val="0"/>
              </a:spcAft>
              <a:buSzPts val="2400"/>
              <a:buChar char="●"/>
              <a:defRPr sz="3200"/>
            </a:lvl9pPr>
          </a:lstStyle>
          <a:p>
            <a:endParaRPr/>
          </a:p>
        </p:txBody>
      </p:sp>
    </p:spTree>
    <p:extLst>
      <p:ext uri="{BB962C8B-B14F-4D97-AF65-F5344CB8AC3E}">
        <p14:creationId xmlns:p14="http://schemas.microsoft.com/office/powerpoint/2010/main" val="301434330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matchingName="Agenda List 2 Column - White">
  <p:cSld name="Agenda List 2 Column - White">
    <p:bg>
      <p:bgPr>
        <a:solidFill>
          <a:schemeClr val="lt1"/>
        </a:solidFill>
        <a:effectLst/>
      </p:bgPr>
    </p:bg>
    <p:spTree>
      <p:nvGrpSpPr>
        <p:cNvPr id="1" name="Shape 1639"/>
        <p:cNvGrpSpPr/>
        <p:nvPr/>
      </p:nvGrpSpPr>
      <p:grpSpPr>
        <a:xfrm>
          <a:off x="0" y="0"/>
          <a:ext cx="0" cy="0"/>
          <a:chOff x="0" y="0"/>
          <a:chExt cx="0" cy="0"/>
        </a:xfrm>
      </p:grpSpPr>
      <p:sp>
        <p:nvSpPr>
          <p:cNvPr id="1640" name="Google Shape;1640;p39"/>
          <p:cNvSpPr txBox="1">
            <a:spLocks noGrp="1"/>
          </p:cNvSpPr>
          <p:nvPr>
            <p:ph type="sldNum" idx="12"/>
          </p:nvPr>
        </p:nvSpPr>
        <p:spPr>
          <a:xfrm>
            <a:off x="10978845" y="5993647"/>
            <a:ext cx="731600" cy="524800"/>
          </a:xfrm>
          <a:prstGeom prst="rect">
            <a:avLst/>
          </a:prstGeom>
        </p:spPr>
        <p:txBody>
          <a:bodyPr spcFirstLastPara="1" wrap="square" lIns="91425" tIns="91425" rIns="0" bIns="0" anchor="b" anchorCtr="0">
            <a:noAutofit/>
          </a:bodyPr>
          <a:lstStyle>
            <a:lvl1pPr lvl="0" algn="r" rtl="0">
              <a:buNone/>
              <a:defRPr sz="667">
                <a:solidFill>
                  <a:schemeClr val="dk2"/>
                </a:solidFill>
                <a:latin typeface="Inter"/>
                <a:ea typeface="Inter"/>
                <a:cs typeface="Inter"/>
                <a:sym typeface="Inter"/>
              </a:defRPr>
            </a:lvl1pPr>
            <a:lvl2pPr lvl="1" algn="r" rtl="0">
              <a:buNone/>
              <a:defRPr sz="667">
                <a:solidFill>
                  <a:schemeClr val="dk2"/>
                </a:solidFill>
                <a:latin typeface="Inter"/>
                <a:ea typeface="Inter"/>
                <a:cs typeface="Inter"/>
                <a:sym typeface="Inter"/>
              </a:defRPr>
            </a:lvl2pPr>
            <a:lvl3pPr lvl="2" algn="r" rtl="0">
              <a:buNone/>
              <a:defRPr sz="667">
                <a:solidFill>
                  <a:schemeClr val="dk2"/>
                </a:solidFill>
                <a:latin typeface="Inter"/>
                <a:ea typeface="Inter"/>
                <a:cs typeface="Inter"/>
                <a:sym typeface="Inter"/>
              </a:defRPr>
            </a:lvl3pPr>
            <a:lvl4pPr lvl="3" algn="r" rtl="0">
              <a:buNone/>
              <a:defRPr sz="667">
                <a:solidFill>
                  <a:schemeClr val="dk2"/>
                </a:solidFill>
                <a:latin typeface="Inter"/>
                <a:ea typeface="Inter"/>
                <a:cs typeface="Inter"/>
                <a:sym typeface="Inter"/>
              </a:defRPr>
            </a:lvl4pPr>
            <a:lvl5pPr lvl="4" algn="r" rtl="0">
              <a:buNone/>
              <a:defRPr sz="667">
                <a:solidFill>
                  <a:schemeClr val="dk2"/>
                </a:solidFill>
                <a:latin typeface="Inter"/>
                <a:ea typeface="Inter"/>
                <a:cs typeface="Inter"/>
                <a:sym typeface="Inter"/>
              </a:defRPr>
            </a:lvl5pPr>
            <a:lvl6pPr lvl="5" algn="r" rtl="0">
              <a:buNone/>
              <a:defRPr sz="667">
                <a:solidFill>
                  <a:schemeClr val="dk2"/>
                </a:solidFill>
                <a:latin typeface="Inter"/>
                <a:ea typeface="Inter"/>
                <a:cs typeface="Inter"/>
                <a:sym typeface="Inter"/>
              </a:defRPr>
            </a:lvl6pPr>
            <a:lvl7pPr lvl="6" algn="r" rtl="0">
              <a:buNone/>
              <a:defRPr sz="667">
                <a:solidFill>
                  <a:schemeClr val="dk2"/>
                </a:solidFill>
                <a:latin typeface="Inter"/>
                <a:ea typeface="Inter"/>
                <a:cs typeface="Inter"/>
                <a:sym typeface="Inter"/>
              </a:defRPr>
            </a:lvl7pPr>
            <a:lvl8pPr lvl="7" algn="r" rtl="0">
              <a:buNone/>
              <a:defRPr sz="667">
                <a:solidFill>
                  <a:schemeClr val="dk2"/>
                </a:solidFill>
                <a:latin typeface="Inter"/>
                <a:ea typeface="Inter"/>
                <a:cs typeface="Inter"/>
                <a:sym typeface="Inter"/>
              </a:defRPr>
            </a:lvl8pPr>
            <a:lvl9pPr lvl="8" algn="r" rtl="0">
              <a:buNone/>
              <a:defRPr sz="667">
                <a:solidFill>
                  <a:schemeClr val="dk2"/>
                </a:solidFill>
                <a:latin typeface="Inter"/>
                <a:ea typeface="Inter"/>
                <a:cs typeface="Inter"/>
                <a:sym typeface="Inter"/>
              </a:defRPr>
            </a:lvl9pPr>
          </a:lstStyle>
          <a:p>
            <a:fld id="{00000000-1234-1234-1234-123412341234}" type="slidenum">
              <a:rPr lang="en-GB" smtClean="0"/>
              <a:pPr/>
              <a:t>‹#›</a:t>
            </a:fld>
            <a:endParaRPr lang="en-GB"/>
          </a:p>
        </p:txBody>
      </p:sp>
      <p:sp>
        <p:nvSpPr>
          <p:cNvPr id="1641" name="Google Shape;1641;p39"/>
          <p:cNvSpPr txBox="1">
            <a:spLocks noGrp="1"/>
          </p:cNvSpPr>
          <p:nvPr>
            <p:ph type="title"/>
          </p:nvPr>
        </p:nvSpPr>
        <p:spPr>
          <a:xfrm>
            <a:off x="951700" y="359999"/>
            <a:ext cx="10515600" cy="524800"/>
          </a:xfrm>
          <a:prstGeom prst="rect">
            <a:avLst/>
          </a:prstGeom>
          <a:noFill/>
          <a:ln>
            <a:noFill/>
          </a:ln>
        </p:spPr>
        <p:txBody>
          <a:bodyPr spcFirstLastPara="1" wrap="square" lIns="0" tIns="0" rIns="68575" bIns="34275" anchor="t" anchorCtr="0">
            <a:normAutofit/>
          </a:bodyPr>
          <a:lstStyle>
            <a:lvl1pPr lvl="0" algn="l" rtl="0">
              <a:lnSpc>
                <a:spcPct val="90000"/>
              </a:lnSpc>
              <a:spcBef>
                <a:spcPts val="0"/>
              </a:spcBef>
              <a:spcAft>
                <a:spcPts val="0"/>
              </a:spcAft>
              <a:buClr>
                <a:schemeClr val="dk1"/>
              </a:buClr>
              <a:buSzPts val="2400"/>
              <a:buFont typeface="Inter Medium"/>
              <a:buNone/>
              <a:defRPr sz="3200">
                <a:latin typeface="Inter Medium"/>
                <a:ea typeface="Inter Medium"/>
                <a:cs typeface="Inter Medium"/>
                <a:sym typeface="Inter Medium"/>
              </a:defRPr>
            </a:lvl1pPr>
            <a:lvl2pPr lvl="1" rtl="0">
              <a:spcBef>
                <a:spcPts val="0"/>
              </a:spcBef>
              <a:spcAft>
                <a:spcPts val="0"/>
              </a:spcAft>
              <a:buSzPts val="1100"/>
              <a:buNone/>
              <a:defRPr b="1"/>
            </a:lvl2pPr>
            <a:lvl3pPr lvl="2" rtl="0">
              <a:spcBef>
                <a:spcPts val="0"/>
              </a:spcBef>
              <a:spcAft>
                <a:spcPts val="0"/>
              </a:spcAft>
              <a:buSzPts val="1100"/>
              <a:buNone/>
              <a:defRPr b="1"/>
            </a:lvl3pPr>
            <a:lvl4pPr lvl="3" rtl="0">
              <a:spcBef>
                <a:spcPts val="0"/>
              </a:spcBef>
              <a:spcAft>
                <a:spcPts val="0"/>
              </a:spcAft>
              <a:buSzPts val="1100"/>
              <a:buNone/>
              <a:defRPr b="1"/>
            </a:lvl4pPr>
            <a:lvl5pPr lvl="4" rtl="0">
              <a:spcBef>
                <a:spcPts val="0"/>
              </a:spcBef>
              <a:spcAft>
                <a:spcPts val="0"/>
              </a:spcAft>
              <a:buSzPts val="1100"/>
              <a:buNone/>
              <a:defRPr b="1"/>
            </a:lvl5pPr>
            <a:lvl6pPr lvl="5" rtl="0">
              <a:spcBef>
                <a:spcPts val="0"/>
              </a:spcBef>
              <a:spcAft>
                <a:spcPts val="0"/>
              </a:spcAft>
              <a:buSzPts val="1100"/>
              <a:buNone/>
              <a:defRPr b="1"/>
            </a:lvl6pPr>
            <a:lvl7pPr lvl="6" rtl="0">
              <a:spcBef>
                <a:spcPts val="0"/>
              </a:spcBef>
              <a:spcAft>
                <a:spcPts val="0"/>
              </a:spcAft>
              <a:buSzPts val="1100"/>
              <a:buNone/>
              <a:defRPr b="1"/>
            </a:lvl7pPr>
            <a:lvl8pPr lvl="7" rtl="0">
              <a:spcBef>
                <a:spcPts val="0"/>
              </a:spcBef>
              <a:spcAft>
                <a:spcPts val="0"/>
              </a:spcAft>
              <a:buSzPts val="1100"/>
              <a:buNone/>
              <a:defRPr b="1"/>
            </a:lvl8pPr>
            <a:lvl9pPr lvl="8" rtl="0">
              <a:spcBef>
                <a:spcPts val="0"/>
              </a:spcBef>
              <a:spcAft>
                <a:spcPts val="0"/>
              </a:spcAft>
              <a:buSzPts val="1100"/>
              <a:buNone/>
              <a:defRPr b="1"/>
            </a:lvl9pPr>
          </a:lstStyle>
          <a:p>
            <a:endParaRPr/>
          </a:p>
        </p:txBody>
      </p:sp>
      <p:sp>
        <p:nvSpPr>
          <p:cNvPr id="1642" name="Google Shape;1642;p39"/>
          <p:cNvSpPr/>
          <p:nvPr/>
        </p:nvSpPr>
        <p:spPr>
          <a:xfrm>
            <a:off x="481601" y="414630"/>
            <a:ext cx="349111" cy="305471"/>
          </a:xfrm>
          <a:custGeom>
            <a:avLst/>
            <a:gdLst/>
            <a:ahLst/>
            <a:cxnLst/>
            <a:rect l="l" t="t" r="r" b="b"/>
            <a:pathLst>
              <a:path w="1586865" h="1388506" extrusionOk="0">
                <a:moveTo>
                  <a:pt x="1083683" y="969931"/>
                </a:moveTo>
                <a:lnTo>
                  <a:pt x="1083683" y="579692"/>
                </a:lnTo>
                <a:lnTo>
                  <a:pt x="849297" y="969931"/>
                </a:lnTo>
                <a:lnTo>
                  <a:pt x="848892" y="969931"/>
                </a:lnTo>
                <a:cubicBezTo>
                  <a:pt x="848892" y="969931"/>
                  <a:pt x="848892" y="969931"/>
                  <a:pt x="848892" y="969931"/>
                </a:cubicBezTo>
                <a:lnTo>
                  <a:pt x="738783" y="969931"/>
                </a:lnTo>
                <a:lnTo>
                  <a:pt x="738783" y="577668"/>
                </a:lnTo>
                <a:lnTo>
                  <a:pt x="549735" y="892612"/>
                </a:lnTo>
                <a:cubicBezTo>
                  <a:pt x="527876" y="929449"/>
                  <a:pt x="510873" y="958191"/>
                  <a:pt x="503992" y="969931"/>
                </a:cubicBezTo>
                <a:lnTo>
                  <a:pt x="393073" y="969931"/>
                </a:lnTo>
                <a:lnTo>
                  <a:pt x="393073" y="418576"/>
                </a:lnTo>
                <a:lnTo>
                  <a:pt x="503992" y="418576"/>
                </a:lnTo>
                <a:lnTo>
                  <a:pt x="502777" y="760643"/>
                </a:lnTo>
                <a:lnTo>
                  <a:pt x="503587" y="782098"/>
                </a:lnTo>
                <a:lnTo>
                  <a:pt x="721781" y="418981"/>
                </a:lnTo>
                <a:lnTo>
                  <a:pt x="721781" y="418981"/>
                </a:lnTo>
                <a:lnTo>
                  <a:pt x="721781" y="418981"/>
                </a:lnTo>
                <a:lnTo>
                  <a:pt x="739188" y="418981"/>
                </a:lnTo>
                <a:lnTo>
                  <a:pt x="847678" y="418981"/>
                </a:lnTo>
                <a:cubicBezTo>
                  <a:pt x="847678" y="418981"/>
                  <a:pt x="848487" y="722995"/>
                  <a:pt x="848892" y="783717"/>
                </a:cubicBezTo>
                <a:lnTo>
                  <a:pt x="1067895" y="418981"/>
                </a:lnTo>
                <a:lnTo>
                  <a:pt x="1067895" y="418981"/>
                </a:lnTo>
                <a:lnTo>
                  <a:pt x="1067895" y="418981"/>
                </a:lnTo>
                <a:lnTo>
                  <a:pt x="1085302" y="418981"/>
                </a:lnTo>
                <a:lnTo>
                  <a:pt x="1193387" y="418981"/>
                </a:lnTo>
                <a:lnTo>
                  <a:pt x="1193387" y="970336"/>
                </a:lnTo>
                <a:lnTo>
                  <a:pt x="1083683" y="970336"/>
                </a:lnTo>
                <a:close/>
                <a:moveTo>
                  <a:pt x="1190149" y="0"/>
                </a:moveTo>
                <a:lnTo>
                  <a:pt x="396716" y="0"/>
                </a:lnTo>
                <a:lnTo>
                  <a:pt x="0" y="694253"/>
                </a:lnTo>
                <a:lnTo>
                  <a:pt x="396716" y="1388507"/>
                </a:lnTo>
                <a:lnTo>
                  <a:pt x="1190149" y="1388507"/>
                </a:lnTo>
                <a:lnTo>
                  <a:pt x="1586865" y="694253"/>
                </a:lnTo>
                <a:lnTo>
                  <a:pt x="1190149" y="0"/>
                </a:lnTo>
                <a:close/>
              </a:path>
            </a:pathLst>
          </a:custGeom>
          <a:solidFill>
            <a:schemeClr val="dk2"/>
          </a:solidFill>
          <a:ln>
            <a:noFill/>
          </a:ln>
        </p:spPr>
        <p:txBody>
          <a:bodyPr spcFirstLastPara="1" wrap="square" lIns="91433" tIns="45700" rIns="91433" bIns="45700"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643" name="Google Shape;1643;p39"/>
          <p:cNvSpPr txBox="1"/>
          <p:nvPr/>
        </p:nvSpPr>
        <p:spPr>
          <a:xfrm>
            <a:off x="481600" y="6245247"/>
            <a:ext cx="1288400" cy="273200"/>
          </a:xfrm>
          <a:prstGeom prst="rect">
            <a:avLst/>
          </a:prstGeom>
          <a:noFill/>
          <a:ln>
            <a:noFill/>
          </a:ln>
        </p:spPr>
        <p:txBody>
          <a:bodyPr spcFirstLastPara="1" wrap="square" lIns="0" tIns="0" rIns="0" bIns="0" anchor="b" anchorCtr="0">
            <a:noAutofit/>
          </a:bodyPr>
          <a:lstStyle/>
          <a:p>
            <a:pPr marL="0" lvl="0" indent="0" algn="l" rtl="0">
              <a:spcBef>
                <a:spcPts val="0"/>
              </a:spcBef>
              <a:spcAft>
                <a:spcPts val="0"/>
              </a:spcAft>
              <a:buNone/>
            </a:pPr>
            <a:r>
              <a:rPr lang="en-GB" sz="667">
                <a:solidFill>
                  <a:schemeClr val="dk2"/>
                </a:solidFill>
                <a:latin typeface="Inter"/>
                <a:ea typeface="Inter"/>
                <a:cs typeface="Inter"/>
                <a:sym typeface="Inter"/>
              </a:rPr>
              <a:t>Multiverse</a:t>
            </a:r>
            <a:endParaRPr sz="667">
              <a:solidFill>
                <a:schemeClr val="dk2"/>
              </a:solidFill>
              <a:latin typeface="Inter"/>
              <a:ea typeface="Inter"/>
              <a:cs typeface="Inter"/>
              <a:sym typeface="Inter"/>
            </a:endParaRPr>
          </a:p>
        </p:txBody>
      </p:sp>
      <p:sp>
        <p:nvSpPr>
          <p:cNvPr id="1644" name="Google Shape;1644;p39"/>
          <p:cNvSpPr txBox="1">
            <a:spLocks noGrp="1"/>
          </p:cNvSpPr>
          <p:nvPr>
            <p:ph type="body" idx="1"/>
          </p:nvPr>
        </p:nvSpPr>
        <p:spPr>
          <a:xfrm>
            <a:off x="501900" y="1778100"/>
            <a:ext cx="5117600" cy="3518000"/>
          </a:xfrm>
          <a:prstGeom prst="rect">
            <a:avLst/>
          </a:prstGeom>
        </p:spPr>
        <p:txBody>
          <a:bodyPr spcFirstLastPara="1" wrap="square" lIns="0" tIns="34275" rIns="68575" bIns="34275" anchor="t" anchorCtr="0">
            <a:normAutofit/>
          </a:bodyPr>
          <a:lstStyle>
            <a:lvl1pPr marL="609585" lvl="0" indent="-457189" rtl="0">
              <a:spcBef>
                <a:spcPts val="1067"/>
              </a:spcBef>
              <a:spcAft>
                <a:spcPts val="0"/>
              </a:spcAft>
              <a:buSzPts val="1800"/>
              <a:buChar char="●"/>
              <a:defRPr sz="3200"/>
            </a:lvl1pPr>
            <a:lvl2pPr marL="1219170" lvl="1" indent="-457189" rtl="0">
              <a:spcBef>
                <a:spcPts val="533"/>
              </a:spcBef>
              <a:spcAft>
                <a:spcPts val="0"/>
              </a:spcAft>
              <a:buSzPts val="1800"/>
              <a:buChar char="●"/>
              <a:defRPr sz="3200"/>
            </a:lvl2pPr>
            <a:lvl3pPr marL="1828754" lvl="2" indent="-457189" rtl="0">
              <a:spcBef>
                <a:spcPts val="533"/>
              </a:spcBef>
              <a:spcAft>
                <a:spcPts val="0"/>
              </a:spcAft>
              <a:buSzPts val="1800"/>
              <a:buChar char="●"/>
              <a:defRPr sz="3200"/>
            </a:lvl3pPr>
            <a:lvl4pPr marL="2438339" lvl="3" indent="-457189" rtl="0">
              <a:spcBef>
                <a:spcPts val="533"/>
              </a:spcBef>
              <a:spcAft>
                <a:spcPts val="0"/>
              </a:spcAft>
              <a:buSzPts val="1800"/>
              <a:buChar char="●"/>
              <a:defRPr sz="3200"/>
            </a:lvl4pPr>
            <a:lvl5pPr marL="3047924" lvl="4" indent="-457189" rtl="0">
              <a:spcBef>
                <a:spcPts val="533"/>
              </a:spcBef>
              <a:spcAft>
                <a:spcPts val="0"/>
              </a:spcAft>
              <a:buSzPts val="1800"/>
              <a:buChar char="●"/>
              <a:defRPr sz="3200"/>
            </a:lvl5pPr>
            <a:lvl6pPr marL="3657509" lvl="5" indent="-457189" rtl="0">
              <a:spcBef>
                <a:spcPts val="533"/>
              </a:spcBef>
              <a:spcAft>
                <a:spcPts val="0"/>
              </a:spcAft>
              <a:buSzPts val="1800"/>
              <a:buChar char="●"/>
              <a:defRPr sz="3200"/>
            </a:lvl6pPr>
            <a:lvl7pPr marL="4267093" lvl="6" indent="-457189" rtl="0">
              <a:spcBef>
                <a:spcPts val="533"/>
              </a:spcBef>
              <a:spcAft>
                <a:spcPts val="0"/>
              </a:spcAft>
              <a:buSzPts val="1800"/>
              <a:buChar char="●"/>
              <a:defRPr sz="3200"/>
            </a:lvl7pPr>
            <a:lvl8pPr marL="4876678" lvl="7" indent="-457189" rtl="0">
              <a:spcBef>
                <a:spcPts val="533"/>
              </a:spcBef>
              <a:spcAft>
                <a:spcPts val="0"/>
              </a:spcAft>
              <a:buSzPts val="1800"/>
              <a:buChar char="●"/>
              <a:defRPr sz="3200"/>
            </a:lvl8pPr>
            <a:lvl9pPr marL="5486263" lvl="8" indent="-507987" rtl="0">
              <a:spcBef>
                <a:spcPts val="533"/>
              </a:spcBef>
              <a:spcAft>
                <a:spcPts val="0"/>
              </a:spcAft>
              <a:buSzPts val="2400"/>
              <a:buChar char="●"/>
              <a:defRPr sz="3200"/>
            </a:lvl9pPr>
          </a:lstStyle>
          <a:p>
            <a:endParaRPr/>
          </a:p>
        </p:txBody>
      </p:sp>
      <p:sp>
        <p:nvSpPr>
          <p:cNvPr id="1645" name="Google Shape;1645;p39"/>
          <p:cNvSpPr txBox="1">
            <a:spLocks noGrp="1"/>
          </p:cNvSpPr>
          <p:nvPr>
            <p:ph type="subTitle" idx="2"/>
          </p:nvPr>
        </p:nvSpPr>
        <p:spPr>
          <a:xfrm>
            <a:off x="501908" y="1335200"/>
            <a:ext cx="2542800" cy="192000"/>
          </a:xfrm>
          <a:prstGeom prst="rect">
            <a:avLst/>
          </a:prstGeom>
          <a:solidFill>
            <a:schemeClr val="accent2"/>
          </a:solidFill>
          <a:ln w="28575" cap="flat" cmpd="sng">
            <a:solidFill>
              <a:schemeClr val="accent2"/>
            </a:solidFill>
            <a:prstDash val="solid"/>
            <a:round/>
            <a:headEnd type="none" w="sm" len="sm"/>
            <a:tailEnd type="none" w="sm" len="sm"/>
          </a:ln>
        </p:spPr>
        <p:txBody>
          <a:bodyPr spcFirstLastPara="1" wrap="square" lIns="36000" tIns="0" rIns="36000" bIns="0" anchor="ctr" anchorCtr="0">
            <a:noAutofit/>
          </a:bodyPr>
          <a:lstStyle>
            <a:lvl1pPr lvl="0" rtl="0">
              <a:spcBef>
                <a:spcPts val="1067"/>
              </a:spcBef>
              <a:spcAft>
                <a:spcPts val="0"/>
              </a:spcAft>
              <a:buSzPts val="900"/>
              <a:buFont typeface="Inter Medium"/>
              <a:buNone/>
              <a:defRPr sz="1200">
                <a:latin typeface="Inter Medium"/>
                <a:ea typeface="Inter Medium"/>
                <a:cs typeface="Inter Medium"/>
                <a:sym typeface="Inter Medium"/>
              </a:defRPr>
            </a:lvl1pPr>
            <a:lvl2pPr lvl="1" rtl="0">
              <a:spcBef>
                <a:spcPts val="533"/>
              </a:spcBef>
              <a:spcAft>
                <a:spcPts val="0"/>
              </a:spcAft>
              <a:buSzPts val="1200"/>
              <a:buNone/>
              <a:defRPr/>
            </a:lvl2pPr>
            <a:lvl3pPr lvl="2" rtl="0">
              <a:spcBef>
                <a:spcPts val="533"/>
              </a:spcBef>
              <a:spcAft>
                <a:spcPts val="0"/>
              </a:spcAft>
              <a:buSzPts val="1200"/>
              <a:buNone/>
              <a:defRPr/>
            </a:lvl3pPr>
            <a:lvl4pPr lvl="3" rtl="0">
              <a:spcBef>
                <a:spcPts val="533"/>
              </a:spcBef>
              <a:spcAft>
                <a:spcPts val="0"/>
              </a:spcAft>
              <a:buSzPts val="1200"/>
              <a:buNone/>
              <a:defRPr/>
            </a:lvl4pPr>
            <a:lvl5pPr lvl="4" rtl="0">
              <a:spcBef>
                <a:spcPts val="533"/>
              </a:spcBef>
              <a:spcAft>
                <a:spcPts val="0"/>
              </a:spcAft>
              <a:buSzPts val="1200"/>
              <a:buNone/>
              <a:defRPr/>
            </a:lvl5pPr>
            <a:lvl6pPr lvl="5" rtl="0">
              <a:spcBef>
                <a:spcPts val="533"/>
              </a:spcBef>
              <a:spcAft>
                <a:spcPts val="0"/>
              </a:spcAft>
              <a:buSzPts val="1200"/>
              <a:buNone/>
              <a:defRPr/>
            </a:lvl6pPr>
            <a:lvl7pPr lvl="6" rtl="0">
              <a:spcBef>
                <a:spcPts val="533"/>
              </a:spcBef>
              <a:spcAft>
                <a:spcPts val="0"/>
              </a:spcAft>
              <a:buSzPts val="1200"/>
              <a:buNone/>
              <a:defRPr/>
            </a:lvl7pPr>
            <a:lvl8pPr lvl="7" rtl="0">
              <a:spcBef>
                <a:spcPts val="533"/>
              </a:spcBef>
              <a:spcAft>
                <a:spcPts val="0"/>
              </a:spcAft>
              <a:buSzPts val="1200"/>
              <a:buNone/>
              <a:defRPr/>
            </a:lvl8pPr>
            <a:lvl9pPr lvl="8" rtl="0">
              <a:spcBef>
                <a:spcPts val="533"/>
              </a:spcBef>
              <a:spcAft>
                <a:spcPts val="0"/>
              </a:spcAft>
              <a:buSzPts val="1200"/>
              <a:buNone/>
              <a:defRPr/>
            </a:lvl9pPr>
          </a:lstStyle>
          <a:p>
            <a:endParaRPr/>
          </a:p>
        </p:txBody>
      </p:sp>
      <p:sp>
        <p:nvSpPr>
          <p:cNvPr id="1646" name="Google Shape;1646;p39"/>
          <p:cNvSpPr txBox="1">
            <a:spLocks noGrp="1"/>
          </p:cNvSpPr>
          <p:nvPr>
            <p:ph type="body" idx="3"/>
          </p:nvPr>
        </p:nvSpPr>
        <p:spPr>
          <a:xfrm>
            <a:off x="6122933" y="1778100"/>
            <a:ext cx="5117600" cy="3518000"/>
          </a:xfrm>
          <a:prstGeom prst="rect">
            <a:avLst/>
          </a:prstGeom>
        </p:spPr>
        <p:txBody>
          <a:bodyPr spcFirstLastPara="1" wrap="square" lIns="0" tIns="34275" rIns="68575" bIns="34275" anchor="t" anchorCtr="0">
            <a:normAutofit/>
          </a:bodyPr>
          <a:lstStyle>
            <a:lvl1pPr marL="609585" lvl="0" indent="-457189" rtl="0">
              <a:spcBef>
                <a:spcPts val="1067"/>
              </a:spcBef>
              <a:spcAft>
                <a:spcPts val="0"/>
              </a:spcAft>
              <a:buSzPts val="1800"/>
              <a:buChar char="●"/>
              <a:defRPr sz="3200"/>
            </a:lvl1pPr>
            <a:lvl2pPr marL="1219170" lvl="1" indent="-457189" rtl="0">
              <a:spcBef>
                <a:spcPts val="533"/>
              </a:spcBef>
              <a:spcAft>
                <a:spcPts val="0"/>
              </a:spcAft>
              <a:buSzPts val="1800"/>
              <a:buChar char="●"/>
              <a:defRPr sz="3200"/>
            </a:lvl2pPr>
            <a:lvl3pPr marL="1828754" lvl="2" indent="-457189" rtl="0">
              <a:spcBef>
                <a:spcPts val="533"/>
              </a:spcBef>
              <a:spcAft>
                <a:spcPts val="0"/>
              </a:spcAft>
              <a:buSzPts val="1800"/>
              <a:buChar char="●"/>
              <a:defRPr sz="3200"/>
            </a:lvl3pPr>
            <a:lvl4pPr marL="2438339" lvl="3" indent="-457189" rtl="0">
              <a:spcBef>
                <a:spcPts val="533"/>
              </a:spcBef>
              <a:spcAft>
                <a:spcPts val="0"/>
              </a:spcAft>
              <a:buSzPts val="1800"/>
              <a:buChar char="●"/>
              <a:defRPr sz="3200"/>
            </a:lvl4pPr>
            <a:lvl5pPr marL="3047924" lvl="4" indent="-457189" rtl="0">
              <a:spcBef>
                <a:spcPts val="533"/>
              </a:spcBef>
              <a:spcAft>
                <a:spcPts val="0"/>
              </a:spcAft>
              <a:buSzPts val="1800"/>
              <a:buChar char="●"/>
              <a:defRPr sz="3200"/>
            </a:lvl5pPr>
            <a:lvl6pPr marL="3657509" lvl="5" indent="-457189" rtl="0">
              <a:spcBef>
                <a:spcPts val="533"/>
              </a:spcBef>
              <a:spcAft>
                <a:spcPts val="0"/>
              </a:spcAft>
              <a:buSzPts val="1800"/>
              <a:buChar char="●"/>
              <a:defRPr sz="3200"/>
            </a:lvl6pPr>
            <a:lvl7pPr marL="4267093" lvl="6" indent="-457189" rtl="0">
              <a:spcBef>
                <a:spcPts val="533"/>
              </a:spcBef>
              <a:spcAft>
                <a:spcPts val="0"/>
              </a:spcAft>
              <a:buSzPts val="1800"/>
              <a:buChar char="●"/>
              <a:defRPr sz="3200"/>
            </a:lvl7pPr>
            <a:lvl8pPr marL="4876678" lvl="7" indent="-457189" rtl="0">
              <a:spcBef>
                <a:spcPts val="533"/>
              </a:spcBef>
              <a:spcAft>
                <a:spcPts val="0"/>
              </a:spcAft>
              <a:buSzPts val="1800"/>
              <a:buChar char="●"/>
              <a:defRPr sz="3200"/>
            </a:lvl8pPr>
            <a:lvl9pPr marL="5486263" lvl="8" indent="-507987" rtl="0">
              <a:spcBef>
                <a:spcPts val="533"/>
              </a:spcBef>
              <a:spcAft>
                <a:spcPts val="0"/>
              </a:spcAft>
              <a:buSzPts val="2400"/>
              <a:buChar char="●"/>
              <a:defRPr sz="3200"/>
            </a:lvl9pPr>
          </a:lstStyle>
          <a:p>
            <a:endParaRPr/>
          </a:p>
        </p:txBody>
      </p:sp>
    </p:spTree>
    <p:extLst>
      <p:ext uri="{BB962C8B-B14F-4D97-AF65-F5344CB8AC3E}">
        <p14:creationId xmlns:p14="http://schemas.microsoft.com/office/powerpoint/2010/main" val="27300215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matchingName="Agenda List  - Profile pics">
  <p:cSld name="Agenda List  - Profile pics">
    <p:bg>
      <p:bgPr>
        <a:solidFill>
          <a:schemeClr val="lt2"/>
        </a:solidFill>
        <a:effectLst/>
      </p:bgPr>
    </p:bg>
    <p:spTree>
      <p:nvGrpSpPr>
        <p:cNvPr id="1" name="Shape 1647"/>
        <p:cNvGrpSpPr/>
        <p:nvPr/>
      </p:nvGrpSpPr>
      <p:grpSpPr>
        <a:xfrm>
          <a:off x="0" y="0"/>
          <a:ext cx="0" cy="0"/>
          <a:chOff x="0" y="0"/>
          <a:chExt cx="0" cy="0"/>
        </a:xfrm>
      </p:grpSpPr>
      <p:sp>
        <p:nvSpPr>
          <p:cNvPr id="1648" name="Google Shape;1648;p40"/>
          <p:cNvSpPr/>
          <p:nvPr/>
        </p:nvSpPr>
        <p:spPr>
          <a:xfrm>
            <a:off x="7025267" y="1100333"/>
            <a:ext cx="5859200" cy="5156400"/>
          </a:xfrm>
          <a:prstGeom prst="roundRect">
            <a:avLst>
              <a:gd name="adj" fmla="val 5440"/>
            </a:avLst>
          </a:prstGeom>
          <a:solidFill>
            <a:schemeClr val="dk2"/>
          </a:solidFill>
          <a:ln>
            <a:noFill/>
          </a:ln>
        </p:spPr>
        <p:txBody>
          <a:bodyPr spcFirstLastPara="1" wrap="square" lIns="121900" tIns="121900" rIns="121900" bIns="121900"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sp>
        <p:nvSpPr>
          <p:cNvPr id="1649" name="Google Shape;1649;p40"/>
          <p:cNvSpPr>
            <a:spLocks noGrp="1"/>
          </p:cNvSpPr>
          <p:nvPr>
            <p:ph type="pic" idx="2"/>
          </p:nvPr>
        </p:nvSpPr>
        <p:spPr>
          <a:xfrm>
            <a:off x="7593867" y="1419600"/>
            <a:ext cx="1204800" cy="1205200"/>
          </a:xfrm>
          <a:prstGeom prst="roundRect">
            <a:avLst>
              <a:gd name="adj" fmla="val 11119"/>
            </a:avLst>
          </a:prstGeom>
          <a:noFill/>
          <a:ln>
            <a:noFill/>
          </a:ln>
        </p:spPr>
      </p:sp>
      <p:sp>
        <p:nvSpPr>
          <p:cNvPr id="1650" name="Google Shape;1650;p40"/>
          <p:cNvSpPr>
            <a:spLocks noGrp="1"/>
          </p:cNvSpPr>
          <p:nvPr>
            <p:ph type="pic" idx="3"/>
          </p:nvPr>
        </p:nvSpPr>
        <p:spPr>
          <a:xfrm>
            <a:off x="9815433" y="1419600"/>
            <a:ext cx="1204800" cy="1205200"/>
          </a:xfrm>
          <a:prstGeom prst="roundRect">
            <a:avLst>
              <a:gd name="adj" fmla="val 11119"/>
            </a:avLst>
          </a:prstGeom>
          <a:noFill/>
          <a:ln>
            <a:noFill/>
          </a:ln>
        </p:spPr>
      </p:sp>
      <p:sp>
        <p:nvSpPr>
          <p:cNvPr id="1651" name="Google Shape;1651;p40"/>
          <p:cNvSpPr>
            <a:spLocks noGrp="1"/>
          </p:cNvSpPr>
          <p:nvPr>
            <p:ph type="pic" idx="4"/>
          </p:nvPr>
        </p:nvSpPr>
        <p:spPr>
          <a:xfrm>
            <a:off x="7593867" y="3806000"/>
            <a:ext cx="1204800" cy="1205200"/>
          </a:xfrm>
          <a:prstGeom prst="roundRect">
            <a:avLst>
              <a:gd name="adj" fmla="val 11119"/>
            </a:avLst>
          </a:prstGeom>
          <a:noFill/>
          <a:ln>
            <a:noFill/>
          </a:ln>
        </p:spPr>
      </p:sp>
      <p:sp>
        <p:nvSpPr>
          <p:cNvPr id="1652" name="Google Shape;1652;p40"/>
          <p:cNvSpPr>
            <a:spLocks noGrp="1"/>
          </p:cNvSpPr>
          <p:nvPr>
            <p:ph type="pic" idx="5"/>
          </p:nvPr>
        </p:nvSpPr>
        <p:spPr>
          <a:xfrm>
            <a:off x="9815433" y="3806000"/>
            <a:ext cx="1204800" cy="1205200"/>
          </a:xfrm>
          <a:prstGeom prst="roundRect">
            <a:avLst>
              <a:gd name="adj" fmla="val 11119"/>
            </a:avLst>
          </a:prstGeom>
          <a:noFill/>
          <a:ln>
            <a:noFill/>
          </a:ln>
        </p:spPr>
      </p:sp>
      <p:sp>
        <p:nvSpPr>
          <p:cNvPr id="1653" name="Google Shape;1653;p40"/>
          <p:cNvSpPr txBox="1">
            <a:spLocks noGrp="1"/>
          </p:cNvSpPr>
          <p:nvPr>
            <p:ph type="title"/>
          </p:nvPr>
        </p:nvSpPr>
        <p:spPr>
          <a:xfrm>
            <a:off x="951700" y="359997"/>
            <a:ext cx="10515600" cy="975200"/>
          </a:xfrm>
          <a:prstGeom prst="rect">
            <a:avLst/>
          </a:prstGeom>
          <a:noFill/>
          <a:ln>
            <a:noFill/>
          </a:ln>
        </p:spPr>
        <p:txBody>
          <a:bodyPr spcFirstLastPara="1" wrap="square" lIns="0" tIns="0" rIns="68575" bIns="34275" anchor="t" anchorCtr="0">
            <a:noAutofit/>
          </a:bodyPr>
          <a:lstStyle>
            <a:lvl1pPr lvl="0" algn="l" rtl="0">
              <a:lnSpc>
                <a:spcPct val="90000"/>
              </a:lnSpc>
              <a:spcBef>
                <a:spcPts val="0"/>
              </a:spcBef>
              <a:spcAft>
                <a:spcPts val="0"/>
              </a:spcAft>
              <a:buClr>
                <a:schemeClr val="dk1"/>
              </a:buClr>
              <a:buSzPts val="2400"/>
              <a:buFont typeface="Inter Medium"/>
              <a:buNone/>
              <a:defRPr sz="3200">
                <a:latin typeface="Inter Medium"/>
                <a:ea typeface="Inter Medium"/>
                <a:cs typeface="Inter Medium"/>
                <a:sym typeface="Inter Medium"/>
              </a:defRPr>
            </a:lvl1pPr>
            <a:lvl2pPr lvl="1" rtl="0">
              <a:spcBef>
                <a:spcPts val="0"/>
              </a:spcBef>
              <a:spcAft>
                <a:spcPts val="0"/>
              </a:spcAft>
              <a:buSzPts val="1100"/>
              <a:buNone/>
              <a:defRPr b="1"/>
            </a:lvl2pPr>
            <a:lvl3pPr lvl="2" rtl="0">
              <a:spcBef>
                <a:spcPts val="0"/>
              </a:spcBef>
              <a:spcAft>
                <a:spcPts val="0"/>
              </a:spcAft>
              <a:buSzPts val="1100"/>
              <a:buNone/>
              <a:defRPr b="1"/>
            </a:lvl3pPr>
            <a:lvl4pPr lvl="3" rtl="0">
              <a:spcBef>
                <a:spcPts val="0"/>
              </a:spcBef>
              <a:spcAft>
                <a:spcPts val="0"/>
              </a:spcAft>
              <a:buSzPts val="1100"/>
              <a:buNone/>
              <a:defRPr b="1"/>
            </a:lvl4pPr>
            <a:lvl5pPr lvl="4" rtl="0">
              <a:spcBef>
                <a:spcPts val="0"/>
              </a:spcBef>
              <a:spcAft>
                <a:spcPts val="0"/>
              </a:spcAft>
              <a:buSzPts val="1100"/>
              <a:buNone/>
              <a:defRPr b="1"/>
            </a:lvl5pPr>
            <a:lvl6pPr lvl="5" rtl="0">
              <a:spcBef>
                <a:spcPts val="0"/>
              </a:spcBef>
              <a:spcAft>
                <a:spcPts val="0"/>
              </a:spcAft>
              <a:buSzPts val="1100"/>
              <a:buNone/>
              <a:defRPr b="1"/>
            </a:lvl6pPr>
            <a:lvl7pPr lvl="6" rtl="0">
              <a:spcBef>
                <a:spcPts val="0"/>
              </a:spcBef>
              <a:spcAft>
                <a:spcPts val="0"/>
              </a:spcAft>
              <a:buSzPts val="1100"/>
              <a:buNone/>
              <a:defRPr b="1"/>
            </a:lvl7pPr>
            <a:lvl8pPr lvl="7" rtl="0">
              <a:spcBef>
                <a:spcPts val="0"/>
              </a:spcBef>
              <a:spcAft>
                <a:spcPts val="0"/>
              </a:spcAft>
              <a:buSzPts val="1100"/>
              <a:buNone/>
              <a:defRPr b="1"/>
            </a:lvl8pPr>
            <a:lvl9pPr lvl="8" rtl="0">
              <a:spcBef>
                <a:spcPts val="0"/>
              </a:spcBef>
              <a:spcAft>
                <a:spcPts val="0"/>
              </a:spcAft>
              <a:buSzPts val="1100"/>
              <a:buNone/>
              <a:defRPr b="1"/>
            </a:lvl9pPr>
          </a:lstStyle>
          <a:p>
            <a:endParaRPr/>
          </a:p>
        </p:txBody>
      </p:sp>
      <p:sp>
        <p:nvSpPr>
          <p:cNvPr id="1654" name="Google Shape;1654;p40"/>
          <p:cNvSpPr txBox="1">
            <a:spLocks noGrp="1"/>
          </p:cNvSpPr>
          <p:nvPr>
            <p:ph type="sldNum" idx="12"/>
          </p:nvPr>
        </p:nvSpPr>
        <p:spPr>
          <a:xfrm>
            <a:off x="10978812" y="5993647"/>
            <a:ext cx="731600" cy="524800"/>
          </a:xfrm>
          <a:prstGeom prst="rect">
            <a:avLst/>
          </a:prstGeom>
        </p:spPr>
        <p:txBody>
          <a:bodyPr spcFirstLastPara="1" wrap="square" lIns="91425" tIns="91425" rIns="0" bIns="0" anchor="b" anchorCtr="0">
            <a:noAutofit/>
          </a:bodyPr>
          <a:lstStyle>
            <a:lvl1pPr lvl="0" algn="r" rtl="0">
              <a:buNone/>
              <a:defRPr sz="667">
                <a:solidFill>
                  <a:schemeClr val="dk2"/>
                </a:solidFill>
                <a:latin typeface="Inter"/>
                <a:ea typeface="Inter"/>
                <a:cs typeface="Inter"/>
                <a:sym typeface="Inter"/>
              </a:defRPr>
            </a:lvl1pPr>
            <a:lvl2pPr lvl="1" algn="r" rtl="0">
              <a:buNone/>
              <a:defRPr sz="667">
                <a:solidFill>
                  <a:schemeClr val="dk2"/>
                </a:solidFill>
                <a:latin typeface="Inter"/>
                <a:ea typeface="Inter"/>
                <a:cs typeface="Inter"/>
                <a:sym typeface="Inter"/>
              </a:defRPr>
            </a:lvl2pPr>
            <a:lvl3pPr lvl="2" algn="r" rtl="0">
              <a:buNone/>
              <a:defRPr sz="667">
                <a:solidFill>
                  <a:schemeClr val="dk2"/>
                </a:solidFill>
                <a:latin typeface="Inter"/>
                <a:ea typeface="Inter"/>
                <a:cs typeface="Inter"/>
                <a:sym typeface="Inter"/>
              </a:defRPr>
            </a:lvl3pPr>
            <a:lvl4pPr lvl="3" algn="r" rtl="0">
              <a:buNone/>
              <a:defRPr sz="667">
                <a:solidFill>
                  <a:schemeClr val="dk2"/>
                </a:solidFill>
                <a:latin typeface="Inter"/>
                <a:ea typeface="Inter"/>
                <a:cs typeface="Inter"/>
                <a:sym typeface="Inter"/>
              </a:defRPr>
            </a:lvl4pPr>
            <a:lvl5pPr lvl="4" algn="r" rtl="0">
              <a:buNone/>
              <a:defRPr sz="667">
                <a:solidFill>
                  <a:schemeClr val="dk2"/>
                </a:solidFill>
                <a:latin typeface="Inter"/>
                <a:ea typeface="Inter"/>
                <a:cs typeface="Inter"/>
                <a:sym typeface="Inter"/>
              </a:defRPr>
            </a:lvl5pPr>
            <a:lvl6pPr lvl="5" algn="r" rtl="0">
              <a:buNone/>
              <a:defRPr sz="667">
                <a:solidFill>
                  <a:schemeClr val="dk2"/>
                </a:solidFill>
                <a:latin typeface="Inter"/>
                <a:ea typeface="Inter"/>
                <a:cs typeface="Inter"/>
                <a:sym typeface="Inter"/>
              </a:defRPr>
            </a:lvl6pPr>
            <a:lvl7pPr lvl="6" algn="r" rtl="0">
              <a:buNone/>
              <a:defRPr sz="667">
                <a:solidFill>
                  <a:schemeClr val="dk2"/>
                </a:solidFill>
                <a:latin typeface="Inter"/>
                <a:ea typeface="Inter"/>
                <a:cs typeface="Inter"/>
                <a:sym typeface="Inter"/>
              </a:defRPr>
            </a:lvl7pPr>
            <a:lvl8pPr lvl="7" algn="r" rtl="0">
              <a:buNone/>
              <a:defRPr sz="667">
                <a:solidFill>
                  <a:schemeClr val="dk2"/>
                </a:solidFill>
                <a:latin typeface="Inter"/>
                <a:ea typeface="Inter"/>
                <a:cs typeface="Inter"/>
                <a:sym typeface="Inter"/>
              </a:defRPr>
            </a:lvl8pPr>
            <a:lvl9pPr lvl="8" algn="r" rtl="0">
              <a:buNone/>
              <a:defRPr sz="667">
                <a:solidFill>
                  <a:schemeClr val="dk2"/>
                </a:solidFill>
                <a:latin typeface="Inter"/>
                <a:ea typeface="Inter"/>
                <a:cs typeface="Inter"/>
                <a:sym typeface="Inter"/>
              </a:defRPr>
            </a:lvl9pPr>
          </a:lstStyle>
          <a:p>
            <a:fld id="{00000000-1234-1234-1234-123412341234}" type="slidenum">
              <a:rPr lang="en-GB" smtClean="0"/>
              <a:pPr/>
              <a:t>‹#›</a:t>
            </a:fld>
            <a:endParaRPr lang="en-GB"/>
          </a:p>
        </p:txBody>
      </p:sp>
      <p:sp>
        <p:nvSpPr>
          <p:cNvPr id="1655" name="Google Shape;1655;p40"/>
          <p:cNvSpPr txBox="1"/>
          <p:nvPr/>
        </p:nvSpPr>
        <p:spPr>
          <a:xfrm>
            <a:off x="481600" y="6245247"/>
            <a:ext cx="1288400" cy="273200"/>
          </a:xfrm>
          <a:prstGeom prst="rect">
            <a:avLst/>
          </a:prstGeom>
          <a:noFill/>
          <a:ln>
            <a:noFill/>
          </a:ln>
        </p:spPr>
        <p:txBody>
          <a:bodyPr spcFirstLastPara="1" wrap="square" lIns="0" tIns="0" rIns="0" bIns="0" anchor="b" anchorCtr="0">
            <a:noAutofit/>
          </a:bodyPr>
          <a:lstStyle/>
          <a:p>
            <a:pPr marL="0" lvl="0" indent="0" algn="l" rtl="0">
              <a:spcBef>
                <a:spcPts val="0"/>
              </a:spcBef>
              <a:spcAft>
                <a:spcPts val="0"/>
              </a:spcAft>
              <a:buNone/>
            </a:pPr>
            <a:r>
              <a:rPr lang="en-GB" sz="667">
                <a:solidFill>
                  <a:schemeClr val="dk2"/>
                </a:solidFill>
                <a:latin typeface="Inter"/>
                <a:ea typeface="Inter"/>
                <a:cs typeface="Inter"/>
                <a:sym typeface="Inter"/>
              </a:rPr>
              <a:t>Multiverse</a:t>
            </a:r>
            <a:endParaRPr sz="667">
              <a:solidFill>
                <a:schemeClr val="dk2"/>
              </a:solidFill>
              <a:latin typeface="Inter"/>
              <a:ea typeface="Inter"/>
              <a:cs typeface="Inter"/>
              <a:sym typeface="Inter"/>
            </a:endParaRPr>
          </a:p>
        </p:txBody>
      </p:sp>
      <p:sp>
        <p:nvSpPr>
          <p:cNvPr id="1656" name="Google Shape;1656;p40"/>
          <p:cNvSpPr/>
          <p:nvPr/>
        </p:nvSpPr>
        <p:spPr>
          <a:xfrm>
            <a:off x="481601" y="414630"/>
            <a:ext cx="349111" cy="305471"/>
          </a:xfrm>
          <a:custGeom>
            <a:avLst/>
            <a:gdLst/>
            <a:ahLst/>
            <a:cxnLst/>
            <a:rect l="l" t="t" r="r" b="b"/>
            <a:pathLst>
              <a:path w="1586865" h="1388506" extrusionOk="0">
                <a:moveTo>
                  <a:pt x="1083683" y="969931"/>
                </a:moveTo>
                <a:lnTo>
                  <a:pt x="1083683" y="579692"/>
                </a:lnTo>
                <a:lnTo>
                  <a:pt x="849297" y="969931"/>
                </a:lnTo>
                <a:lnTo>
                  <a:pt x="848892" y="969931"/>
                </a:lnTo>
                <a:cubicBezTo>
                  <a:pt x="848892" y="969931"/>
                  <a:pt x="848892" y="969931"/>
                  <a:pt x="848892" y="969931"/>
                </a:cubicBezTo>
                <a:lnTo>
                  <a:pt x="738783" y="969931"/>
                </a:lnTo>
                <a:lnTo>
                  <a:pt x="738783" y="577668"/>
                </a:lnTo>
                <a:lnTo>
                  <a:pt x="549735" y="892612"/>
                </a:lnTo>
                <a:cubicBezTo>
                  <a:pt x="527876" y="929449"/>
                  <a:pt x="510873" y="958191"/>
                  <a:pt x="503992" y="969931"/>
                </a:cubicBezTo>
                <a:lnTo>
                  <a:pt x="393073" y="969931"/>
                </a:lnTo>
                <a:lnTo>
                  <a:pt x="393073" y="418576"/>
                </a:lnTo>
                <a:lnTo>
                  <a:pt x="503992" y="418576"/>
                </a:lnTo>
                <a:lnTo>
                  <a:pt x="502777" y="760643"/>
                </a:lnTo>
                <a:lnTo>
                  <a:pt x="503587" y="782098"/>
                </a:lnTo>
                <a:lnTo>
                  <a:pt x="721781" y="418981"/>
                </a:lnTo>
                <a:lnTo>
                  <a:pt x="721781" y="418981"/>
                </a:lnTo>
                <a:lnTo>
                  <a:pt x="721781" y="418981"/>
                </a:lnTo>
                <a:lnTo>
                  <a:pt x="739188" y="418981"/>
                </a:lnTo>
                <a:lnTo>
                  <a:pt x="847678" y="418981"/>
                </a:lnTo>
                <a:cubicBezTo>
                  <a:pt x="847678" y="418981"/>
                  <a:pt x="848487" y="722995"/>
                  <a:pt x="848892" y="783717"/>
                </a:cubicBezTo>
                <a:lnTo>
                  <a:pt x="1067895" y="418981"/>
                </a:lnTo>
                <a:lnTo>
                  <a:pt x="1067895" y="418981"/>
                </a:lnTo>
                <a:lnTo>
                  <a:pt x="1067895" y="418981"/>
                </a:lnTo>
                <a:lnTo>
                  <a:pt x="1085302" y="418981"/>
                </a:lnTo>
                <a:lnTo>
                  <a:pt x="1193387" y="418981"/>
                </a:lnTo>
                <a:lnTo>
                  <a:pt x="1193387" y="970336"/>
                </a:lnTo>
                <a:lnTo>
                  <a:pt x="1083683" y="970336"/>
                </a:lnTo>
                <a:close/>
                <a:moveTo>
                  <a:pt x="1190149" y="0"/>
                </a:moveTo>
                <a:lnTo>
                  <a:pt x="396716" y="0"/>
                </a:lnTo>
                <a:lnTo>
                  <a:pt x="0" y="694253"/>
                </a:lnTo>
                <a:lnTo>
                  <a:pt x="396716" y="1388507"/>
                </a:lnTo>
                <a:lnTo>
                  <a:pt x="1190149" y="1388507"/>
                </a:lnTo>
                <a:lnTo>
                  <a:pt x="1586865" y="694253"/>
                </a:lnTo>
                <a:lnTo>
                  <a:pt x="1190149" y="0"/>
                </a:lnTo>
                <a:close/>
              </a:path>
            </a:pathLst>
          </a:custGeom>
          <a:solidFill>
            <a:schemeClr val="dk2"/>
          </a:solidFill>
          <a:ln>
            <a:noFill/>
          </a:ln>
        </p:spPr>
        <p:txBody>
          <a:bodyPr spcFirstLastPara="1" wrap="square" lIns="91433" tIns="45700" rIns="91433" bIns="45700"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657" name="Google Shape;1657;p40"/>
          <p:cNvSpPr txBox="1">
            <a:spLocks noGrp="1"/>
          </p:cNvSpPr>
          <p:nvPr>
            <p:ph type="body" idx="1"/>
          </p:nvPr>
        </p:nvSpPr>
        <p:spPr>
          <a:xfrm>
            <a:off x="481600" y="1335200"/>
            <a:ext cx="6581600" cy="4841600"/>
          </a:xfrm>
          <a:prstGeom prst="rect">
            <a:avLst/>
          </a:prstGeom>
          <a:noFill/>
          <a:ln>
            <a:noFill/>
          </a:ln>
        </p:spPr>
        <p:txBody>
          <a:bodyPr spcFirstLastPara="1" wrap="square" lIns="0" tIns="34275" rIns="68575" bIns="34275" anchor="t" anchorCtr="0">
            <a:noAutofit/>
          </a:bodyPr>
          <a:lstStyle>
            <a:lvl1pPr marL="609585" lvl="0" indent="-440256" algn="l" rtl="0">
              <a:lnSpc>
                <a:spcPct val="125000"/>
              </a:lnSpc>
              <a:spcBef>
                <a:spcPts val="1067"/>
              </a:spcBef>
              <a:spcAft>
                <a:spcPts val="0"/>
              </a:spcAft>
              <a:buClr>
                <a:schemeClr val="dk2"/>
              </a:buClr>
              <a:buSzPts val="1600"/>
              <a:buFont typeface="Inter"/>
              <a:buChar char="●"/>
              <a:defRPr sz="2133"/>
            </a:lvl1pPr>
            <a:lvl2pPr marL="1219170" lvl="1" indent="-440256" algn="l" rtl="0">
              <a:lnSpc>
                <a:spcPct val="125000"/>
              </a:lnSpc>
              <a:spcBef>
                <a:spcPts val="1067"/>
              </a:spcBef>
              <a:spcAft>
                <a:spcPts val="0"/>
              </a:spcAft>
              <a:buClr>
                <a:schemeClr val="dk2"/>
              </a:buClr>
              <a:buSzPts val="1600"/>
              <a:buFont typeface="Inter"/>
              <a:buChar char="●"/>
              <a:defRPr sz="2133"/>
            </a:lvl2pPr>
            <a:lvl3pPr marL="1828754" lvl="2" indent="-440256" algn="l" rtl="0">
              <a:lnSpc>
                <a:spcPct val="125000"/>
              </a:lnSpc>
              <a:spcBef>
                <a:spcPts val="1067"/>
              </a:spcBef>
              <a:spcAft>
                <a:spcPts val="0"/>
              </a:spcAft>
              <a:buClr>
                <a:schemeClr val="dk2"/>
              </a:buClr>
              <a:buSzPts val="1600"/>
              <a:buFont typeface="Inter"/>
              <a:buChar char="●"/>
              <a:defRPr sz="2133"/>
            </a:lvl3pPr>
            <a:lvl4pPr marL="2438339" lvl="3" indent="-440256" algn="l" rtl="0">
              <a:lnSpc>
                <a:spcPct val="125000"/>
              </a:lnSpc>
              <a:spcBef>
                <a:spcPts val="1067"/>
              </a:spcBef>
              <a:spcAft>
                <a:spcPts val="0"/>
              </a:spcAft>
              <a:buClr>
                <a:schemeClr val="dk2"/>
              </a:buClr>
              <a:buSzPts val="1600"/>
              <a:buFont typeface="Inter"/>
              <a:buChar char="●"/>
              <a:defRPr sz="2133"/>
            </a:lvl4pPr>
            <a:lvl5pPr marL="3047924" lvl="4" indent="-440256" algn="l" rtl="0">
              <a:lnSpc>
                <a:spcPct val="125000"/>
              </a:lnSpc>
              <a:spcBef>
                <a:spcPts val="1067"/>
              </a:spcBef>
              <a:spcAft>
                <a:spcPts val="0"/>
              </a:spcAft>
              <a:buClr>
                <a:schemeClr val="dk2"/>
              </a:buClr>
              <a:buSzPts val="1600"/>
              <a:buFont typeface="Inter"/>
              <a:buChar char="●"/>
              <a:defRPr sz="2133"/>
            </a:lvl5pPr>
            <a:lvl6pPr marL="3657509" lvl="5" indent="-440256" algn="l" rtl="0">
              <a:lnSpc>
                <a:spcPct val="125000"/>
              </a:lnSpc>
              <a:spcBef>
                <a:spcPts val="1067"/>
              </a:spcBef>
              <a:spcAft>
                <a:spcPts val="0"/>
              </a:spcAft>
              <a:buClr>
                <a:schemeClr val="dk2"/>
              </a:buClr>
              <a:buSzPts val="1600"/>
              <a:buFont typeface="Inter"/>
              <a:buChar char="●"/>
              <a:defRPr sz="2133"/>
            </a:lvl6pPr>
            <a:lvl7pPr marL="4267093" lvl="6" indent="-440256" algn="l" rtl="0">
              <a:lnSpc>
                <a:spcPct val="125000"/>
              </a:lnSpc>
              <a:spcBef>
                <a:spcPts val="1067"/>
              </a:spcBef>
              <a:spcAft>
                <a:spcPts val="0"/>
              </a:spcAft>
              <a:buClr>
                <a:schemeClr val="dk2"/>
              </a:buClr>
              <a:buSzPts val="1600"/>
              <a:buFont typeface="Inter"/>
              <a:buChar char="●"/>
              <a:defRPr sz="2133"/>
            </a:lvl7pPr>
            <a:lvl8pPr marL="4876678" lvl="7" indent="-440256" algn="l" rtl="0">
              <a:lnSpc>
                <a:spcPct val="125000"/>
              </a:lnSpc>
              <a:spcBef>
                <a:spcPts val="1067"/>
              </a:spcBef>
              <a:spcAft>
                <a:spcPts val="0"/>
              </a:spcAft>
              <a:buClr>
                <a:schemeClr val="dk2"/>
              </a:buClr>
              <a:buSzPts val="1600"/>
              <a:buFont typeface="Inter"/>
              <a:buChar char="●"/>
              <a:defRPr sz="2133"/>
            </a:lvl8pPr>
            <a:lvl9pPr marL="5486263" lvl="8" indent="-440256" algn="l" rtl="0">
              <a:lnSpc>
                <a:spcPct val="125000"/>
              </a:lnSpc>
              <a:spcBef>
                <a:spcPts val="1067"/>
              </a:spcBef>
              <a:spcAft>
                <a:spcPts val="0"/>
              </a:spcAft>
              <a:buClr>
                <a:schemeClr val="dk2"/>
              </a:buClr>
              <a:buSzPts val="1600"/>
              <a:buFont typeface="Inter"/>
              <a:buChar char="●"/>
              <a:defRPr sz="2133"/>
            </a:lvl9pPr>
          </a:lstStyle>
          <a:p>
            <a:endParaRPr/>
          </a:p>
        </p:txBody>
      </p:sp>
      <p:sp>
        <p:nvSpPr>
          <p:cNvPr id="1658" name="Google Shape;1658;p40"/>
          <p:cNvSpPr txBox="1">
            <a:spLocks noGrp="1"/>
          </p:cNvSpPr>
          <p:nvPr>
            <p:ph type="subTitle" idx="6"/>
          </p:nvPr>
        </p:nvSpPr>
        <p:spPr>
          <a:xfrm>
            <a:off x="7636900" y="2726384"/>
            <a:ext cx="1533600" cy="524800"/>
          </a:xfrm>
          <a:prstGeom prst="rect">
            <a:avLst/>
          </a:prstGeom>
        </p:spPr>
        <p:txBody>
          <a:bodyPr spcFirstLastPara="1" wrap="square" lIns="0" tIns="34275" rIns="68575" bIns="34275" anchor="t" anchorCtr="0">
            <a:normAutofit/>
          </a:bodyPr>
          <a:lstStyle>
            <a:lvl1pPr lvl="0" rtl="0">
              <a:spcBef>
                <a:spcPts val="1067"/>
              </a:spcBef>
              <a:spcAft>
                <a:spcPts val="0"/>
              </a:spcAft>
              <a:buClr>
                <a:schemeClr val="lt1"/>
              </a:buClr>
              <a:buSzPts val="500"/>
              <a:buNone/>
              <a:defRPr sz="1200" b="1">
                <a:solidFill>
                  <a:schemeClr val="lt1"/>
                </a:solidFill>
              </a:defRPr>
            </a:lvl1pPr>
            <a:lvl2pPr lvl="1" rtl="0">
              <a:spcBef>
                <a:spcPts val="533"/>
              </a:spcBef>
              <a:spcAft>
                <a:spcPts val="0"/>
              </a:spcAft>
              <a:buSzPts val="1200"/>
              <a:buNone/>
              <a:defRPr/>
            </a:lvl2pPr>
            <a:lvl3pPr lvl="2" rtl="0">
              <a:spcBef>
                <a:spcPts val="533"/>
              </a:spcBef>
              <a:spcAft>
                <a:spcPts val="0"/>
              </a:spcAft>
              <a:buSzPts val="1200"/>
              <a:buNone/>
              <a:defRPr/>
            </a:lvl3pPr>
            <a:lvl4pPr lvl="3" rtl="0">
              <a:spcBef>
                <a:spcPts val="533"/>
              </a:spcBef>
              <a:spcAft>
                <a:spcPts val="0"/>
              </a:spcAft>
              <a:buSzPts val="1200"/>
              <a:buNone/>
              <a:defRPr/>
            </a:lvl4pPr>
            <a:lvl5pPr lvl="4" rtl="0">
              <a:spcBef>
                <a:spcPts val="533"/>
              </a:spcBef>
              <a:spcAft>
                <a:spcPts val="0"/>
              </a:spcAft>
              <a:buSzPts val="1200"/>
              <a:buNone/>
              <a:defRPr/>
            </a:lvl5pPr>
            <a:lvl6pPr lvl="5" rtl="0">
              <a:spcBef>
                <a:spcPts val="533"/>
              </a:spcBef>
              <a:spcAft>
                <a:spcPts val="0"/>
              </a:spcAft>
              <a:buSzPts val="1200"/>
              <a:buNone/>
              <a:defRPr/>
            </a:lvl6pPr>
            <a:lvl7pPr lvl="6" rtl="0">
              <a:spcBef>
                <a:spcPts val="533"/>
              </a:spcBef>
              <a:spcAft>
                <a:spcPts val="0"/>
              </a:spcAft>
              <a:buSzPts val="1200"/>
              <a:buNone/>
              <a:defRPr/>
            </a:lvl7pPr>
            <a:lvl8pPr lvl="7" rtl="0">
              <a:spcBef>
                <a:spcPts val="533"/>
              </a:spcBef>
              <a:spcAft>
                <a:spcPts val="0"/>
              </a:spcAft>
              <a:buSzPts val="1200"/>
              <a:buNone/>
              <a:defRPr/>
            </a:lvl8pPr>
            <a:lvl9pPr lvl="8" rtl="0">
              <a:spcBef>
                <a:spcPts val="533"/>
              </a:spcBef>
              <a:spcAft>
                <a:spcPts val="0"/>
              </a:spcAft>
              <a:buSzPts val="1200"/>
              <a:buNone/>
              <a:defRPr/>
            </a:lvl9pPr>
          </a:lstStyle>
          <a:p>
            <a:endParaRPr/>
          </a:p>
        </p:txBody>
      </p:sp>
      <p:sp>
        <p:nvSpPr>
          <p:cNvPr id="1659" name="Google Shape;1659;p40"/>
          <p:cNvSpPr txBox="1">
            <a:spLocks noGrp="1"/>
          </p:cNvSpPr>
          <p:nvPr>
            <p:ph type="subTitle" idx="7"/>
          </p:nvPr>
        </p:nvSpPr>
        <p:spPr>
          <a:xfrm>
            <a:off x="9830133" y="2726384"/>
            <a:ext cx="1533600" cy="524800"/>
          </a:xfrm>
          <a:prstGeom prst="rect">
            <a:avLst/>
          </a:prstGeom>
        </p:spPr>
        <p:txBody>
          <a:bodyPr spcFirstLastPara="1" wrap="square" lIns="0" tIns="34275" rIns="68575" bIns="34275" anchor="t" anchorCtr="0">
            <a:normAutofit/>
          </a:bodyPr>
          <a:lstStyle>
            <a:lvl1pPr lvl="0" rtl="0">
              <a:spcBef>
                <a:spcPts val="1067"/>
              </a:spcBef>
              <a:spcAft>
                <a:spcPts val="0"/>
              </a:spcAft>
              <a:buClr>
                <a:schemeClr val="lt1"/>
              </a:buClr>
              <a:buSzPts val="500"/>
              <a:buNone/>
              <a:defRPr sz="1200" b="1">
                <a:solidFill>
                  <a:schemeClr val="lt1"/>
                </a:solidFill>
              </a:defRPr>
            </a:lvl1pPr>
            <a:lvl2pPr lvl="1" rtl="0">
              <a:spcBef>
                <a:spcPts val="533"/>
              </a:spcBef>
              <a:spcAft>
                <a:spcPts val="0"/>
              </a:spcAft>
              <a:buSzPts val="1200"/>
              <a:buNone/>
              <a:defRPr/>
            </a:lvl2pPr>
            <a:lvl3pPr lvl="2" rtl="0">
              <a:spcBef>
                <a:spcPts val="533"/>
              </a:spcBef>
              <a:spcAft>
                <a:spcPts val="0"/>
              </a:spcAft>
              <a:buSzPts val="1200"/>
              <a:buNone/>
              <a:defRPr/>
            </a:lvl3pPr>
            <a:lvl4pPr lvl="3" rtl="0">
              <a:spcBef>
                <a:spcPts val="533"/>
              </a:spcBef>
              <a:spcAft>
                <a:spcPts val="0"/>
              </a:spcAft>
              <a:buSzPts val="1200"/>
              <a:buNone/>
              <a:defRPr/>
            </a:lvl4pPr>
            <a:lvl5pPr lvl="4" rtl="0">
              <a:spcBef>
                <a:spcPts val="533"/>
              </a:spcBef>
              <a:spcAft>
                <a:spcPts val="0"/>
              </a:spcAft>
              <a:buSzPts val="1200"/>
              <a:buNone/>
              <a:defRPr/>
            </a:lvl5pPr>
            <a:lvl6pPr lvl="5" rtl="0">
              <a:spcBef>
                <a:spcPts val="533"/>
              </a:spcBef>
              <a:spcAft>
                <a:spcPts val="0"/>
              </a:spcAft>
              <a:buSzPts val="1200"/>
              <a:buNone/>
              <a:defRPr/>
            </a:lvl6pPr>
            <a:lvl7pPr lvl="6" rtl="0">
              <a:spcBef>
                <a:spcPts val="533"/>
              </a:spcBef>
              <a:spcAft>
                <a:spcPts val="0"/>
              </a:spcAft>
              <a:buSzPts val="1200"/>
              <a:buNone/>
              <a:defRPr/>
            </a:lvl7pPr>
            <a:lvl8pPr lvl="7" rtl="0">
              <a:spcBef>
                <a:spcPts val="533"/>
              </a:spcBef>
              <a:spcAft>
                <a:spcPts val="0"/>
              </a:spcAft>
              <a:buSzPts val="1200"/>
              <a:buNone/>
              <a:defRPr/>
            </a:lvl8pPr>
            <a:lvl9pPr lvl="8" rtl="0">
              <a:spcBef>
                <a:spcPts val="533"/>
              </a:spcBef>
              <a:spcAft>
                <a:spcPts val="0"/>
              </a:spcAft>
              <a:buSzPts val="1200"/>
              <a:buNone/>
              <a:defRPr/>
            </a:lvl9pPr>
          </a:lstStyle>
          <a:p>
            <a:endParaRPr/>
          </a:p>
        </p:txBody>
      </p:sp>
      <p:sp>
        <p:nvSpPr>
          <p:cNvPr id="1660" name="Google Shape;1660;p40"/>
          <p:cNvSpPr txBox="1">
            <a:spLocks noGrp="1"/>
          </p:cNvSpPr>
          <p:nvPr>
            <p:ph type="subTitle" idx="8"/>
          </p:nvPr>
        </p:nvSpPr>
        <p:spPr>
          <a:xfrm>
            <a:off x="7636900" y="5112784"/>
            <a:ext cx="1533600" cy="524800"/>
          </a:xfrm>
          <a:prstGeom prst="rect">
            <a:avLst/>
          </a:prstGeom>
        </p:spPr>
        <p:txBody>
          <a:bodyPr spcFirstLastPara="1" wrap="square" lIns="0" tIns="34275" rIns="68575" bIns="34275" anchor="t" anchorCtr="0">
            <a:normAutofit/>
          </a:bodyPr>
          <a:lstStyle>
            <a:lvl1pPr lvl="0" rtl="0">
              <a:spcBef>
                <a:spcPts val="1067"/>
              </a:spcBef>
              <a:spcAft>
                <a:spcPts val="0"/>
              </a:spcAft>
              <a:buClr>
                <a:schemeClr val="lt1"/>
              </a:buClr>
              <a:buSzPts val="500"/>
              <a:buNone/>
              <a:defRPr sz="1200" b="1">
                <a:solidFill>
                  <a:schemeClr val="lt1"/>
                </a:solidFill>
              </a:defRPr>
            </a:lvl1pPr>
            <a:lvl2pPr lvl="1" rtl="0">
              <a:spcBef>
                <a:spcPts val="533"/>
              </a:spcBef>
              <a:spcAft>
                <a:spcPts val="0"/>
              </a:spcAft>
              <a:buSzPts val="1200"/>
              <a:buNone/>
              <a:defRPr/>
            </a:lvl2pPr>
            <a:lvl3pPr lvl="2" rtl="0">
              <a:spcBef>
                <a:spcPts val="533"/>
              </a:spcBef>
              <a:spcAft>
                <a:spcPts val="0"/>
              </a:spcAft>
              <a:buSzPts val="1200"/>
              <a:buNone/>
              <a:defRPr/>
            </a:lvl3pPr>
            <a:lvl4pPr lvl="3" rtl="0">
              <a:spcBef>
                <a:spcPts val="533"/>
              </a:spcBef>
              <a:spcAft>
                <a:spcPts val="0"/>
              </a:spcAft>
              <a:buSzPts val="1200"/>
              <a:buNone/>
              <a:defRPr/>
            </a:lvl4pPr>
            <a:lvl5pPr lvl="4" rtl="0">
              <a:spcBef>
                <a:spcPts val="533"/>
              </a:spcBef>
              <a:spcAft>
                <a:spcPts val="0"/>
              </a:spcAft>
              <a:buSzPts val="1200"/>
              <a:buNone/>
              <a:defRPr/>
            </a:lvl5pPr>
            <a:lvl6pPr lvl="5" rtl="0">
              <a:spcBef>
                <a:spcPts val="533"/>
              </a:spcBef>
              <a:spcAft>
                <a:spcPts val="0"/>
              </a:spcAft>
              <a:buSzPts val="1200"/>
              <a:buNone/>
              <a:defRPr/>
            </a:lvl6pPr>
            <a:lvl7pPr lvl="6" rtl="0">
              <a:spcBef>
                <a:spcPts val="533"/>
              </a:spcBef>
              <a:spcAft>
                <a:spcPts val="0"/>
              </a:spcAft>
              <a:buSzPts val="1200"/>
              <a:buNone/>
              <a:defRPr/>
            </a:lvl7pPr>
            <a:lvl8pPr lvl="7" rtl="0">
              <a:spcBef>
                <a:spcPts val="533"/>
              </a:spcBef>
              <a:spcAft>
                <a:spcPts val="0"/>
              </a:spcAft>
              <a:buSzPts val="1200"/>
              <a:buNone/>
              <a:defRPr/>
            </a:lvl8pPr>
            <a:lvl9pPr lvl="8" rtl="0">
              <a:spcBef>
                <a:spcPts val="533"/>
              </a:spcBef>
              <a:spcAft>
                <a:spcPts val="0"/>
              </a:spcAft>
              <a:buSzPts val="1200"/>
              <a:buNone/>
              <a:defRPr/>
            </a:lvl9pPr>
          </a:lstStyle>
          <a:p>
            <a:endParaRPr/>
          </a:p>
        </p:txBody>
      </p:sp>
      <p:sp>
        <p:nvSpPr>
          <p:cNvPr id="1661" name="Google Shape;1661;p40"/>
          <p:cNvSpPr txBox="1">
            <a:spLocks noGrp="1"/>
          </p:cNvSpPr>
          <p:nvPr>
            <p:ph type="subTitle" idx="9"/>
          </p:nvPr>
        </p:nvSpPr>
        <p:spPr>
          <a:xfrm>
            <a:off x="9830133" y="5112784"/>
            <a:ext cx="1533600" cy="524800"/>
          </a:xfrm>
          <a:prstGeom prst="rect">
            <a:avLst/>
          </a:prstGeom>
        </p:spPr>
        <p:txBody>
          <a:bodyPr spcFirstLastPara="1" wrap="square" lIns="0" tIns="34275" rIns="68575" bIns="34275" anchor="t" anchorCtr="0">
            <a:normAutofit/>
          </a:bodyPr>
          <a:lstStyle>
            <a:lvl1pPr lvl="0" rtl="0">
              <a:spcBef>
                <a:spcPts val="1067"/>
              </a:spcBef>
              <a:spcAft>
                <a:spcPts val="0"/>
              </a:spcAft>
              <a:buClr>
                <a:schemeClr val="lt1"/>
              </a:buClr>
              <a:buSzPts val="500"/>
              <a:buNone/>
              <a:defRPr sz="1200" b="1">
                <a:solidFill>
                  <a:schemeClr val="lt1"/>
                </a:solidFill>
              </a:defRPr>
            </a:lvl1pPr>
            <a:lvl2pPr lvl="1" rtl="0">
              <a:spcBef>
                <a:spcPts val="533"/>
              </a:spcBef>
              <a:spcAft>
                <a:spcPts val="0"/>
              </a:spcAft>
              <a:buSzPts val="1200"/>
              <a:buNone/>
              <a:defRPr/>
            </a:lvl2pPr>
            <a:lvl3pPr lvl="2" rtl="0">
              <a:spcBef>
                <a:spcPts val="533"/>
              </a:spcBef>
              <a:spcAft>
                <a:spcPts val="0"/>
              </a:spcAft>
              <a:buSzPts val="1200"/>
              <a:buNone/>
              <a:defRPr/>
            </a:lvl3pPr>
            <a:lvl4pPr lvl="3" rtl="0">
              <a:spcBef>
                <a:spcPts val="533"/>
              </a:spcBef>
              <a:spcAft>
                <a:spcPts val="0"/>
              </a:spcAft>
              <a:buSzPts val="1200"/>
              <a:buNone/>
              <a:defRPr/>
            </a:lvl4pPr>
            <a:lvl5pPr lvl="4" rtl="0">
              <a:spcBef>
                <a:spcPts val="533"/>
              </a:spcBef>
              <a:spcAft>
                <a:spcPts val="0"/>
              </a:spcAft>
              <a:buSzPts val="1200"/>
              <a:buNone/>
              <a:defRPr/>
            </a:lvl5pPr>
            <a:lvl6pPr lvl="5" rtl="0">
              <a:spcBef>
                <a:spcPts val="533"/>
              </a:spcBef>
              <a:spcAft>
                <a:spcPts val="0"/>
              </a:spcAft>
              <a:buSzPts val="1200"/>
              <a:buNone/>
              <a:defRPr/>
            </a:lvl6pPr>
            <a:lvl7pPr lvl="6" rtl="0">
              <a:spcBef>
                <a:spcPts val="533"/>
              </a:spcBef>
              <a:spcAft>
                <a:spcPts val="0"/>
              </a:spcAft>
              <a:buSzPts val="1200"/>
              <a:buNone/>
              <a:defRPr/>
            </a:lvl7pPr>
            <a:lvl8pPr lvl="7" rtl="0">
              <a:spcBef>
                <a:spcPts val="533"/>
              </a:spcBef>
              <a:spcAft>
                <a:spcPts val="0"/>
              </a:spcAft>
              <a:buSzPts val="1200"/>
              <a:buNone/>
              <a:defRPr/>
            </a:lvl8pPr>
            <a:lvl9pPr lvl="8" rtl="0">
              <a:spcBef>
                <a:spcPts val="533"/>
              </a:spcBef>
              <a:spcAft>
                <a:spcPts val="0"/>
              </a:spcAft>
              <a:buSzPts val="1200"/>
              <a:buNone/>
              <a:defRPr/>
            </a:lvl9pPr>
          </a:lstStyle>
          <a:p>
            <a:endParaRPr/>
          </a:p>
        </p:txBody>
      </p:sp>
    </p:spTree>
    <p:extLst>
      <p:ext uri="{BB962C8B-B14F-4D97-AF65-F5344CB8AC3E}">
        <p14:creationId xmlns:p14="http://schemas.microsoft.com/office/powerpoint/2010/main" val="300098592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matchingName="Client Team">
  <p:cSld name="Client Team">
    <p:bg>
      <p:bgPr>
        <a:solidFill>
          <a:schemeClr val="lt2"/>
        </a:solidFill>
        <a:effectLst/>
      </p:bgPr>
    </p:bg>
    <p:spTree>
      <p:nvGrpSpPr>
        <p:cNvPr id="1" name="Shape 1662"/>
        <p:cNvGrpSpPr/>
        <p:nvPr/>
      </p:nvGrpSpPr>
      <p:grpSpPr>
        <a:xfrm>
          <a:off x="0" y="0"/>
          <a:ext cx="0" cy="0"/>
          <a:chOff x="0" y="0"/>
          <a:chExt cx="0" cy="0"/>
        </a:xfrm>
      </p:grpSpPr>
      <p:sp>
        <p:nvSpPr>
          <p:cNvPr id="1663" name="Google Shape;1663;p41"/>
          <p:cNvSpPr/>
          <p:nvPr/>
        </p:nvSpPr>
        <p:spPr>
          <a:xfrm>
            <a:off x="7025267" y="1100333"/>
            <a:ext cx="5859200" cy="5156400"/>
          </a:xfrm>
          <a:prstGeom prst="roundRect">
            <a:avLst>
              <a:gd name="adj" fmla="val 5440"/>
            </a:avLst>
          </a:prstGeom>
          <a:solidFill>
            <a:schemeClr val="dk2"/>
          </a:solidFill>
          <a:ln>
            <a:noFill/>
          </a:ln>
        </p:spPr>
        <p:txBody>
          <a:bodyPr spcFirstLastPara="1" wrap="square" lIns="121900" tIns="121900" rIns="121900" bIns="121900"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sp>
        <p:nvSpPr>
          <p:cNvPr id="1664" name="Google Shape;1664;p41"/>
          <p:cNvSpPr>
            <a:spLocks noGrp="1"/>
          </p:cNvSpPr>
          <p:nvPr>
            <p:ph type="pic" idx="2"/>
          </p:nvPr>
        </p:nvSpPr>
        <p:spPr>
          <a:xfrm>
            <a:off x="7593867" y="1826000"/>
            <a:ext cx="1204800" cy="1205200"/>
          </a:xfrm>
          <a:prstGeom prst="roundRect">
            <a:avLst>
              <a:gd name="adj" fmla="val 11119"/>
            </a:avLst>
          </a:prstGeom>
          <a:noFill/>
          <a:ln>
            <a:noFill/>
          </a:ln>
        </p:spPr>
      </p:sp>
      <p:sp>
        <p:nvSpPr>
          <p:cNvPr id="1665" name="Google Shape;1665;p41"/>
          <p:cNvSpPr>
            <a:spLocks noGrp="1"/>
          </p:cNvSpPr>
          <p:nvPr>
            <p:ph type="pic" idx="3"/>
          </p:nvPr>
        </p:nvSpPr>
        <p:spPr>
          <a:xfrm>
            <a:off x="9815433" y="1826000"/>
            <a:ext cx="1204800" cy="1205200"/>
          </a:xfrm>
          <a:prstGeom prst="roundRect">
            <a:avLst>
              <a:gd name="adj" fmla="val 11119"/>
            </a:avLst>
          </a:prstGeom>
          <a:noFill/>
          <a:ln>
            <a:noFill/>
          </a:ln>
        </p:spPr>
      </p:sp>
      <p:sp>
        <p:nvSpPr>
          <p:cNvPr id="1666" name="Google Shape;1666;p41"/>
          <p:cNvSpPr>
            <a:spLocks noGrp="1"/>
          </p:cNvSpPr>
          <p:nvPr>
            <p:ph type="pic" idx="4"/>
          </p:nvPr>
        </p:nvSpPr>
        <p:spPr>
          <a:xfrm>
            <a:off x="7593867" y="4212400"/>
            <a:ext cx="1204800" cy="1205200"/>
          </a:xfrm>
          <a:prstGeom prst="roundRect">
            <a:avLst>
              <a:gd name="adj" fmla="val 11119"/>
            </a:avLst>
          </a:prstGeom>
          <a:noFill/>
          <a:ln>
            <a:noFill/>
          </a:ln>
        </p:spPr>
      </p:sp>
      <p:sp>
        <p:nvSpPr>
          <p:cNvPr id="1667" name="Google Shape;1667;p41"/>
          <p:cNvSpPr>
            <a:spLocks noGrp="1"/>
          </p:cNvSpPr>
          <p:nvPr>
            <p:ph type="pic" idx="5"/>
          </p:nvPr>
        </p:nvSpPr>
        <p:spPr>
          <a:xfrm>
            <a:off x="9815433" y="4212400"/>
            <a:ext cx="1204800" cy="1205200"/>
          </a:xfrm>
          <a:prstGeom prst="roundRect">
            <a:avLst>
              <a:gd name="adj" fmla="val 11119"/>
            </a:avLst>
          </a:prstGeom>
          <a:noFill/>
          <a:ln>
            <a:noFill/>
          </a:ln>
        </p:spPr>
      </p:sp>
      <p:sp>
        <p:nvSpPr>
          <p:cNvPr id="1668" name="Google Shape;1668;p41"/>
          <p:cNvSpPr txBox="1">
            <a:spLocks noGrp="1"/>
          </p:cNvSpPr>
          <p:nvPr>
            <p:ph type="title"/>
          </p:nvPr>
        </p:nvSpPr>
        <p:spPr>
          <a:xfrm>
            <a:off x="951700" y="359997"/>
            <a:ext cx="10515600" cy="975200"/>
          </a:xfrm>
          <a:prstGeom prst="rect">
            <a:avLst/>
          </a:prstGeom>
          <a:noFill/>
          <a:ln>
            <a:noFill/>
          </a:ln>
        </p:spPr>
        <p:txBody>
          <a:bodyPr spcFirstLastPara="1" wrap="square" lIns="0" tIns="0" rIns="68575" bIns="34275" anchor="t" anchorCtr="0">
            <a:noAutofit/>
          </a:bodyPr>
          <a:lstStyle>
            <a:lvl1pPr lvl="0" algn="l" rtl="0">
              <a:lnSpc>
                <a:spcPct val="90000"/>
              </a:lnSpc>
              <a:spcBef>
                <a:spcPts val="0"/>
              </a:spcBef>
              <a:spcAft>
                <a:spcPts val="0"/>
              </a:spcAft>
              <a:buClr>
                <a:schemeClr val="dk1"/>
              </a:buClr>
              <a:buSzPts val="2400"/>
              <a:buFont typeface="Inter Medium"/>
              <a:buNone/>
              <a:defRPr sz="3200">
                <a:latin typeface="Inter Medium"/>
                <a:ea typeface="Inter Medium"/>
                <a:cs typeface="Inter Medium"/>
                <a:sym typeface="Inter Medium"/>
              </a:defRPr>
            </a:lvl1pPr>
            <a:lvl2pPr lvl="1" rtl="0">
              <a:spcBef>
                <a:spcPts val="0"/>
              </a:spcBef>
              <a:spcAft>
                <a:spcPts val="0"/>
              </a:spcAft>
              <a:buSzPts val="1100"/>
              <a:buNone/>
              <a:defRPr b="1"/>
            </a:lvl2pPr>
            <a:lvl3pPr lvl="2" rtl="0">
              <a:spcBef>
                <a:spcPts val="0"/>
              </a:spcBef>
              <a:spcAft>
                <a:spcPts val="0"/>
              </a:spcAft>
              <a:buSzPts val="1100"/>
              <a:buNone/>
              <a:defRPr b="1"/>
            </a:lvl3pPr>
            <a:lvl4pPr lvl="3" rtl="0">
              <a:spcBef>
                <a:spcPts val="0"/>
              </a:spcBef>
              <a:spcAft>
                <a:spcPts val="0"/>
              </a:spcAft>
              <a:buSzPts val="1100"/>
              <a:buNone/>
              <a:defRPr b="1"/>
            </a:lvl4pPr>
            <a:lvl5pPr lvl="4" rtl="0">
              <a:spcBef>
                <a:spcPts val="0"/>
              </a:spcBef>
              <a:spcAft>
                <a:spcPts val="0"/>
              </a:spcAft>
              <a:buSzPts val="1100"/>
              <a:buNone/>
              <a:defRPr b="1"/>
            </a:lvl5pPr>
            <a:lvl6pPr lvl="5" rtl="0">
              <a:spcBef>
                <a:spcPts val="0"/>
              </a:spcBef>
              <a:spcAft>
                <a:spcPts val="0"/>
              </a:spcAft>
              <a:buSzPts val="1100"/>
              <a:buNone/>
              <a:defRPr b="1"/>
            </a:lvl6pPr>
            <a:lvl7pPr lvl="6" rtl="0">
              <a:spcBef>
                <a:spcPts val="0"/>
              </a:spcBef>
              <a:spcAft>
                <a:spcPts val="0"/>
              </a:spcAft>
              <a:buSzPts val="1100"/>
              <a:buNone/>
              <a:defRPr b="1"/>
            </a:lvl7pPr>
            <a:lvl8pPr lvl="7" rtl="0">
              <a:spcBef>
                <a:spcPts val="0"/>
              </a:spcBef>
              <a:spcAft>
                <a:spcPts val="0"/>
              </a:spcAft>
              <a:buSzPts val="1100"/>
              <a:buNone/>
              <a:defRPr b="1"/>
            </a:lvl8pPr>
            <a:lvl9pPr lvl="8" rtl="0">
              <a:spcBef>
                <a:spcPts val="0"/>
              </a:spcBef>
              <a:spcAft>
                <a:spcPts val="0"/>
              </a:spcAft>
              <a:buSzPts val="1100"/>
              <a:buNone/>
              <a:defRPr b="1"/>
            </a:lvl9pPr>
          </a:lstStyle>
          <a:p>
            <a:endParaRPr/>
          </a:p>
        </p:txBody>
      </p:sp>
      <p:sp>
        <p:nvSpPr>
          <p:cNvPr id="1669" name="Google Shape;1669;p41"/>
          <p:cNvSpPr txBox="1">
            <a:spLocks noGrp="1"/>
          </p:cNvSpPr>
          <p:nvPr>
            <p:ph type="sldNum" idx="12"/>
          </p:nvPr>
        </p:nvSpPr>
        <p:spPr>
          <a:xfrm>
            <a:off x="10978812" y="5993647"/>
            <a:ext cx="731600" cy="524800"/>
          </a:xfrm>
          <a:prstGeom prst="rect">
            <a:avLst/>
          </a:prstGeom>
        </p:spPr>
        <p:txBody>
          <a:bodyPr spcFirstLastPara="1" wrap="square" lIns="91425" tIns="91425" rIns="0" bIns="0" anchor="b" anchorCtr="0">
            <a:noAutofit/>
          </a:bodyPr>
          <a:lstStyle>
            <a:lvl1pPr lvl="0" algn="r" rtl="0">
              <a:buNone/>
              <a:defRPr sz="667">
                <a:solidFill>
                  <a:schemeClr val="dk2"/>
                </a:solidFill>
                <a:latin typeface="Inter"/>
                <a:ea typeface="Inter"/>
                <a:cs typeface="Inter"/>
                <a:sym typeface="Inter"/>
              </a:defRPr>
            </a:lvl1pPr>
            <a:lvl2pPr lvl="1" algn="r" rtl="0">
              <a:buNone/>
              <a:defRPr sz="667">
                <a:solidFill>
                  <a:schemeClr val="dk2"/>
                </a:solidFill>
                <a:latin typeface="Inter"/>
                <a:ea typeface="Inter"/>
                <a:cs typeface="Inter"/>
                <a:sym typeface="Inter"/>
              </a:defRPr>
            </a:lvl2pPr>
            <a:lvl3pPr lvl="2" algn="r" rtl="0">
              <a:buNone/>
              <a:defRPr sz="667">
                <a:solidFill>
                  <a:schemeClr val="dk2"/>
                </a:solidFill>
                <a:latin typeface="Inter"/>
                <a:ea typeface="Inter"/>
                <a:cs typeface="Inter"/>
                <a:sym typeface="Inter"/>
              </a:defRPr>
            </a:lvl3pPr>
            <a:lvl4pPr lvl="3" algn="r" rtl="0">
              <a:buNone/>
              <a:defRPr sz="667">
                <a:solidFill>
                  <a:schemeClr val="dk2"/>
                </a:solidFill>
                <a:latin typeface="Inter"/>
                <a:ea typeface="Inter"/>
                <a:cs typeface="Inter"/>
                <a:sym typeface="Inter"/>
              </a:defRPr>
            </a:lvl4pPr>
            <a:lvl5pPr lvl="4" algn="r" rtl="0">
              <a:buNone/>
              <a:defRPr sz="667">
                <a:solidFill>
                  <a:schemeClr val="dk2"/>
                </a:solidFill>
                <a:latin typeface="Inter"/>
                <a:ea typeface="Inter"/>
                <a:cs typeface="Inter"/>
                <a:sym typeface="Inter"/>
              </a:defRPr>
            </a:lvl5pPr>
            <a:lvl6pPr lvl="5" algn="r" rtl="0">
              <a:buNone/>
              <a:defRPr sz="667">
                <a:solidFill>
                  <a:schemeClr val="dk2"/>
                </a:solidFill>
                <a:latin typeface="Inter"/>
                <a:ea typeface="Inter"/>
                <a:cs typeface="Inter"/>
                <a:sym typeface="Inter"/>
              </a:defRPr>
            </a:lvl6pPr>
            <a:lvl7pPr lvl="6" algn="r" rtl="0">
              <a:buNone/>
              <a:defRPr sz="667">
                <a:solidFill>
                  <a:schemeClr val="dk2"/>
                </a:solidFill>
                <a:latin typeface="Inter"/>
                <a:ea typeface="Inter"/>
                <a:cs typeface="Inter"/>
                <a:sym typeface="Inter"/>
              </a:defRPr>
            </a:lvl7pPr>
            <a:lvl8pPr lvl="7" algn="r" rtl="0">
              <a:buNone/>
              <a:defRPr sz="667">
                <a:solidFill>
                  <a:schemeClr val="dk2"/>
                </a:solidFill>
                <a:latin typeface="Inter"/>
                <a:ea typeface="Inter"/>
                <a:cs typeface="Inter"/>
                <a:sym typeface="Inter"/>
              </a:defRPr>
            </a:lvl8pPr>
            <a:lvl9pPr lvl="8" algn="r" rtl="0">
              <a:buNone/>
              <a:defRPr sz="667">
                <a:solidFill>
                  <a:schemeClr val="dk2"/>
                </a:solidFill>
                <a:latin typeface="Inter"/>
                <a:ea typeface="Inter"/>
                <a:cs typeface="Inter"/>
                <a:sym typeface="Inter"/>
              </a:defRPr>
            </a:lvl9pPr>
          </a:lstStyle>
          <a:p>
            <a:fld id="{00000000-1234-1234-1234-123412341234}" type="slidenum">
              <a:rPr lang="en-GB" smtClean="0"/>
              <a:pPr/>
              <a:t>‹#›</a:t>
            </a:fld>
            <a:endParaRPr lang="en-GB"/>
          </a:p>
        </p:txBody>
      </p:sp>
      <p:sp>
        <p:nvSpPr>
          <p:cNvPr id="1670" name="Google Shape;1670;p41"/>
          <p:cNvSpPr txBox="1"/>
          <p:nvPr/>
        </p:nvSpPr>
        <p:spPr>
          <a:xfrm>
            <a:off x="481600" y="6245247"/>
            <a:ext cx="1288400" cy="273200"/>
          </a:xfrm>
          <a:prstGeom prst="rect">
            <a:avLst/>
          </a:prstGeom>
          <a:noFill/>
          <a:ln>
            <a:noFill/>
          </a:ln>
        </p:spPr>
        <p:txBody>
          <a:bodyPr spcFirstLastPara="1" wrap="square" lIns="0" tIns="0" rIns="0" bIns="0" anchor="b" anchorCtr="0">
            <a:noAutofit/>
          </a:bodyPr>
          <a:lstStyle/>
          <a:p>
            <a:pPr marL="0" lvl="0" indent="0" algn="l" rtl="0">
              <a:spcBef>
                <a:spcPts val="0"/>
              </a:spcBef>
              <a:spcAft>
                <a:spcPts val="0"/>
              </a:spcAft>
              <a:buNone/>
            </a:pPr>
            <a:r>
              <a:rPr lang="en-GB" sz="667">
                <a:solidFill>
                  <a:schemeClr val="dk2"/>
                </a:solidFill>
                <a:latin typeface="Inter"/>
                <a:ea typeface="Inter"/>
                <a:cs typeface="Inter"/>
                <a:sym typeface="Inter"/>
              </a:rPr>
              <a:t>Multiverse</a:t>
            </a:r>
            <a:endParaRPr sz="667">
              <a:solidFill>
                <a:schemeClr val="dk2"/>
              </a:solidFill>
              <a:latin typeface="Inter"/>
              <a:ea typeface="Inter"/>
              <a:cs typeface="Inter"/>
              <a:sym typeface="Inter"/>
            </a:endParaRPr>
          </a:p>
        </p:txBody>
      </p:sp>
      <p:sp>
        <p:nvSpPr>
          <p:cNvPr id="1671" name="Google Shape;1671;p41"/>
          <p:cNvSpPr/>
          <p:nvPr/>
        </p:nvSpPr>
        <p:spPr>
          <a:xfrm>
            <a:off x="481601" y="414630"/>
            <a:ext cx="349111" cy="305471"/>
          </a:xfrm>
          <a:custGeom>
            <a:avLst/>
            <a:gdLst/>
            <a:ahLst/>
            <a:cxnLst/>
            <a:rect l="l" t="t" r="r" b="b"/>
            <a:pathLst>
              <a:path w="1586865" h="1388506" extrusionOk="0">
                <a:moveTo>
                  <a:pt x="1083683" y="969931"/>
                </a:moveTo>
                <a:lnTo>
                  <a:pt x="1083683" y="579692"/>
                </a:lnTo>
                <a:lnTo>
                  <a:pt x="849297" y="969931"/>
                </a:lnTo>
                <a:lnTo>
                  <a:pt x="848892" y="969931"/>
                </a:lnTo>
                <a:cubicBezTo>
                  <a:pt x="848892" y="969931"/>
                  <a:pt x="848892" y="969931"/>
                  <a:pt x="848892" y="969931"/>
                </a:cubicBezTo>
                <a:lnTo>
                  <a:pt x="738783" y="969931"/>
                </a:lnTo>
                <a:lnTo>
                  <a:pt x="738783" y="577668"/>
                </a:lnTo>
                <a:lnTo>
                  <a:pt x="549735" y="892612"/>
                </a:lnTo>
                <a:cubicBezTo>
                  <a:pt x="527876" y="929449"/>
                  <a:pt x="510873" y="958191"/>
                  <a:pt x="503992" y="969931"/>
                </a:cubicBezTo>
                <a:lnTo>
                  <a:pt x="393073" y="969931"/>
                </a:lnTo>
                <a:lnTo>
                  <a:pt x="393073" y="418576"/>
                </a:lnTo>
                <a:lnTo>
                  <a:pt x="503992" y="418576"/>
                </a:lnTo>
                <a:lnTo>
                  <a:pt x="502777" y="760643"/>
                </a:lnTo>
                <a:lnTo>
                  <a:pt x="503587" y="782098"/>
                </a:lnTo>
                <a:lnTo>
                  <a:pt x="721781" y="418981"/>
                </a:lnTo>
                <a:lnTo>
                  <a:pt x="721781" y="418981"/>
                </a:lnTo>
                <a:lnTo>
                  <a:pt x="721781" y="418981"/>
                </a:lnTo>
                <a:lnTo>
                  <a:pt x="739188" y="418981"/>
                </a:lnTo>
                <a:lnTo>
                  <a:pt x="847678" y="418981"/>
                </a:lnTo>
                <a:cubicBezTo>
                  <a:pt x="847678" y="418981"/>
                  <a:pt x="848487" y="722995"/>
                  <a:pt x="848892" y="783717"/>
                </a:cubicBezTo>
                <a:lnTo>
                  <a:pt x="1067895" y="418981"/>
                </a:lnTo>
                <a:lnTo>
                  <a:pt x="1067895" y="418981"/>
                </a:lnTo>
                <a:lnTo>
                  <a:pt x="1067895" y="418981"/>
                </a:lnTo>
                <a:lnTo>
                  <a:pt x="1085302" y="418981"/>
                </a:lnTo>
                <a:lnTo>
                  <a:pt x="1193387" y="418981"/>
                </a:lnTo>
                <a:lnTo>
                  <a:pt x="1193387" y="970336"/>
                </a:lnTo>
                <a:lnTo>
                  <a:pt x="1083683" y="970336"/>
                </a:lnTo>
                <a:close/>
                <a:moveTo>
                  <a:pt x="1190149" y="0"/>
                </a:moveTo>
                <a:lnTo>
                  <a:pt x="396716" y="0"/>
                </a:lnTo>
                <a:lnTo>
                  <a:pt x="0" y="694253"/>
                </a:lnTo>
                <a:lnTo>
                  <a:pt x="396716" y="1388507"/>
                </a:lnTo>
                <a:lnTo>
                  <a:pt x="1190149" y="1388507"/>
                </a:lnTo>
                <a:lnTo>
                  <a:pt x="1586865" y="694253"/>
                </a:lnTo>
                <a:lnTo>
                  <a:pt x="1190149" y="0"/>
                </a:lnTo>
                <a:close/>
              </a:path>
            </a:pathLst>
          </a:custGeom>
          <a:solidFill>
            <a:schemeClr val="dk2"/>
          </a:solidFill>
          <a:ln>
            <a:noFill/>
          </a:ln>
        </p:spPr>
        <p:txBody>
          <a:bodyPr spcFirstLastPara="1" wrap="square" lIns="91433" tIns="45700" rIns="91433" bIns="45700"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672" name="Google Shape;1672;p41"/>
          <p:cNvSpPr txBox="1">
            <a:spLocks noGrp="1"/>
          </p:cNvSpPr>
          <p:nvPr>
            <p:ph type="body" idx="1"/>
          </p:nvPr>
        </p:nvSpPr>
        <p:spPr>
          <a:xfrm>
            <a:off x="481600" y="5201600"/>
            <a:ext cx="6581600" cy="975200"/>
          </a:xfrm>
          <a:prstGeom prst="rect">
            <a:avLst/>
          </a:prstGeom>
          <a:noFill/>
          <a:ln>
            <a:noFill/>
          </a:ln>
        </p:spPr>
        <p:txBody>
          <a:bodyPr spcFirstLastPara="1" wrap="square" lIns="0" tIns="34275" rIns="68575" bIns="34275" anchor="t" anchorCtr="0">
            <a:noAutofit/>
          </a:bodyPr>
          <a:lstStyle>
            <a:lvl1pPr marL="609585" lvl="0" indent="-414856" algn="l" rtl="0">
              <a:lnSpc>
                <a:spcPct val="125000"/>
              </a:lnSpc>
              <a:spcBef>
                <a:spcPts val="1067"/>
              </a:spcBef>
              <a:spcAft>
                <a:spcPts val="0"/>
              </a:spcAft>
              <a:buClr>
                <a:schemeClr val="dk2"/>
              </a:buClr>
              <a:buSzPts val="1300"/>
              <a:buFont typeface="Inter"/>
              <a:buChar char="●"/>
              <a:defRPr sz="2133"/>
            </a:lvl1pPr>
            <a:lvl2pPr marL="1219170" lvl="1" indent="-414856" algn="l" rtl="0">
              <a:lnSpc>
                <a:spcPct val="125000"/>
              </a:lnSpc>
              <a:spcBef>
                <a:spcPts val="1067"/>
              </a:spcBef>
              <a:spcAft>
                <a:spcPts val="0"/>
              </a:spcAft>
              <a:buClr>
                <a:schemeClr val="dk2"/>
              </a:buClr>
              <a:buSzPts val="1300"/>
              <a:buFont typeface="Inter"/>
              <a:buChar char="●"/>
              <a:defRPr sz="2133"/>
            </a:lvl2pPr>
            <a:lvl3pPr marL="1828754" lvl="2" indent="-414856" algn="l" rtl="0">
              <a:lnSpc>
                <a:spcPct val="125000"/>
              </a:lnSpc>
              <a:spcBef>
                <a:spcPts val="1067"/>
              </a:spcBef>
              <a:spcAft>
                <a:spcPts val="0"/>
              </a:spcAft>
              <a:buClr>
                <a:schemeClr val="dk2"/>
              </a:buClr>
              <a:buSzPts val="1300"/>
              <a:buFont typeface="Inter"/>
              <a:buChar char="●"/>
              <a:defRPr sz="2133"/>
            </a:lvl3pPr>
            <a:lvl4pPr marL="2438339" lvl="3" indent="-414856" algn="l" rtl="0">
              <a:lnSpc>
                <a:spcPct val="125000"/>
              </a:lnSpc>
              <a:spcBef>
                <a:spcPts val="1067"/>
              </a:spcBef>
              <a:spcAft>
                <a:spcPts val="0"/>
              </a:spcAft>
              <a:buClr>
                <a:schemeClr val="dk2"/>
              </a:buClr>
              <a:buSzPts val="1300"/>
              <a:buFont typeface="Inter"/>
              <a:buChar char="●"/>
              <a:defRPr sz="2133"/>
            </a:lvl4pPr>
            <a:lvl5pPr marL="3047924" lvl="4" indent="-414856" algn="l" rtl="0">
              <a:lnSpc>
                <a:spcPct val="125000"/>
              </a:lnSpc>
              <a:spcBef>
                <a:spcPts val="1067"/>
              </a:spcBef>
              <a:spcAft>
                <a:spcPts val="0"/>
              </a:spcAft>
              <a:buClr>
                <a:schemeClr val="dk2"/>
              </a:buClr>
              <a:buSzPts val="1300"/>
              <a:buFont typeface="Inter"/>
              <a:buChar char="●"/>
              <a:defRPr sz="2133"/>
            </a:lvl5pPr>
            <a:lvl6pPr marL="3657509" lvl="5" indent="-414856" algn="l" rtl="0">
              <a:lnSpc>
                <a:spcPct val="125000"/>
              </a:lnSpc>
              <a:spcBef>
                <a:spcPts val="1067"/>
              </a:spcBef>
              <a:spcAft>
                <a:spcPts val="0"/>
              </a:spcAft>
              <a:buClr>
                <a:schemeClr val="dk2"/>
              </a:buClr>
              <a:buSzPts val="1300"/>
              <a:buFont typeface="Inter"/>
              <a:buChar char="●"/>
              <a:defRPr sz="2133"/>
            </a:lvl6pPr>
            <a:lvl7pPr marL="4267093" lvl="6" indent="-414856" algn="l" rtl="0">
              <a:lnSpc>
                <a:spcPct val="125000"/>
              </a:lnSpc>
              <a:spcBef>
                <a:spcPts val="1067"/>
              </a:spcBef>
              <a:spcAft>
                <a:spcPts val="0"/>
              </a:spcAft>
              <a:buClr>
                <a:schemeClr val="dk2"/>
              </a:buClr>
              <a:buSzPts val="1300"/>
              <a:buFont typeface="Inter"/>
              <a:buChar char="●"/>
              <a:defRPr sz="2133"/>
            </a:lvl7pPr>
            <a:lvl8pPr marL="4876678" lvl="7" indent="-414856" algn="l" rtl="0">
              <a:lnSpc>
                <a:spcPct val="125000"/>
              </a:lnSpc>
              <a:spcBef>
                <a:spcPts val="1067"/>
              </a:spcBef>
              <a:spcAft>
                <a:spcPts val="0"/>
              </a:spcAft>
              <a:buClr>
                <a:schemeClr val="dk2"/>
              </a:buClr>
              <a:buSzPts val="1300"/>
              <a:buFont typeface="Inter"/>
              <a:buChar char="●"/>
              <a:defRPr sz="2133"/>
            </a:lvl8pPr>
            <a:lvl9pPr marL="5486263" lvl="8" indent="-414856" algn="l" rtl="0">
              <a:lnSpc>
                <a:spcPct val="125000"/>
              </a:lnSpc>
              <a:spcBef>
                <a:spcPts val="1067"/>
              </a:spcBef>
              <a:spcAft>
                <a:spcPts val="0"/>
              </a:spcAft>
              <a:buClr>
                <a:schemeClr val="dk2"/>
              </a:buClr>
              <a:buSzPts val="1300"/>
              <a:buFont typeface="Inter"/>
              <a:buChar char="●"/>
              <a:defRPr sz="2133"/>
            </a:lvl9pPr>
          </a:lstStyle>
          <a:p>
            <a:endParaRPr/>
          </a:p>
        </p:txBody>
      </p:sp>
      <p:sp>
        <p:nvSpPr>
          <p:cNvPr id="1673" name="Google Shape;1673;p41"/>
          <p:cNvSpPr txBox="1">
            <a:spLocks noGrp="1"/>
          </p:cNvSpPr>
          <p:nvPr>
            <p:ph type="subTitle" idx="6"/>
          </p:nvPr>
        </p:nvSpPr>
        <p:spPr>
          <a:xfrm>
            <a:off x="7459100" y="3132784"/>
            <a:ext cx="1533600" cy="524800"/>
          </a:xfrm>
          <a:prstGeom prst="rect">
            <a:avLst/>
          </a:prstGeom>
        </p:spPr>
        <p:txBody>
          <a:bodyPr spcFirstLastPara="1" wrap="square" lIns="0" tIns="34275" rIns="68575" bIns="34275" anchor="t" anchorCtr="0">
            <a:normAutofit/>
          </a:bodyPr>
          <a:lstStyle>
            <a:lvl1pPr lvl="0" algn="ctr" rtl="0">
              <a:spcBef>
                <a:spcPts val="1067"/>
              </a:spcBef>
              <a:spcAft>
                <a:spcPts val="0"/>
              </a:spcAft>
              <a:buClr>
                <a:schemeClr val="lt1"/>
              </a:buClr>
              <a:buSzPts val="500"/>
              <a:buNone/>
              <a:defRPr sz="1200" b="1">
                <a:solidFill>
                  <a:schemeClr val="lt1"/>
                </a:solidFill>
              </a:defRPr>
            </a:lvl1pPr>
            <a:lvl2pPr lvl="1" algn="ctr" rtl="0">
              <a:spcBef>
                <a:spcPts val="533"/>
              </a:spcBef>
              <a:spcAft>
                <a:spcPts val="0"/>
              </a:spcAft>
              <a:buSzPts val="1200"/>
              <a:buNone/>
              <a:defRPr/>
            </a:lvl2pPr>
            <a:lvl3pPr lvl="2" algn="ctr" rtl="0">
              <a:spcBef>
                <a:spcPts val="533"/>
              </a:spcBef>
              <a:spcAft>
                <a:spcPts val="0"/>
              </a:spcAft>
              <a:buSzPts val="1200"/>
              <a:buNone/>
              <a:defRPr/>
            </a:lvl3pPr>
            <a:lvl4pPr lvl="3" algn="ctr" rtl="0">
              <a:spcBef>
                <a:spcPts val="533"/>
              </a:spcBef>
              <a:spcAft>
                <a:spcPts val="0"/>
              </a:spcAft>
              <a:buSzPts val="1200"/>
              <a:buNone/>
              <a:defRPr/>
            </a:lvl4pPr>
            <a:lvl5pPr lvl="4" algn="ctr" rtl="0">
              <a:spcBef>
                <a:spcPts val="533"/>
              </a:spcBef>
              <a:spcAft>
                <a:spcPts val="0"/>
              </a:spcAft>
              <a:buSzPts val="1200"/>
              <a:buNone/>
              <a:defRPr/>
            </a:lvl5pPr>
            <a:lvl6pPr lvl="5" algn="ctr" rtl="0">
              <a:spcBef>
                <a:spcPts val="533"/>
              </a:spcBef>
              <a:spcAft>
                <a:spcPts val="0"/>
              </a:spcAft>
              <a:buSzPts val="1200"/>
              <a:buNone/>
              <a:defRPr/>
            </a:lvl6pPr>
            <a:lvl7pPr lvl="6" algn="ctr" rtl="0">
              <a:spcBef>
                <a:spcPts val="533"/>
              </a:spcBef>
              <a:spcAft>
                <a:spcPts val="0"/>
              </a:spcAft>
              <a:buSzPts val="1200"/>
              <a:buNone/>
              <a:defRPr/>
            </a:lvl7pPr>
            <a:lvl8pPr lvl="7" algn="ctr" rtl="0">
              <a:spcBef>
                <a:spcPts val="533"/>
              </a:spcBef>
              <a:spcAft>
                <a:spcPts val="0"/>
              </a:spcAft>
              <a:buSzPts val="1200"/>
              <a:buNone/>
              <a:defRPr/>
            </a:lvl8pPr>
            <a:lvl9pPr lvl="8" algn="ctr" rtl="0">
              <a:spcBef>
                <a:spcPts val="533"/>
              </a:spcBef>
              <a:spcAft>
                <a:spcPts val="0"/>
              </a:spcAft>
              <a:buSzPts val="1200"/>
              <a:buNone/>
              <a:defRPr/>
            </a:lvl9pPr>
          </a:lstStyle>
          <a:p>
            <a:endParaRPr/>
          </a:p>
        </p:txBody>
      </p:sp>
      <p:sp>
        <p:nvSpPr>
          <p:cNvPr id="1674" name="Google Shape;1674;p41"/>
          <p:cNvSpPr txBox="1">
            <a:spLocks noGrp="1"/>
          </p:cNvSpPr>
          <p:nvPr>
            <p:ph type="subTitle" idx="7"/>
          </p:nvPr>
        </p:nvSpPr>
        <p:spPr>
          <a:xfrm>
            <a:off x="9652333" y="3132784"/>
            <a:ext cx="1533600" cy="524800"/>
          </a:xfrm>
          <a:prstGeom prst="rect">
            <a:avLst/>
          </a:prstGeom>
        </p:spPr>
        <p:txBody>
          <a:bodyPr spcFirstLastPara="1" wrap="square" lIns="0" tIns="34275" rIns="68575" bIns="34275" anchor="t" anchorCtr="0">
            <a:normAutofit/>
          </a:bodyPr>
          <a:lstStyle>
            <a:lvl1pPr lvl="0" algn="ctr" rtl="0">
              <a:spcBef>
                <a:spcPts val="1067"/>
              </a:spcBef>
              <a:spcAft>
                <a:spcPts val="0"/>
              </a:spcAft>
              <a:buClr>
                <a:schemeClr val="lt1"/>
              </a:buClr>
              <a:buSzPts val="500"/>
              <a:buNone/>
              <a:defRPr sz="1200" b="1">
                <a:solidFill>
                  <a:schemeClr val="lt1"/>
                </a:solidFill>
              </a:defRPr>
            </a:lvl1pPr>
            <a:lvl2pPr lvl="1" algn="ctr" rtl="0">
              <a:spcBef>
                <a:spcPts val="533"/>
              </a:spcBef>
              <a:spcAft>
                <a:spcPts val="0"/>
              </a:spcAft>
              <a:buSzPts val="1200"/>
              <a:buNone/>
              <a:defRPr/>
            </a:lvl2pPr>
            <a:lvl3pPr lvl="2" algn="ctr" rtl="0">
              <a:spcBef>
                <a:spcPts val="533"/>
              </a:spcBef>
              <a:spcAft>
                <a:spcPts val="0"/>
              </a:spcAft>
              <a:buSzPts val="1200"/>
              <a:buNone/>
              <a:defRPr/>
            </a:lvl3pPr>
            <a:lvl4pPr lvl="3" algn="ctr" rtl="0">
              <a:spcBef>
                <a:spcPts val="533"/>
              </a:spcBef>
              <a:spcAft>
                <a:spcPts val="0"/>
              </a:spcAft>
              <a:buSzPts val="1200"/>
              <a:buNone/>
              <a:defRPr/>
            </a:lvl4pPr>
            <a:lvl5pPr lvl="4" algn="ctr" rtl="0">
              <a:spcBef>
                <a:spcPts val="533"/>
              </a:spcBef>
              <a:spcAft>
                <a:spcPts val="0"/>
              </a:spcAft>
              <a:buSzPts val="1200"/>
              <a:buNone/>
              <a:defRPr/>
            </a:lvl5pPr>
            <a:lvl6pPr lvl="5" algn="ctr" rtl="0">
              <a:spcBef>
                <a:spcPts val="533"/>
              </a:spcBef>
              <a:spcAft>
                <a:spcPts val="0"/>
              </a:spcAft>
              <a:buSzPts val="1200"/>
              <a:buNone/>
              <a:defRPr/>
            </a:lvl6pPr>
            <a:lvl7pPr lvl="6" algn="ctr" rtl="0">
              <a:spcBef>
                <a:spcPts val="533"/>
              </a:spcBef>
              <a:spcAft>
                <a:spcPts val="0"/>
              </a:spcAft>
              <a:buSzPts val="1200"/>
              <a:buNone/>
              <a:defRPr/>
            </a:lvl7pPr>
            <a:lvl8pPr lvl="7" algn="ctr" rtl="0">
              <a:spcBef>
                <a:spcPts val="533"/>
              </a:spcBef>
              <a:spcAft>
                <a:spcPts val="0"/>
              </a:spcAft>
              <a:buSzPts val="1200"/>
              <a:buNone/>
              <a:defRPr/>
            </a:lvl8pPr>
            <a:lvl9pPr lvl="8" algn="ctr" rtl="0">
              <a:spcBef>
                <a:spcPts val="533"/>
              </a:spcBef>
              <a:spcAft>
                <a:spcPts val="0"/>
              </a:spcAft>
              <a:buSzPts val="1200"/>
              <a:buNone/>
              <a:defRPr/>
            </a:lvl9pPr>
          </a:lstStyle>
          <a:p>
            <a:endParaRPr/>
          </a:p>
        </p:txBody>
      </p:sp>
      <p:sp>
        <p:nvSpPr>
          <p:cNvPr id="1675" name="Google Shape;1675;p41"/>
          <p:cNvSpPr txBox="1">
            <a:spLocks noGrp="1"/>
          </p:cNvSpPr>
          <p:nvPr>
            <p:ph type="subTitle" idx="8"/>
          </p:nvPr>
        </p:nvSpPr>
        <p:spPr>
          <a:xfrm>
            <a:off x="7459100" y="5519184"/>
            <a:ext cx="1533600" cy="524800"/>
          </a:xfrm>
          <a:prstGeom prst="rect">
            <a:avLst/>
          </a:prstGeom>
        </p:spPr>
        <p:txBody>
          <a:bodyPr spcFirstLastPara="1" wrap="square" lIns="0" tIns="34275" rIns="68575" bIns="34275" anchor="t" anchorCtr="0">
            <a:normAutofit/>
          </a:bodyPr>
          <a:lstStyle>
            <a:lvl1pPr lvl="0" algn="ctr" rtl="0">
              <a:spcBef>
                <a:spcPts val="1067"/>
              </a:spcBef>
              <a:spcAft>
                <a:spcPts val="0"/>
              </a:spcAft>
              <a:buClr>
                <a:schemeClr val="lt1"/>
              </a:buClr>
              <a:buSzPts val="500"/>
              <a:buNone/>
              <a:defRPr sz="1200" b="1">
                <a:solidFill>
                  <a:schemeClr val="lt1"/>
                </a:solidFill>
              </a:defRPr>
            </a:lvl1pPr>
            <a:lvl2pPr lvl="1" algn="ctr" rtl="0">
              <a:spcBef>
                <a:spcPts val="533"/>
              </a:spcBef>
              <a:spcAft>
                <a:spcPts val="0"/>
              </a:spcAft>
              <a:buSzPts val="1200"/>
              <a:buNone/>
              <a:defRPr/>
            </a:lvl2pPr>
            <a:lvl3pPr lvl="2" algn="ctr" rtl="0">
              <a:spcBef>
                <a:spcPts val="533"/>
              </a:spcBef>
              <a:spcAft>
                <a:spcPts val="0"/>
              </a:spcAft>
              <a:buSzPts val="1200"/>
              <a:buNone/>
              <a:defRPr/>
            </a:lvl3pPr>
            <a:lvl4pPr lvl="3" algn="ctr" rtl="0">
              <a:spcBef>
                <a:spcPts val="533"/>
              </a:spcBef>
              <a:spcAft>
                <a:spcPts val="0"/>
              </a:spcAft>
              <a:buSzPts val="1200"/>
              <a:buNone/>
              <a:defRPr/>
            </a:lvl4pPr>
            <a:lvl5pPr lvl="4" algn="ctr" rtl="0">
              <a:spcBef>
                <a:spcPts val="533"/>
              </a:spcBef>
              <a:spcAft>
                <a:spcPts val="0"/>
              </a:spcAft>
              <a:buSzPts val="1200"/>
              <a:buNone/>
              <a:defRPr/>
            </a:lvl5pPr>
            <a:lvl6pPr lvl="5" algn="ctr" rtl="0">
              <a:spcBef>
                <a:spcPts val="533"/>
              </a:spcBef>
              <a:spcAft>
                <a:spcPts val="0"/>
              </a:spcAft>
              <a:buSzPts val="1200"/>
              <a:buNone/>
              <a:defRPr/>
            </a:lvl6pPr>
            <a:lvl7pPr lvl="6" algn="ctr" rtl="0">
              <a:spcBef>
                <a:spcPts val="533"/>
              </a:spcBef>
              <a:spcAft>
                <a:spcPts val="0"/>
              </a:spcAft>
              <a:buSzPts val="1200"/>
              <a:buNone/>
              <a:defRPr/>
            </a:lvl7pPr>
            <a:lvl8pPr lvl="7" algn="ctr" rtl="0">
              <a:spcBef>
                <a:spcPts val="533"/>
              </a:spcBef>
              <a:spcAft>
                <a:spcPts val="0"/>
              </a:spcAft>
              <a:buSzPts val="1200"/>
              <a:buNone/>
              <a:defRPr/>
            </a:lvl8pPr>
            <a:lvl9pPr lvl="8" algn="ctr" rtl="0">
              <a:spcBef>
                <a:spcPts val="533"/>
              </a:spcBef>
              <a:spcAft>
                <a:spcPts val="0"/>
              </a:spcAft>
              <a:buSzPts val="1200"/>
              <a:buNone/>
              <a:defRPr/>
            </a:lvl9pPr>
          </a:lstStyle>
          <a:p>
            <a:endParaRPr/>
          </a:p>
        </p:txBody>
      </p:sp>
      <p:sp>
        <p:nvSpPr>
          <p:cNvPr id="1676" name="Google Shape;1676;p41"/>
          <p:cNvSpPr txBox="1">
            <a:spLocks noGrp="1"/>
          </p:cNvSpPr>
          <p:nvPr>
            <p:ph type="subTitle" idx="9"/>
          </p:nvPr>
        </p:nvSpPr>
        <p:spPr>
          <a:xfrm>
            <a:off x="9652333" y="5519184"/>
            <a:ext cx="1533600" cy="524800"/>
          </a:xfrm>
          <a:prstGeom prst="rect">
            <a:avLst/>
          </a:prstGeom>
        </p:spPr>
        <p:txBody>
          <a:bodyPr spcFirstLastPara="1" wrap="square" lIns="0" tIns="34275" rIns="68575" bIns="34275" anchor="t" anchorCtr="0">
            <a:normAutofit/>
          </a:bodyPr>
          <a:lstStyle>
            <a:lvl1pPr lvl="0" algn="ctr" rtl="0">
              <a:spcBef>
                <a:spcPts val="1067"/>
              </a:spcBef>
              <a:spcAft>
                <a:spcPts val="0"/>
              </a:spcAft>
              <a:buClr>
                <a:schemeClr val="lt1"/>
              </a:buClr>
              <a:buSzPts val="500"/>
              <a:buNone/>
              <a:defRPr sz="1200" b="1">
                <a:solidFill>
                  <a:schemeClr val="lt1"/>
                </a:solidFill>
              </a:defRPr>
            </a:lvl1pPr>
            <a:lvl2pPr lvl="1" algn="ctr" rtl="0">
              <a:spcBef>
                <a:spcPts val="533"/>
              </a:spcBef>
              <a:spcAft>
                <a:spcPts val="0"/>
              </a:spcAft>
              <a:buSzPts val="1200"/>
              <a:buNone/>
              <a:defRPr/>
            </a:lvl2pPr>
            <a:lvl3pPr lvl="2" algn="ctr" rtl="0">
              <a:spcBef>
                <a:spcPts val="533"/>
              </a:spcBef>
              <a:spcAft>
                <a:spcPts val="0"/>
              </a:spcAft>
              <a:buSzPts val="1200"/>
              <a:buNone/>
              <a:defRPr/>
            </a:lvl3pPr>
            <a:lvl4pPr lvl="3" algn="ctr" rtl="0">
              <a:spcBef>
                <a:spcPts val="533"/>
              </a:spcBef>
              <a:spcAft>
                <a:spcPts val="0"/>
              </a:spcAft>
              <a:buSzPts val="1200"/>
              <a:buNone/>
              <a:defRPr/>
            </a:lvl4pPr>
            <a:lvl5pPr lvl="4" algn="ctr" rtl="0">
              <a:spcBef>
                <a:spcPts val="533"/>
              </a:spcBef>
              <a:spcAft>
                <a:spcPts val="0"/>
              </a:spcAft>
              <a:buSzPts val="1200"/>
              <a:buNone/>
              <a:defRPr/>
            </a:lvl5pPr>
            <a:lvl6pPr lvl="5" algn="ctr" rtl="0">
              <a:spcBef>
                <a:spcPts val="533"/>
              </a:spcBef>
              <a:spcAft>
                <a:spcPts val="0"/>
              </a:spcAft>
              <a:buSzPts val="1200"/>
              <a:buNone/>
              <a:defRPr/>
            </a:lvl6pPr>
            <a:lvl7pPr lvl="6" algn="ctr" rtl="0">
              <a:spcBef>
                <a:spcPts val="533"/>
              </a:spcBef>
              <a:spcAft>
                <a:spcPts val="0"/>
              </a:spcAft>
              <a:buSzPts val="1200"/>
              <a:buNone/>
              <a:defRPr/>
            </a:lvl7pPr>
            <a:lvl8pPr lvl="7" algn="ctr" rtl="0">
              <a:spcBef>
                <a:spcPts val="533"/>
              </a:spcBef>
              <a:spcAft>
                <a:spcPts val="0"/>
              </a:spcAft>
              <a:buSzPts val="1200"/>
              <a:buNone/>
              <a:defRPr/>
            </a:lvl8pPr>
            <a:lvl9pPr lvl="8" algn="ctr" rtl="0">
              <a:spcBef>
                <a:spcPts val="533"/>
              </a:spcBef>
              <a:spcAft>
                <a:spcPts val="0"/>
              </a:spcAft>
              <a:buSzPts val="1200"/>
              <a:buNone/>
              <a:defRPr/>
            </a:lvl9pPr>
          </a:lstStyle>
          <a:p>
            <a:endParaRPr/>
          </a:p>
        </p:txBody>
      </p:sp>
      <p:sp>
        <p:nvSpPr>
          <p:cNvPr id="1677" name="Google Shape;1677;p41"/>
          <p:cNvSpPr>
            <a:spLocks noGrp="1"/>
          </p:cNvSpPr>
          <p:nvPr>
            <p:ph type="pic" idx="13"/>
          </p:nvPr>
        </p:nvSpPr>
        <p:spPr>
          <a:xfrm>
            <a:off x="684533" y="1826000"/>
            <a:ext cx="1204800" cy="1205200"/>
          </a:xfrm>
          <a:prstGeom prst="roundRect">
            <a:avLst>
              <a:gd name="adj" fmla="val 11119"/>
            </a:avLst>
          </a:prstGeom>
          <a:noFill/>
          <a:ln>
            <a:noFill/>
          </a:ln>
        </p:spPr>
      </p:sp>
      <p:sp>
        <p:nvSpPr>
          <p:cNvPr id="1678" name="Google Shape;1678;p41"/>
          <p:cNvSpPr>
            <a:spLocks noGrp="1"/>
          </p:cNvSpPr>
          <p:nvPr>
            <p:ph type="pic" idx="14"/>
          </p:nvPr>
        </p:nvSpPr>
        <p:spPr>
          <a:xfrm>
            <a:off x="2859125" y="1826000"/>
            <a:ext cx="1204800" cy="1205200"/>
          </a:xfrm>
          <a:prstGeom prst="roundRect">
            <a:avLst>
              <a:gd name="adj" fmla="val 11119"/>
            </a:avLst>
          </a:prstGeom>
          <a:noFill/>
          <a:ln>
            <a:noFill/>
          </a:ln>
        </p:spPr>
      </p:sp>
      <p:sp>
        <p:nvSpPr>
          <p:cNvPr id="1679" name="Google Shape;1679;p41"/>
          <p:cNvSpPr txBox="1">
            <a:spLocks noGrp="1"/>
          </p:cNvSpPr>
          <p:nvPr>
            <p:ph type="subTitle" idx="15"/>
          </p:nvPr>
        </p:nvSpPr>
        <p:spPr>
          <a:xfrm>
            <a:off x="520133" y="3132784"/>
            <a:ext cx="1533600" cy="524800"/>
          </a:xfrm>
          <a:prstGeom prst="rect">
            <a:avLst/>
          </a:prstGeom>
        </p:spPr>
        <p:txBody>
          <a:bodyPr spcFirstLastPara="1" wrap="square" lIns="0" tIns="34275" rIns="68575" bIns="34275" anchor="t" anchorCtr="0">
            <a:normAutofit/>
          </a:bodyPr>
          <a:lstStyle>
            <a:lvl1pPr lvl="0" algn="ctr" rtl="0">
              <a:spcBef>
                <a:spcPts val="1067"/>
              </a:spcBef>
              <a:spcAft>
                <a:spcPts val="0"/>
              </a:spcAft>
              <a:buClr>
                <a:schemeClr val="dk1"/>
              </a:buClr>
              <a:buSzPts val="500"/>
              <a:buNone/>
              <a:defRPr sz="1200" b="1"/>
            </a:lvl1pPr>
            <a:lvl2pPr lvl="1" algn="ctr" rtl="0">
              <a:spcBef>
                <a:spcPts val="533"/>
              </a:spcBef>
              <a:spcAft>
                <a:spcPts val="0"/>
              </a:spcAft>
              <a:buClr>
                <a:schemeClr val="dk1"/>
              </a:buClr>
              <a:buSzPts val="1200"/>
              <a:buNone/>
              <a:defRPr/>
            </a:lvl2pPr>
            <a:lvl3pPr lvl="2" algn="ctr" rtl="0">
              <a:spcBef>
                <a:spcPts val="533"/>
              </a:spcBef>
              <a:spcAft>
                <a:spcPts val="0"/>
              </a:spcAft>
              <a:buClr>
                <a:schemeClr val="dk1"/>
              </a:buClr>
              <a:buSzPts val="1200"/>
              <a:buNone/>
              <a:defRPr/>
            </a:lvl3pPr>
            <a:lvl4pPr lvl="3" algn="ctr" rtl="0">
              <a:spcBef>
                <a:spcPts val="533"/>
              </a:spcBef>
              <a:spcAft>
                <a:spcPts val="0"/>
              </a:spcAft>
              <a:buClr>
                <a:schemeClr val="dk1"/>
              </a:buClr>
              <a:buSzPts val="1200"/>
              <a:buNone/>
              <a:defRPr/>
            </a:lvl4pPr>
            <a:lvl5pPr lvl="4" algn="ctr" rtl="0">
              <a:spcBef>
                <a:spcPts val="533"/>
              </a:spcBef>
              <a:spcAft>
                <a:spcPts val="0"/>
              </a:spcAft>
              <a:buClr>
                <a:schemeClr val="dk1"/>
              </a:buClr>
              <a:buSzPts val="1200"/>
              <a:buNone/>
              <a:defRPr/>
            </a:lvl5pPr>
            <a:lvl6pPr lvl="5" algn="ctr" rtl="0">
              <a:spcBef>
                <a:spcPts val="533"/>
              </a:spcBef>
              <a:spcAft>
                <a:spcPts val="0"/>
              </a:spcAft>
              <a:buClr>
                <a:schemeClr val="dk1"/>
              </a:buClr>
              <a:buSzPts val="1200"/>
              <a:buNone/>
              <a:defRPr/>
            </a:lvl6pPr>
            <a:lvl7pPr lvl="6" algn="ctr" rtl="0">
              <a:spcBef>
                <a:spcPts val="533"/>
              </a:spcBef>
              <a:spcAft>
                <a:spcPts val="0"/>
              </a:spcAft>
              <a:buClr>
                <a:schemeClr val="dk1"/>
              </a:buClr>
              <a:buSzPts val="1200"/>
              <a:buNone/>
              <a:defRPr/>
            </a:lvl7pPr>
            <a:lvl8pPr lvl="7" algn="ctr" rtl="0">
              <a:spcBef>
                <a:spcPts val="533"/>
              </a:spcBef>
              <a:spcAft>
                <a:spcPts val="0"/>
              </a:spcAft>
              <a:buClr>
                <a:schemeClr val="dk1"/>
              </a:buClr>
              <a:buSzPts val="1200"/>
              <a:buNone/>
              <a:defRPr/>
            </a:lvl8pPr>
            <a:lvl9pPr lvl="8" algn="ctr" rtl="0">
              <a:spcBef>
                <a:spcPts val="533"/>
              </a:spcBef>
              <a:spcAft>
                <a:spcPts val="0"/>
              </a:spcAft>
              <a:buClr>
                <a:schemeClr val="dk1"/>
              </a:buClr>
              <a:buSzPts val="1200"/>
              <a:buNone/>
              <a:defRPr/>
            </a:lvl9pPr>
          </a:lstStyle>
          <a:p>
            <a:endParaRPr/>
          </a:p>
        </p:txBody>
      </p:sp>
      <p:sp>
        <p:nvSpPr>
          <p:cNvPr id="1680" name="Google Shape;1680;p41"/>
          <p:cNvSpPr txBox="1">
            <a:spLocks noGrp="1"/>
          </p:cNvSpPr>
          <p:nvPr>
            <p:ph type="subTitle" idx="16"/>
          </p:nvPr>
        </p:nvSpPr>
        <p:spPr>
          <a:xfrm>
            <a:off x="2655200" y="3132784"/>
            <a:ext cx="1533600" cy="524800"/>
          </a:xfrm>
          <a:prstGeom prst="rect">
            <a:avLst/>
          </a:prstGeom>
        </p:spPr>
        <p:txBody>
          <a:bodyPr spcFirstLastPara="1" wrap="square" lIns="0" tIns="34275" rIns="68575" bIns="34275" anchor="t" anchorCtr="0">
            <a:normAutofit/>
          </a:bodyPr>
          <a:lstStyle>
            <a:lvl1pPr lvl="0" algn="ctr" rtl="0">
              <a:spcBef>
                <a:spcPts val="1067"/>
              </a:spcBef>
              <a:spcAft>
                <a:spcPts val="0"/>
              </a:spcAft>
              <a:buClr>
                <a:schemeClr val="dk1"/>
              </a:buClr>
              <a:buSzPts val="500"/>
              <a:buNone/>
              <a:defRPr sz="1200" b="1"/>
            </a:lvl1pPr>
            <a:lvl2pPr lvl="1" algn="ctr" rtl="0">
              <a:spcBef>
                <a:spcPts val="533"/>
              </a:spcBef>
              <a:spcAft>
                <a:spcPts val="0"/>
              </a:spcAft>
              <a:buClr>
                <a:schemeClr val="dk1"/>
              </a:buClr>
              <a:buSzPts val="1200"/>
              <a:buNone/>
              <a:defRPr/>
            </a:lvl2pPr>
            <a:lvl3pPr lvl="2" algn="ctr" rtl="0">
              <a:spcBef>
                <a:spcPts val="533"/>
              </a:spcBef>
              <a:spcAft>
                <a:spcPts val="0"/>
              </a:spcAft>
              <a:buClr>
                <a:schemeClr val="dk1"/>
              </a:buClr>
              <a:buSzPts val="1200"/>
              <a:buNone/>
              <a:defRPr/>
            </a:lvl3pPr>
            <a:lvl4pPr lvl="3" algn="ctr" rtl="0">
              <a:spcBef>
                <a:spcPts val="533"/>
              </a:spcBef>
              <a:spcAft>
                <a:spcPts val="0"/>
              </a:spcAft>
              <a:buClr>
                <a:schemeClr val="dk1"/>
              </a:buClr>
              <a:buSzPts val="1200"/>
              <a:buNone/>
              <a:defRPr/>
            </a:lvl4pPr>
            <a:lvl5pPr lvl="4" algn="ctr" rtl="0">
              <a:spcBef>
                <a:spcPts val="533"/>
              </a:spcBef>
              <a:spcAft>
                <a:spcPts val="0"/>
              </a:spcAft>
              <a:buClr>
                <a:schemeClr val="dk1"/>
              </a:buClr>
              <a:buSzPts val="1200"/>
              <a:buNone/>
              <a:defRPr/>
            </a:lvl5pPr>
            <a:lvl6pPr lvl="5" algn="ctr" rtl="0">
              <a:spcBef>
                <a:spcPts val="533"/>
              </a:spcBef>
              <a:spcAft>
                <a:spcPts val="0"/>
              </a:spcAft>
              <a:buClr>
                <a:schemeClr val="dk1"/>
              </a:buClr>
              <a:buSzPts val="1200"/>
              <a:buNone/>
              <a:defRPr/>
            </a:lvl6pPr>
            <a:lvl7pPr lvl="6" algn="ctr" rtl="0">
              <a:spcBef>
                <a:spcPts val="533"/>
              </a:spcBef>
              <a:spcAft>
                <a:spcPts val="0"/>
              </a:spcAft>
              <a:buClr>
                <a:schemeClr val="dk1"/>
              </a:buClr>
              <a:buSzPts val="1200"/>
              <a:buNone/>
              <a:defRPr/>
            </a:lvl7pPr>
            <a:lvl8pPr lvl="7" algn="ctr" rtl="0">
              <a:spcBef>
                <a:spcPts val="533"/>
              </a:spcBef>
              <a:spcAft>
                <a:spcPts val="0"/>
              </a:spcAft>
              <a:buClr>
                <a:schemeClr val="dk1"/>
              </a:buClr>
              <a:buSzPts val="1200"/>
              <a:buNone/>
              <a:defRPr/>
            </a:lvl8pPr>
            <a:lvl9pPr lvl="8" algn="ctr" rtl="0">
              <a:spcBef>
                <a:spcPts val="533"/>
              </a:spcBef>
              <a:spcAft>
                <a:spcPts val="0"/>
              </a:spcAft>
              <a:buClr>
                <a:schemeClr val="dk1"/>
              </a:buClr>
              <a:buSzPts val="1200"/>
              <a:buNone/>
              <a:defRPr/>
            </a:lvl9pPr>
          </a:lstStyle>
          <a:p>
            <a:endParaRPr/>
          </a:p>
        </p:txBody>
      </p:sp>
      <p:sp>
        <p:nvSpPr>
          <p:cNvPr id="1681" name="Google Shape;1681;p41"/>
          <p:cNvSpPr>
            <a:spLocks noGrp="1"/>
          </p:cNvSpPr>
          <p:nvPr>
            <p:ph type="pic" idx="17"/>
          </p:nvPr>
        </p:nvSpPr>
        <p:spPr>
          <a:xfrm>
            <a:off x="5033717" y="1826000"/>
            <a:ext cx="1204800" cy="1205200"/>
          </a:xfrm>
          <a:prstGeom prst="roundRect">
            <a:avLst>
              <a:gd name="adj" fmla="val 11119"/>
            </a:avLst>
          </a:prstGeom>
          <a:noFill/>
          <a:ln>
            <a:noFill/>
          </a:ln>
        </p:spPr>
      </p:sp>
      <p:sp>
        <p:nvSpPr>
          <p:cNvPr id="1682" name="Google Shape;1682;p41"/>
          <p:cNvSpPr txBox="1">
            <a:spLocks noGrp="1"/>
          </p:cNvSpPr>
          <p:nvPr>
            <p:ph type="subTitle" idx="18"/>
          </p:nvPr>
        </p:nvSpPr>
        <p:spPr>
          <a:xfrm>
            <a:off x="4869317" y="3132784"/>
            <a:ext cx="1533600" cy="524800"/>
          </a:xfrm>
          <a:prstGeom prst="rect">
            <a:avLst/>
          </a:prstGeom>
        </p:spPr>
        <p:txBody>
          <a:bodyPr spcFirstLastPara="1" wrap="square" lIns="0" tIns="34275" rIns="68575" bIns="34275" anchor="t" anchorCtr="0">
            <a:normAutofit/>
          </a:bodyPr>
          <a:lstStyle>
            <a:lvl1pPr lvl="0" algn="ctr" rtl="0">
              <a:spcBef>
                <a:spcPts val="1067"/>
              </a:spcBef>
              <a:spcAft>
                <a:spcPts val="0"/>
              </a:spcAft>
              <a:buClr>
                <a:schemeClr val="dk1"/>
              </a:buClr>
              <a:buSzPts val="500"/>
              <a:buNone/>
              <a:defRPr sz="1200" b="1"/>
            </a:lvl1pPr>
            <a:lvl2pPr lvl="1" algn="ctr" rtl="0">
              <a:spcBef>
                <a:spcPts val="533"/>
              </a:spcBef>
              <a:spcAft>
                <a:spcPts val="0"/>
              </a:spcAft>
              <a:buClr>
                <a:schemeClr val="dk1"/>
              </a:buClr>
              <a:buSzPts val="1200"/>
              <a:buNone/>
              <a:defRPr/>
            </a:lvl2pPr>
            <a:lvl3pPr lvl="2" algn="ctr" rtl="0">
              <a:spcBef>
                <a:spcPts val="533"/>
              </a:spcBef>
              <a:spcAft>
                <a:spcPts val="0"/>
              </a:spcAft>
              <a:buClr>
                <a:schemeClr val="dk1"/>
              </a:buClr>
              <a:buSzPts val="1200"/>
              <a:buNone/>
              <a:defRPr/>
            </a:lvl3pPr>
            <a:lvl4pPr lvl="3" algn="ctr" rtl="0">
              <a:spcBef>
                <a:spcPts val="533"/>
              </a:spcBef>
              <a:spcAft>
                <a:spcPts val="0"/>
              </a:spcAft>
              <a:buClr>
                <a:schemeClr val="dk1"/>
              </a:buClr>
              <a:buSzPts val="1200"/>
              <a:buNone/>
              <a:defRPr/>
            </a:lvl4pPr>
            <a:lvl5pPr lvl="4" algn="ctr" rtl="0">
              <a:spcBef>
                <a:spcPts val="533"/>
              </a:spcBef>
              <a:spcAft>
                <a:spcPts val="0"/>
              </a:spcAft>
              <a:buClr>
                <a:schemeClr val="dk1"/>
              </a:buClr>
              <a:buSzPts val="1200"/>
              <a:buNone/>
              <a:defRPr/>
            </a:lvl5pPr>
            <a:lvl6pPr lvl="5" algn="ctr" rtl="0">
              <a:spcBef>
                <a:spcPts val="533"/>
              </a:spcBef>
              <a:spcAft>
                <a:spcPts val="0"/>
              </a:spcAft>
              <a:buClr>
                <a:schemeClr val="dk1"/>
              </a:buClr>
              <a:buSzPts val="1200"/>
              <a:buNone/>
              <a:defRPr/>
            </a:lvl6pPr>
            <a:lvl7pPr lvl="6" algn="ctr" rtl="0">
              <a:spcBef>
                <a:spcPts val="533"/>
              </a:spcBef>
              <a:spcAft>
                <a:spcPts val="0"/>
              </a:spcAft>
              <a:buClr>
                <a:schemeClr val="dk1"/>
              </a:buClr>
              <a:buSzPts val="1200"/>
              <a:buNone/>
              <a:defRPr/>
            </a:lvl7pPr>
            <a:lvl8pPr lvl="7" algn="ctr" rtl="0">
              <a:spcBef>
                <a:spcPts val="533"/>
              </a:spcBef>
              <a:spcAft>
                <a:spcPts val="0"/>
              </a:spcAft>
              <a:buClr>
                <a:schemeClr val="dk1"/>
              </a:buClr>
              <a:buSzPts val="1200"/>
              <a:buNone/>
              <a:defRPr/>
            </a:lvl8pPr>
            <a:lvl9pPr lvl="8" algn="ctr" rtl="0">
              <a:spcBef>
                <a:spcPts val="533"/>
              </a:spcBef>
              <a:spcAft>
                <a:spcPts val="0"/>
              </a:spcAft>
              <a:buClr>
                <a:schemeClr val="dk1"/>
              </a:buClr>
              <a:buSzPts val="1200"/>
              <a:buNone/>
              <a:defRPr/>
            </a:lvl9pPr>
          </a:lstStyle>
          <a:p>
            <a:endParaRPr/>
          </a:p>
        </p:txBody>
      </p:sp>
      <p:sp>
        <p:nvSpPr>
          <p:cNvPr id="1683" name="Google Shape;1683;p41"/>
          <p:cNvSpPr txBox="1">
            <a:spLocks noGrp="1"/>
          </p:cNvSpPr>
          <p:nvPr>
            <p:ph type="subTitle" idx="19"/>
          </p:nvPr>
        </p:nvSpPr>
        <p:spPr>
          <a:xfrm>
            <a:off x="520133" y="1335200"/>
            <a:ext cx="2477200" cy="192000"/>
          </a:xfrm>
          <a:prstGeom prst="rect">
            <a:avLst/>
          </a:prstGeom>
          <a:solidFill>
            <a:schemeClr val="accent2"/>
          </a:solidFill>
          <a:ln w="28575" cap="flat" cmpd="sng">
            <a:solidFill>
              <a:schemeClr val="accent2"/>
            </a:solidFill>
            <a:prstDash val="solid"/>
            <a:round/>
            <a:headEnd type="none" w="sm" len="sm"/>
            <a:tailEnd type="none" w="sm" len="sm"/>
          </a:ln>
        </p:spPr>
        <p:txBody>
          <a:bodyPr spcFirstLastPara="1" wrap="square" lIns="36000" tIns="0" rIns="36000" bIns="0" anchor="ctr" anchorCtr="0">
            <a:noAutofit/>
          </a:bodyPr>
          <a:lstStyle>
            <a:lvl1pPr lvl="0" rtl="0">
              <a:spcBef>
                <a:spcPts val="1067"/>
              </a:spcBef>
              <a:spcAft>
                <a:spcPts val="0"/>
              </a:spcAft>
              <a:buSzPts val="900"/>
              <a:buFont typeface="Inter Medium"/>
              <a:buNone/>
              <a:defRPr sz="1200">
                <a:latin typeface="Inter Medium"/>
                <a:ea typeface="Inter Medium"/>
                <a:cs typeface="Inter Medium"/>
                <a:sym typeface="Inter Medium"/>
              </a:defRPr>
            </a:lvl1pPr>
            <a:lvl2pPr lvl="1" rtl="0">
              <a:spcBef>
                <a:spcPts val="533"/>
              </a:spcBef>
              <a:spcAft>
                <a:spcPts val="0"/>
              </a:spcAft>
              <a:buSzPts val="500"/>
              <a:buNone/>
              <a:defRPr sz="1200"/>
            </a:lvl2pPr>
            <a:lvl3pPr lvl="2" rtl="0">
              <a:spcBef>
                <a:spcPts val="533"/>
              </a:spcBef>
              <a:spcAft>
                <a:spcPts val="0"/>
              </a:spcAft>
              <a:buSzPts val="500"/>
              <a:buNone/>
              <a:defRPr sz="1200"/>
            </a:lvl3pPr>
            <a:lvl4pPr lvl="3" rtl="0">
              <a:spcBef>
                <a:spcPts val="533"/>
              </a:spcBef>
              <a:spcAft>
                <a:spcPts val="0"/>
              </a:spcAft>
              <a:buSzPts val="500"/>
              <a:buNone/>
              <a:defRPr sz="1200"/>
            </a:lvl4pPr>
            <a:lvl5pPr lvl="4" rtl="0">
              <a:spcBef>
                <a:spcPts val="533"/>
              </a:spcBef>
              <a:spcAft>
                <a:spcPts val="0"/>
              </a:spcAft>
              <a:buSzPts val="500"/>
              <a:buNone/>
              <a:defRPr sz="1200"/>
            </a:lvl5pPr>
            <a:lvl6pPr lvl="5" rtl="0">
              <a:spcBef>
                <a:spcPts val="533"/>
              </a:spcBef>
              <a:spcAft>
                <a:spcPts val="0"/>
              </a:spcAft>
              <a:buSzPts val="500"/>
              <a:buNone/>
              <a:defRPr sz="1200"/>
            </a:lvl6pPr>
            <a:lvl7pPr lvl="6" rtl="0">
              <a:spcBef>
                <a:spcPts val="533"/>
              </a:spcBef>
              <a:spcAft>
                <a:spcPts val="0"/>
              </a:spcAft>
              <a:buSzPts val="500"/>
              <a:buNone/>
              <a:defRPr sz="1200"/>
            </a:lvl7pPr>
            <a:lvl8pPr lvl="7" rtl="0">
              <a:spcBef>
                <a:spcPts val="533"/>
              </a:spcBef>
              <a:spcAft>
                <a:spcPts val="0"/>
              </a:spcAft>
              <a:buSzPts val="500"/>
              <a:buNone/>
              <a:defRPr sz="1200"/>
            </a:lvl8pPr>
            <a:lvl9pPr lvl="8" rtl="0">
              <a:spcBef>
                <a:spcPts val="533"/>
              </a:spcBef>
              <a:spcAft>
                <a:spcPts val="0"/>
              </a:spcAft>
              <a:buSzPts val="500"/>
              <a:buNone/>
              <a:defRPr sz="1200"/>
            </a:lvl9pPr>
          </a:lstStyle>
          <a:p>
            <a:endParaRPr/>
          </a:p>
        </p:txBody>
      </p:sp>
      <p:sp>
        <p:nvSpPr>
          <p:cNvPr id="1684" name="Google Shape;1684;p41"/>
          <p:cNvSpPr txBox="1">
            <a:spLocks noGrp="1"/>
          </p:cNvSpPr>
          <p:nvPr>
            <p:ph type="subTitle" idx="20"/>
          </p:nvPr>
        </p:nvSpPr>
        <p:spPr>
          <a:xfrm>
            <a:off x="7338233" y="1335200"/>
            <a:ext cx="2477200" cy="192000"/>
          </a:xfrm>
          <a:prstGeom prst="rect">
            <a:avLst/>
          </a:prstGeom>
          <a:solidFill>
            <a:schemeClr val="accent2"/>
          </a:solidFill>
          <a:ln w="28575" cap="flat" cmpd="sng">
            <a:solidFill>
              <a:schemeClr val="accent2"/>
            </a:solidFill>
            <a:prstDash val="solid"/>
            <a:round/>
            <a:headEnd type="none" w="sm" len="sm"/>
            <a:tailEnd type="none" w="sm" len="sm"/>
          </a:ln>
        </p:spPr>
        <p:txBody>
          <a:bodyPr spcFirstLastPara="1" wrap="square" lIns="36000" tIns="0" rIns="36000" bIns="0" anchor="ctr" anchorCtr="0">
            <a:noAutofit/>
          </a:bodyPr>
          <a:lstStyle>
            <a:lvl1pPr lvl="0" rtl="0">
              <a:spcBef>
                <a:spcPts val="1067"/>
              </a:spcBef>
              <a:spcAft>
                <a:spcPts val="0"/>
              </a:spcAft>
              <a:buSzPts val="900"/>
              <a:buFont typeface="Inter Medium"/>
              <a:buNone/>
              <a:defRPr sz="1200">
                <a:latin typeface="Inter Medium"/>
                <a:ea typeface="Inter Medium"/>
                <a:cs typeface="Inter Medium"/>
                <a:sym typeface="Inter Medium"/>
              </a:defRPr>
            </a:lvl1pPr>
            <a:lvl2pPr lvl="1" rtl="0">
              <a:spcBef>
                <a:spcPts val="533"/>
              </a:spcBef>
              <a:spcAft>
                <a:spcPts val="0"/>
              </a:spcAft>
              <a:buSzPts val="500"/>
              <a:buNone/>
              <a:defRPr sz="1200"/>
            </a:lvl2pPr>
            <a:lvl3pPr lvl="2" rtl="0">
              <a:spcBef>
                <a:spcPts val="533"/>
              </a:spcBef>
              <a:spcAft>
                <a:spcPts val="0"/>
              </a:spcAft>
              <a:buSzPts val="500"/>
              <a:buNone/>
              <a:defRPr sz="1200"/>
            </a:lvl3pPr>
            <a:lvl4pPr lvl="3" rtl="0">
              <a:spcBef>
                <a:spcPts val="533"/>
              </a:spcBef>
              <a:spcAft>
                <a:spcPts val="0"/>
              </a:spcAft>
              <a:buSzPts val="500"/>
              <a:buNone/>
              <a:defRPr sz="1200"/>
            </a:lvl4pPr>
            <a:lvl5pPr lvl="4" rtl="0">
              <a:spcBef>
                <a:spcPts val="533"/>
              </a:spcBef>
              <a:spcAft>
                <a:spcPts val="0"/>
              </a:spcAft>
              <a:buSzPts val="500"/>
              <a:buNone/>
              <a:defRPr sz="1200"/>
            </a:lvl5pPr>
            <a:lvl6pPr lvl="5" rtl="0">
              <a:spcBef>
                <a:spcPts val="533"/>
              </a:spcBef>
              <a:spcAft>
                <a:spcPts val="0"/>
              </a:spcAft>
              <a:buSzPts val="500"/>
              <a:buNone/>
              <a:defRPr sz="1200"/>
            </a:lvl6pPr>
            <a:lvl7pPr lvl="6" rtl="0">
              <a:spcBef>
                <a:spcPts val="533"/>
              </a:spcBef>
              <a:spcAft>
                <a:spcPts val="0"/>
              </a:spcAft>
              <a:buSzPts val="500"/>
              <a:buNone/>
              <a:defRPr sz="1200"/>
            </a:lvl7pPr>
            <a:lvl8pPr lvl="7" rtl="0">
              <a:spcBef>
                <a:spcPts val="533"/>
              </a:spcBef>
              <a:spcAft>
                <a:spcPts val="0"/>
              </a:spcAft>
              <a:buSzPts val="500"/>
              <a:buNone/>
              <a:defRPr sz="1200"/>
            </a:lvl8pPr>
            <a:lvl9pPr lvl="8" rtl="0">
              <a:spcBef>
                <a:spcPts val="533"/>
              </a:spcBef>
              <a:spcAft>
                <a:spcPts val="0"/>
              </a:spcAft>
              <a:buSzPts val="500"/>
              <a:buNone/>
              <a:defRPr sz="1200"/>
            </a:lvl9pPr>
          </a:lstStyle>
          <a:p>
            <a:endParaRPr/>
          </a:p>
        </p:txBody>
      </p:sp>
    </p:spTree>
    <p:extLst>
      <p:ext uri="{BB962C8B-B14F-4D97-AF65-F5344CB8AC3E}">
        <p14:creationId xmlns:p14="http://schemas.microsoft.com/office/powerpoint/2010/main" val="264730293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matchingName="Agenda small List  - Lunar">
  <p:cSld name="Agenda small List  - Lunar">
    <p:bg>
      <p:bgPr>
        <a:solidFill>
          <a:schemeClr val="lt2"/>
        </a:solidFill>
        <a:effectLst/>
      </p:bgPr>
    </p:bg>
    <p:spTree>
      <p:nvGrpSpPr>
        <p:cNvPr id="1" name="Shape 1685"/>
        <p:cNvGrpSpPr/>
        <p:nvPr/>
      </p:nvGrpSpPr>
      <p:grpSpPr>
        <a:xfrm>
          <a:off x="0" y="0"/>
          <a:ext cx="0" cy="0"/>
          <a:chOff x="0" y="0"/>
          <a:chExt cx="0" cy="0"/>
        </a:xfrm>
      </p:grpSpPr>
      <p:sp>
        <p:nvSpPr>
          <p:cNvPr id="1686" name="Google Shape;1686;p42"/>
          <p:cNvSpPr txBox="1">
            <a:spLocks noGrp="1"/>
          </p:cNvSpPr>
          <p:nvPr>
            <p:ph type="subTitle" idx="1"/>
          </p:nvPr>
        </p:nvSpPr>
        <p:spPr>
          <a:xfrm>
            <a:off x="481600" y="2309467"/>
            <a:ext cx="3912400" cy="1612800"/>
          </a:xfrm>
          <a:prstGeom prst="rect">
            <a:avLst/>
          </a:prstGeom>
        </p:spPr>
        <p:txBody>
          <a:bodyPr spcFirstLastPara="1" wrap="square" lIns="0" tIns="34275" rIns="68575" bIns="34275" anchor="t" anchorCtr="0">
            <a:normAutofit/>
          </a:bodyPr>
          <a:lstStyle>
            <a:lvl1pPr lvl="0" rtl="0">
              <a:spcBef>
                <a:spcPts val="1067"/>
              </a:spcBef>
              <a:spcAft>
                <a:spcPts val="0"/>
              </a:spcAft>
              <a:buSzPts val="4600"/>
              <a:buFont typeface="Inter Medium"/>
              <a:buNone/>
              <a:defRPr sz="6133">
                <a:latin typeface="Inter Medium"/>
                <a:ea typeface="Inter Medium"/>
                <a:cs typeface="Inter Medium"/>
                <a:sym typeface="Inter Medium"/>
              </a:defRPr>
            </a:lvl1pPr>
            <a:lvl2pPr lvl="1" rtl="0">
              <a:spcBef>
                <a:spcPts val="533"/>
              </a:spcBef>
              <a:spcAft>
                <a:spcPts val="0"/>
              </a:spcAft>
              <a:buSzPts val="1200"/>
              <a:buNone/>
              <a:defRPr/>
            </a:lvl2pPr>
            <a:lvl3pPr lvl="2" rtl="0">
              <a:spcBef>
                <a:spcPts val="533"/>
              </a:spcBef>
              <a:spcAft>
                <a:spcPts val="0"/>
              </a:spcAft>
              <a:buSzPts val="1200"/>
              <a:buNone/>
              <a:defRPr/>
            </a:lvl3pPr>
            <a:lvl4pPr lvl="3" rtl="0">
              <a:spcBef>
                <a:spcPts val="533"/>
              </a:spcBef>
              <a:spcAft>
                <a:spcPts val="0"/>
              </a:spcAft>
              <a:buSzPts val="1200"/>
              <a:buNone/>
              <a:defRPr/>
            </a:lvl4pPr>
            <a:lvl5pPr lvl="4" rtl="0">
              <a:spcBef>
                <a:spcPts val="533"/>
              </a:spcBef>
              <a:spcAft>
                <a:spcPts val="0"/>
              </a:spcAft>
              <a:buSzPts val="1200"/>
              <a:buNone/>
              <a:defRPr/>
            </a:lvl5pPr>
            <a:lvl6pPr lvl="5" rtl="0">
              <a:spcBef>
                <a:spcPts val="533"/>
              </a:spcBef>
              <a:spcAft>
                <a:spcPts val="0"/>
              </a:spcAft>
              <a:buSzPts val="1200"/>
              <a:buNone/>
              <a:defRPr/>
            </a:lvl6pPr>
            <a:lvl7pPr lvl="6" rtl="0">
              <a:spcBef>
                <a:spcPts val="533"/>
              </a:spcBef>
              <a:spcAft>
                <a:spcPts val="0"/>
              </a:spcAft>
              <a:buSzPts val="1200"/>
              <a:buNone/>
              <a:defRPr/>
            </a:lvl7pPr>
            <a:lvl8pPr lvl="7" rtl="0">
              <a:spcBef>
                <a:spcPts val="533"/>
              </a:spcBef>
              <a:spcAft>
                <a:spcPts val="0"/>
              </a:spcAft>
              <a:buSzPts val="1200"/>
              <a:buNone/>
              <a:defRPr/>
            </a:lvl8pPr>
            <a:lvl9pPr lvl="8" rtl="0">
              <a:spcBef>
                <a:spcPts val="533"/>
              </a:spcBef>
              <a:spcAft>
                <a:spcPts val="0"/>
              </a:spcAft>
              <a:buSzPts val="1200"/>
              <a:buNone/>
              <a:defRPr/>
            </a:lvl9pPr>
          </a:lstStyle>
          <a:p>
            <a:endParaRPr/>
          </a:p>
        </p:txBody>
      </p:sp>
      <p:sp>
        <p:nvSpPr>
          <p:cNvPr id="1687" name="Google Shape;1687;p42"/>
          <p:cNvSpPr txBox="1">
            <a:spLocks noGrp="1"/>
          </p:cNvSpPr>
          <p:nvPr>
            <p:ph type="title"/>
          </p:nvPr>
        </p:nvSpPr>
        <p:spPr>
          <a:xfrm>
            <a:off x="951700" y="359997"/>
            <a:ext cx="10515600" cy="975200"/>
          </a:xfrm>
          <a:prstGeom prst="rect">
            <a:avLst/>
          </a:prstGeom>
          <a:noFill/>
          <a:ln>
            <a:noFill/>
          </a:ln>
        </p:spPr>
        <p:txBody>
          <a:bodyPr spcFirstLastPara="1" wrap="square" lIns="0" tIns="0" rIns="68575" bIns="34275" anchor="t" anchorCtr="0">
            <a:noAutofit/>
          </a:bodyPr>
          <a:lstStyle>
            <a:lvl1pPr lvl="0" algn="l" rtl="0">
              <a:lnSpc>
                <a:spcPct val="90000"/>
              </a:lnSpc>
              <a:spcBef>
                <a:spcPts val="0"/>
              </a:spcBef>
              <a:spcAft>
                <a:spcPts val="0"/>
              </a:spcAft>
              <a:buClr>
                <a:schemeClr val="dk1"/>
              </a:buClr>
              <a:buSzPts val="2400"/>
              <a:buFont typeface="Inter Medium"/>
              <a:buNone/>
              <a:defRPr sz="3200">
                <a:latin typeface="Inter Medium"/>
                <a:ea typeface="Inter Medium"/>
                <a:cs typeface="Inter Medium"/>
                <a:sym typeface="Inter Medium"/>
              </a:defRPr>
            </a:lvl1pPr>
            <a:lvl2pPr lvl="1" rtl="0">
              <a:spcBef>
                <a:spcPts val="0"/>
              </a:spcBef>
              <a:spcAft>
                <a:spcPts val="0"/>
              </a:spcAft>
              <a:buSzPts val="1100"/>
              <a:buNone/>
              <a:defRPr b="1"/>
            </a:lvl2pPr>
            <a:lvl3pPr lvl="2" rtl="0">
              <a:spcBef>
                <a:spcPts val="0"/>
              </a:spcBef>
              <a:spcAft>
                <a:spcPts val="0"/>
              </a:spcAft>
              <a:buSzPts val="1100"/>
              <a:buNone/>
              <a:defRPr b="1"/>
            </a:lvl3pPr>
            <a:lvl4pPr lvl="3" rtl="0">
              <a:spcBef>
                <a:spcPts val="0"/>
              </a:spcBef>
              <a:spcAft>
                <a:spcPts val="0"/>
              </a:spcAft>
              <a:buSzPts val="1100"/>
              <a:buNone/>
              <a:defRPr b="1"/>
            </a:lvl4pPr>
            <a:lvl5pPr lvl="4" rtl="0">
              <a:spcBef>
                <a:spcPts val="0"/>
              </a:spcBef>
              <a:spcAft>
                <a:spcPts val="0"/>
              </a:spcAft>
              <a:buSzPts val="1100"/>
              <a:buNone/>
              <a:defRPr b="1"/>
            </a:lvl5pPr>
            <a:lvl6pPr lvl="5" rtl="0">
              <a:spcBef>
                <a:spcPts val="0"/>
              </a:spcBef>
              <a:spcAft>
                <a:spcPts val="0"/>
              </a:spcAft>
              <a:buSzPts val="1100"/>
              <a:buNone/>
              <a:defRPr b="1"/>
            </a:lvl6pPr>
            <a:lvl7pPr lvl="6" rtl="0">
              <a:spcBef>
                <a:spcPts val="0"/>
              </a:spcBef>
              <a:spcAft>
                <a:spcPts val="0"/>
              </a:spcAft>
              <a:buSzPts val="1100"/>
              <a:buNone/>
              <a:defRPr b="1"/>
            </a:lvl7pPr>
            <a:lvl8pPr lvl="7" rtl="0">
              <a:spcBef>
                <a:spcPts val="0"/>
              </a:spcBef>
              <a:spcAft>
                <a:spcPts val="0"/>
              </a:spcAft>
              <a:buSzPts val="1100"/>
              <a:buNone/>
              <a:defRPr b="1"/>
            </a:lvl8pPr>
            <a:lvl9pPr lvl="8" rtl="0">
              <a:spcBef>
                <a:spcPts val="0"/>
              </a:spcBef>
              <a:spcAft>
                <a:spcPts val="0"/>
              </a:spcAft>
              <a:buSzPts val="1100"/>
              <a:buNone/>
              <a:defRPr b="1"/>
            </a:lvl9pPr>
          </a:lstStyle>
          <a:p>
            <a:endParaRPr/>
          </a:p>
        </p:txBody>
      </p:sp>
      <p:sp>
        <p:nvSpPr>
          <p:cNvPr id="1688" name="Google Shape;1688;p42"/>
          <p:cNvSpPr txBox="1">
            <a:spLocks noGrp="1"/>
          </p:cNvSpPr>
          <p:nvPr>
            <p:ph type="sldNum" idx="12"/>
          </p:nvPr>
        </p:nvSpPr>
        <p:spPr>
          <a:xfrm>
            <a:off x="10978812" y="5993647"/>
            <a:ext cx="731600" cy="524800"/>
          </a:xfrm>
          <a:prstGeom prst="rect">
            <a:avLst/>
          </a:prstGeom>
        </p:spPr>
        <p:txBody>
          <a:bodyPr spcFirstLastPara="1" wrap="square" lIns="91425" tIns="91425" rIns="0" bIns="0" anchor="b" anchorCtr="0">
            <a:noAutofit/>
          </a:bodyPr>
          <a:lstStyle>
            <a:lvl1pPr lvl="0" algn="r" rtl="0">
              <a:buNone/>
              <a:defRPr sz="667">
                <a:solidFill>
                  <a:schemeClr val="dk2"/>
                </a:solidFill>
                <a:latin typeface="Inter"/>
                <a:ea typeface="Inter"/>
                <a:cs typeface="Inter"/>
                <a:sym typeface="Inter"/>
              </a:defRPr>
            </a:lvl1pPr>
            <a:lvl2pPr lvl="1" algn="r" rtl="0">
              <a:buNone/>
              <a:defRPr sz="667">
                <a:solidFill>
                  <a:schemeClr val="dk2"/>
                </a:solidFill>
                <a:latin typeface="Inter"/>
                <a:ea typeface="Inter"/>
                <a:cs typeface="Inter"/>
                <a:sym typeface="Inter"/>
              </a:defRPr>
            </a:lvl2pPr>
            <a:lvl3pPr lvl="2" algn="r" rtl="0">
              <a:buNone/>
              <a:defRPr sz="667">
                <a:solidFill>
                  <a:schemeClr val="dk2"/>
                </a:solidFill>
                <a:latin typeface="Inter"/>
                <a:ea typeface="Inter"/>
                <a:cs typeface="Inter"/>
                <a:sym typeface="Inter"/>
              </a:defRPr>
            </a:lvl3pPr>
            <a:lvl4pPr lvl="3" algn="r" rtl="0">
              <a:buNone/>
              <a:defRPr sz="667">
                <a:solidFill>
                  <a:schemeClr val="dk2"/>
                </a:solidFill>
                <a:latin typeface="Inter"/>
                <a:ea typeface="Inter"/>
                <a:cs typeface="Inter"/>
                <a:sym typeface="Inter"/>
              </a:defRPr>
            </a:lvl4pPr>
            <a:lvl5pPr lvl="4" algn="r" rtl="0">
              <a:buNone/>
              <a:defRPr sz="667">
                <a:solidFill>
                  <a:schemeClr val="dk2"/>
                </a:solidFill>
                <a:latin typeface="Inter"/>
                <a:ea typeface="Inter"/>
                <a:cs typeface="Inter"/>
                <a:sym typeface="Inter"/>
              </a:defRPr>
            </a:lvl5pPr>
            <a:lvl6pPr lvl="5" algn="r" rtl="0">
              <a:buNone/>
              <a:defRPr sz="667">
                <a:solidFill>
                  <a:schemeClr val="dk2"/>
                </a:solidFill>
                <a:latin typeface="Inter"/>
                <a:ea typeface="Inter"/>
                <a:cs typeface="Inter"/>
                <a:sym typeface="Inter"/>
              </a:defRPr>
            </a:lvl6pPr>
            <a:lvl7pPr lvl="6" algn="r" rtl="0">
              <a:buNone/>
              <a:defRPr sz="667">
                <a:solidFill>
                  <a:schemeClr val="dk2"/>
                </a:solidFill>
                <a:latin typeface="Inter"/>
                <a:ea typeface="Inter"/>
                <a:cs typeface="Inter"/>
                <a:sym typeface="Inter"/>
              </a:defRPr>
            </a:lvl7pPr>
            <a:lvl8pPr lvl="7" algn="r" rtl="0">
              <a:buNone/>
              <a:defRPr sz="667">
                <a:solidFill>
                  <a:schemeClr val="dk2"/>
                </a:solidFill>
                <a:latin typeface="Inter"/>
                <a:ea typeface="Inter"/>
                <a:cs typeface="Inter"/>
                <a:sym typeface="Inter"/>
              </a:defRPr>
            </a:lvl8pPr>
            <a:lvl9pPr lvl="8" algn="r" rtl="0">
              <a:buNone/>
              <a:defRPr sz="667">
                <a:solidFill>
                  <a:schemeClr val="dk2"/>
                </a:solidFill>
                <a:latin typeface="Inter"/>
                <a:ea typeface="Inter"/>
                <a:cs typeface="Inter"/>
                <a:sym typeface="Inter"/>
              </a:defRPr>
            </a:lvl9pPr>
          </a:lstStyle>
          <a:p>
            <a:fld id="{00000000-1234-1234-1234-123412341234}" type="slidenum">
              <a:rPr lang="en-GB" smtClean="0"/>
              <a:pPr/>
              <a:t>‹#›</a:t>
            </a:fld>
            <a:endParaRPr lang="en-GB"/>
          </a:p>
        </p:txBody>
      </p:sp>
      <p:sp>
        <p:nvSpPr>
          <p:cNvPr id="1689" name="Google Shape;1689;p42"/>
          <p:cNvSpPr txBox="1"/>
          <p:nvPr/>
        </p:nvSpPr>
        <p:spPr>
          <a:xfrm>
            <a:off x="481600" y="6245247"/>
            <a:ext cx="1288400" cy="273200"/>
          </a:xfrm>
          <a:prstGeom prst="rect">
            <a:avLst/>
          </a:prstGeom>
          <a:noFill/>
          <a:ln>
            <a:noFill/>
          </a:ln>
        </p:spPr>
        <p:txBody>
          <a:bodyPr spcFirstLastPara="1" wrap="square" lIns="0" tIns="0" rIns="0" bIns="0" anchor="b" anchorCtr="0">
            <a:noAutofit/>
          </a:bodyPr>
          <a:lstStyle/>
          <a:p>
            <a:pPr marL="0" lvl="0" indent="0" algn="l" rtl="0">
              <a:spcBef>
                <a:spcPts val="0"/>
              </a:spcBef>
              <a:spcAft>
                <a:spcPts val="0"/>
              </a:spcAft>
              <a:buNone/>
            </a:pPr>
            <a:r>
              <a:rPr lang="en-GB" sz="667">
                <a:solidFill>
                  <a:schemeClr val="dk2"/>
                </a:solidFill>
                <a:latin typeface="Inter"/>
                <a:ea typeface="Inter"/>
                <a:cs typeface="Inter"/>
                <a:sym typeface="Inter"/>
              </a:rPr>
              <a:t>Multiverse</a:t>
            </a:r>
            <a:endParaRPr sz="667">
              <a:solidFill>
                <a:schemeClr val="dk2"/>
              </a:solidFill>
              <a:latin typeface="Inter"/>
              <a:ea typeface="Inter"/>
              <a:cs typeface="Inter"/>
              <a:sym typeface="Inter"/>
            </a:endParaRPr>
          </a:p>
        </p:txBody>
      </p:sp>
      <p:sp>
        <p:nvSpPr>
          <p:cNvPr id="1690" name="Google Shape;1690;p42"/>
          <p:cNvSpPr/>
          <p:nvPr/>
        </p:nvSpPr>
        <p:spPr>
          <a:xfrm>
            <a:off x="481601" y="414630"/>
            <a:ext cx="349111" cy="305471"/>
          </a:xfrm>
          <a:custGeom>
            <a:avLst/>
            <a:gdLst/>
            <a:ahLst/>
            <a:cxnLst/>
            <a:rect l="l" t="t" r="r" b="b"/>
            <a:pathLst>
              <a:path w="1586865" h="1388506" extrusionOk="0">
                <a:moveTo>
                  <a:pt x="1083683" y="969931"/>
                </a:moveTo>
                <a:lnTo>
                  <a:pt x="1083683" y="579692"/>
                </a:lnTo>
                <a:lnTo>
                  <a:pt x="849297" y="969931"/>
                </a:lnTo>
                <a:lnTo>
                  <a:pt x="848892" y="969931"/>
                </a:lnTo>
                <a:cubicBezTo>
                  <a:pt x="848892" y="969931"/>
                  <a:pt x="848892" y="969931"/>
                  <a:pt x="848892" y="969931"/>
                </a:cubicBezTo>
                <a:lnTo>
                  <a:pt x="738783" y="969931"/>
                </a:lnTo>
                <a:lnTo>
                  <a:pt x="738783" y="577668"/>
                </a:lnTo>
                <a:lnTo>
                  <a:pt x="549735" y="892612"/>
                </a:lnTo>
                <a:cubicBezTo>
                  <a:pt x="527876" y="929449"/>
                  <a:pt x="510873" y="958191"/>
                  <a:pt x="503992" y="969931"/>
                </a:cubicBezTo>
                <a:lnTo>
                  <a:pt x="393073" y="969931"/>
                </a:lnTo>
                <a:lnTo>
                  <a:pt x="393073" y="418576"/>
                </a:lnTo>
                <a:lnTo>
                  <a:pt x="503992" y="418576"/>
                </a:lnTo>
                <a:lnTo>
                  <a:pt x="502777" y="760643"/>
                </a:lnTo>
                <a:lnTo>
                  <a:pt x="503587" y="782098"/>
                </a:lnTo>
                <a:lnTo>
                  <a:pt x="721781" y="418981"/>
                </a:lnTo>
                <a:lnTo>
                  <a:pt x="721781" y="418981"/>
                </a:lnTo>
                <a:lnTo>
                  <a:pt x="721781" y="418981"/>
                </a:lnTo>
                <a:lnTo>
                  <a:pt x="739188" y="418981"/>
                </a:lnTo>
                <a:lnTo>
                  <a:pt x="847678" y="418981"/>
                </a:lnTo>
                <a:cubicBezTo>
                  <a:pt x="847678" y="418981"/>
                  <a:pt x="848487" y="722995"/>
                  <a:pt x="848892" y="783717"/>
                </a:cubicBezTo>
                <a:lnTo>
                  <a:pt x="1067895" y="418981"/>
                </a:lnTo>
                <a:lnTo>
                  <a:pt x="1067895" y="418981"/>
                </a:lnTo>
                <a:lnTo>
                  <a:pt x="1067895" y="418981"/>
                </a:lnTo>
                <a:lnTo>
                  <a:pt x="1085302" y="418981"/>
                </a:lnTo>
                <a:lnTo>
                  <a:pt x="1193387" y="418981"/>
                </a:lnTo>
                <a:lnTo>
                  <a:pt x="1193387" y="970336"/>
                </a:lnTo>
                <a:lnTo>
                  <a:pt x="1083683" y="970336"/>
                </a:lnTo>
                <a:close/>
                <a:moveTo>
                  <a:pt x="1190149" y="0"/>
                </a:moveTo>
                <a:lnTo>
                  <a:pt x="396716" y="0"/>
                </a:lnTo>
                <a:lnTo>
                  <a:pt x="0" y="694253"/>
                </a:lnTo>
                <a:lnTo>
                  <a:pt x="396716" y="1388507"/>
                </a:lnTo>
                <a:lnTo>
                  <a:pt x="1190149" y="1388507"/>
                </a:lnTo>
                <a:lnTo>
                  <a:pt x="1586865" y="694253"/>
                </a:lnTo>
                <a:lnTo>
                  <a:pt x="1190149" y="0"/>
                </a:lnTo>
                <a:close/>
              </a:path>
            </a:pathLst>
          </a:custGeom>
          <a:solidFill>
            <a:schemeClr val="dk2"/>
          </a:solidFill>
          <a:ln>
            <a:noFill/>
          </a:ln>
        </p:spPr>
        <p:txBody>
          <a:bodyPr spcFirstLastPara="1" wrap="square" lIns="91433" tIns="45700" rIns="91433" bIns="45700"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691" name="Google Shape;1691;p42"/>
          <p:cNvSpPr txBox="1">
            <a:spLocks noGrp="1"/>
          </p:cNvSpPr>
          <p:nvPr>
            <p:ph type="body" idx="2"/>
          </p:nvPr>
        </p:nvSpPr>
        <p:spPr>
          <a:xfrm>
            <a:off x="4480867" y="2309467"/>
            <a:ext cx="6581600" cy="4002400"/>
          </a:xfrm>
          <a:prstGeom prst="rect">
            <a:avLst/>
          </a:prstGeom>
          <a:noFill/>
          <a:ln>
            <a:noFill/>
          </a:ln>
        </p:spPr>
        <p:txBody>
          <a:bodyPr spcFirstLastPara="1" wrap="square" lIns="0" tIns="34275" rIns="68575" bIns="34275" anchor="t" anchorCtr="0">
            <a:noAutofit/>
          </a:bodyPr>
          <a:lstStyle>
            <a:lvl1pPr marL="609585" lvl="0" indent="-406390" algn="l" rtl="0">
              <a:lnSpc>
                <a:spcPct val="125000"/>
              </a:lnSpc>
              <a:spcBef>
                <a:spcPts val="0"/>
              </a:spcBef>
              <a:spcAft>
                <a:spcPts val="0"/>
              </a:spcAft>
              <a:buClr>
                <a:schemeClr val="dk2"/>
              </a:buClr>
              <a:buSzPts val="1200"/>
              <a:buFont typeface="Inter"/>
              <a:buChar char="●"/>
              <a:defRPr/>
            </a:lvl1pPr>
            <a:lvl2pPr marL="1219170" lvl="1" indent="-406390" algn="l" rtl="0">
              <a:lnSpc>
                <a:spcPct val="125000"/>
              </a:lnSpc>
              <a:spcBef>
                <a:spcPts val="1200"/>
              </a:spcBef>
              <a:spcAft>
                <a:spcPts val="0"/>
              </a:spcAft>
              <a:buClr>
                <a:schemeClr val="dk2"/>
              </a:buClr>
              <a:buSzPts val="1200"/>
              <a:buFont typeface="Inter"/>
              <a:buChar char="●"/>
              <a:defRPr/>
            </a:lvl2pPr>
            <a:lvl3pPr marL="1828754" lvl="2" indent="-406390" algn="l" rtl="0">
              <a:lnSpc>
                <a:spcPct val="125000"/>
              </a:lnSpc>
              <a:spcBef>
                <a:spcPts val="1200"/>
              </a:spcBef>
              <a:spcAft>
                <a:spcPts val="0"/>
              </a:spcAft>
              <a:buClr>
                <a:schemeClr val="dk2"/>
              </a:buClr>
              <a:buSzPts val="1200"/>
              <a:buFont typeface="Inter"/>
              <a:buChar char="●"/>
              <a:defRPr/>
            </a:lvl3pPr>
            <a:lvl4pPr marL="2438339" lvl="3" indent="-406390" algn="l" rtl="0">
              <a:lnSpc>
                <a:spcPct val="125000"/>
              </a:lnSpc>
              <a:spcBef>
                <a:spcPts val="1200"/>
              </a:spcBef>
              <a:spcAft>
                <a:spcPts val="0"/>
              </a:spcAft>
              <a:buClr>
                <a:schemeClr val="dk2"/>
              </a:buClr>
              <a:buSzPts val="1200"/>
              <a:buFont typeface="Inter"/>
              <a:buChar char="●"/>
              <a:defRPr/>
            </a:lvl4pPr>
            <a:lvl5pPr marL="3047924" lvl="4" indent="-406390" algn="l" rtl="0">
              <a:lnSpc>
                <a:spcPct val="125000"/>
              </a:lnSpc>
              <a:spcBef>
                <a:spcPts val="1200"/>
              </a:spcBef>
              <a:spcAft>
                <a:spcPts val="0"/>
              </a:spcAft>
              <a:buClr>
                <a:schemeClr val="dk2"/>
              </a:buClr>
              <a:buSzPts val="1200"/>
              <a:buFont typeface="Inter"/>
              <a:buChar char="●"/>
              <a:defRPr/>
            </a:lvl5pPr>
            <a:lvl6pPr marL="3657509" lvl="5" indent="-406390" algn="l" rtl="0">
              <a:lnSpc>
                <a:spcPct val="125000"/>
              </a:lnSpc>
              <a:spcBef>
                <a:spcPts val="1200"/>
              </a:spcBef>
              <a:spcAft>
                <a:spcPts val="0"/>
              </a:spcAft>
              <a:buClr>
                <a:schemeClr val="dk2"/>
              </a:buClr>
              <a:buSzPts val="1200"/>
              <a:buFont typeface="Inter"/>
              <a:buChar char="●"/>
              <a:defRPr/>
            </a:lvl6pPr>
            <a:lvl7pPr marL="4267093" lvl="6" indent="-406390" algn="l" rtl="0">
              <a:lnSpc>
                <a:spcPct val="125000"/>
              </a:lnSpc>
              <a:spcBef>
                <a:spcPts val="1200"/>
              </a:spcBef>
              <a:spcAft>
                <a:spcPts val="0"/>
              </a:spcAft>
              <a:buClr>
                <a:schemeClr val="dk2"/>
              </a:buClr>
              <a:buSzPts val="1200"/>
              <a:buFont typeface="Inter"/>
              <a:buChar char="●"/>
              <a:defRPr/>
            </a:lvl7pPr>
            <a:lvl8pPr marL="4876678" lvl="7" indent="-406390" algn="l" rtl="0">
              <a:lnSpc>
                <a:spcPct val="125000"/>
              </a:lnSpc>
              <a:spcBef>
                <a:spcPts val="1200"/>
              </a:spcBef>
              <a:spcAft>
                <a:spcPts val="0"/>
              </a:spcAft>
              <a:buClr>
                <a:schemeClr val="dk2"/>
              </a:buClr>
              <a:buSzPts val="1200"/>
              <a:buFont typeface="Inter"/>
              <a:buChar char="●"/>
              <a:defRPr/>
            </a:lvl8pPr>
            <a:lvl9pPr marL="5486263" lvl="8" indent="-406390" algn="l" rtl="0">
              <a:lnSpc>
                <a:spcPct val="125000"/>
              </a:lnSpc>
              <a:spcBef>
                <a:spcPts val="1200"/>
              </a:spcBef>
              <a:spcAft>
                <a:spcPts val="1200"/>
              </a:spcAft>
              <a:buClr>
                <a:schemeClr val="dk2"/>
              </a:buClr>
              <a:buSzPts val="1200"/>
              <a:buFont typeface="Inter"/>
              <a:buChar char="●"/>
              <a:defRPr/>
            </a:lvl9pPr>
          </a:lstStyle>
          <a:p>
            <a:endParaRPr/>
          </a:p>
        </p:txBody>
      </p:sp>
    </p:spTree>
    <p:extLst>
      <p:ext uri="{BB962C8B-B14F-4D97-AF65-F5344CB8AC3E}">
        <p14:creationId xmlns:p14="http://schemas.microsoft.com/office/powerpoint/2010/main" val="306636709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B8AB222-63A6-E5E5-B9DA-A5FB79B267A8}"/>
              </a:ext>
            </a:extLst>
          </p:cNvPr>
          <p:cNvSpPr>
            <a:spLocks noGrp="1"/>
          </p:cNvSpPr>
          <p:nvPr>
            <p:ph type="dt" sz="half" idx="10"/>
          </p:nvPr>
        </p:nvSpPr>
        <p:spPr/>
        <p:txBody>
          <a:bodyPr/>
          <a:lstStyle/>
          <a:p>
            <a:fld id="{923CFB00-16CD-4A5D-8353-B2F2FFED28E8}" type="datetimeFigureOut">
              <a:rPr lang="en-GB" smtClean="0"/>
              <a:t>23/06/2024</a:t>
            </a:fld>
            <a:endParaRPr lang="en-GB"/>
          </a:p>
        </p:txBody>
      </p:sp>
      <p:sp>
        <p:nvSpPr>
          <p:cNvPr id="3" name="Footer Placeholder 2">
            <a:extLst>
              <a:ext uri="{FF2B5EF4-FFF2-40B4-BE49-F238E27FC236}">
                <a16:creationId xmlns:a16="http://schemas.microsoft.com/office/drawing/2014/main" id="{63384836-660C-59E4-3788-EC4E10F28DC9}"/>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AE4BD0CD-DF64-41A2-B02A-8B5BA2D09F7B}"/>
              </a:ext>
            </a:extLst>
          </p:cNvPr>
          <p:cNvSpPr>
            <a:spLocks noGrp="1"/>
          </p:cNvSpPr>
          <p:nvPr>
            <p:ph type="sldNum" sz="quarter" idx="12"/>
          </p:nvPr>
        </p:nvSpPr>
        <p:spPr/>
        <p:txBody>
          <a:bodyPr/>
          <a:lstStyle/>
          <a:p>
            <a:fld id="{140D1FED-518D-4FB4-BCAB-05C56058F68A}" type="slidenum">
              <a:rPr lang="en-GB" smtClean="0"/>
              <a:t>‹#›</a:t>
            </a:fld>
            <a:endParaRPr lang="en-GB"/>
          </a:p>
        </p:txBody>
      </p:sp>
    </p:spTree>
    <p:extLst>
      <p:ext uri="{BB962C8B-B14F-4D97-AF65-F5344CB8AC3E}">
        <p14:creationId xmlns:p14="http://schemas.microsoft.com/office/powerpoint/2010/main" val="104999192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matchingName="Agenda small List  - Ultraviolet">
  <p:cSld name="Agenda small List  - Ultraviolet">
    <p:bg>
      <p:bgPr>
        <a:solidFill>
          <a:schemeClr val="dk2"/>
        </a:solidFill>
        <a:effectLst/>
      </p:bgPr>
    </p:bg>
    <p:spTree>
      <p:nvGrpSpPr>
        <p:cNvPr id="1" name="Shape 1692"/>
        <p:cNvGrpSpPr/>
        <p:nvPr/>
      </p:nvGrpSpPr>
      <p:grpSpPr>
        <a:xfrm>
          <a:off x="0" y="0"/>
          <a:ext cx="0" cy="0"/>
          <a:chOff x="0" y="0"/>
          <a:chExt cx="0" cy="0"/>
        </a:xfrm>
      </p:grpSpPr>
      <p:sp>
        <p:nvSpPr>
          <p:cNvPr id="1693" name="Google Shape;1693;p43"/>
          <p:cNvSpPr txBox="1">
            <a:spLocks noGrp="1"/>
          </p:cNvSpPr>
          <p:nvPr>
            <p:ph type="subTitle" idx="1"/>
          </p:nvPr>
        </p:nvSpPr>
        <p:spPr>
          <a:xfrm>
            <a:off x="481600" y="2309467"/>
            <a:ext cx="3912400" cy="1612800"/>
          </a:xfrm>
          <a:prstGeom prst="rect">
            <a:avLst/>
          </a:prstGeom>
        </p:spPr>
        <p:txBody>
          <a:bodyPr spcFirstLastPara="1" wrap="square" lIns="0" tIns="34275" rIns="68575" bIns="34275" anchor="t" anchorCtr="0">
            <a:normAutofit/>
          </a:bodyPr>
          <a:lstStyle>
            <a:lvl1pPr lvl="0" rtl="0">
              <a:spcBef>
                <a:spcPts val="1067"/>
              </a:spcBef>
              <a:spcAft>
                <a:spcPts val="0"/>
              </a:spcAft>
              <a:buClr>
                <a:schemeClr val="lt1"/>
              </a:buClr>
              <a:buSzPts val="4600"/>
              <a:buFont typeface="Inter Medium"/>
              <a:buNone/>
              <a:defRPr sz="6133">
                <a:solidFill>
                  <a:schemeClr val="lt1"/>
                </a:solidFill>
                <a:latin typeface="Inter Medium"/>
                <a:ea typeface="Inter Medium"/>
                <a:cs typeface="Inter Medium"/>
                <a:sym typeface="Inter Medium"/>
              </a:defRPr>
            </a:lvl1pPr>
            <a:lvl2pPr lvl="1" rtl="0">
              <a:spcBef>
                <a:spcPts val="533"/>
              </a:spcBef>
              <a:spcAft>
                <a:spcPts val="0"/>
              </a:spcAft>
              <a:buClr>
                <a:schemeClr val="lt1"/>
              </a:buClr>
              <a:buSzPts val="1200"/>
              <a:buNone/>
              <a:defRPr>
                <a:solidFill>
                  <a:schemeClr val="lt1"/>
                </a:solidFill>
              </a:defRPr>
            </a:lvl2pPr>
            <a:lvl3pPr lvl="2" rtl="0">
              <a:spcBef>
                <a:spcPts val="533"/>
              </a:spcBef>
              <a:spcAft>
                <a:spcPts val="0"/>
              </a:spcAft>
              <a:buClr>
                <a:schemeClr val="lt1"/>
              </a:buClr>
              <a:buSzPts val="1200"/>
              <a:buNone/>
              <a:defRPr>
                <a:solidFill>
                  <a:schemeClr val="lt1"/>
                </a:solidFill>
              </a:defRPr>
            </a:lvl3pPr>
            <a:lvl4pPr lvl="3" rtl="0">
              <a:spcBef>
                <a:spcPts val="533"/>
              </a:spcBef>
              <a:spcAft>
                <a:spcPts val="0"/>
              </a:spcAft>
              <a:buClr>
                <a:schemeClr val="lt1"/>
              </a:buClr>
              <a:buSzPts val="1200"/>
              <a:buNone/>
              <a:defRPr>
                <a:solidFill>
                  <a:schemeClr val="lt1"/>
                </a:solidFill>
              </a:defRPr>
            </a:lvl4pPr>
            <a:lvl5pPr lvl="4" rtl="0">
              <a:spcBef>
                <a:spcPts val="533"/>
              </a:spcBef>
              <a:spcAft>
                <a:spcPts val="0"/>
              </a:spcAft>
              <a:buClr>
                <a:schemeClr val="lt1"/>
              </a:buClr>
              <a:buSzPts val="1200"/>
              <a:buNone/>
              <a:defRPr>
                <a:solidFill>
                  <a:schemeClr val="lt1"/>
                </a:solidFill>
              </a:defRPr>
            </a:lvl5pPr>
            <a:lvl6pPr lvl="5" rtl="0">
              <a:spcBef>
                <a:spcPts val="533"/>
              </a:spcBef>
              <a:spcAft>
                <a:spcPts val="0"/>
              </a:spcAft>
              <a:buClr>
                <a:schemeClr val="lt1"/>
              </a:buClr>
              <a:buSzPts val="1200"/>
              <a:buNone/>
              <a:defRPr>
                <a:solidFill>
                  <a:schemeClr val="lt1"/>
                </a:solidFill>
              </a:defRPr>
            </a:lvl6pPr>
            <a:lvl7pPr lvl="6" rtl="0">
              <a:spcBef>
                <a:spcPts val="533"/>
              </a:spcBef>
              <a:spcAft>
                <a:spcPts val="0"/>
              </a:spcAft>
              <a:buClr>
                <a:schemeClr val="lt1"/>
              </a:buClr>
              <a:buSzPts val="1200"/>
              <a:buNone/>
              <a:defRPr>
                <a:solidFill>
                  <a:schemeClr val="lt1"/>
                </a:solidFill>
              </a:defRPr>
            </a:lvl7pPr>
            <a:lvl8pPr lvl="7" rtl="0">
              <a:spcBef>
                <a:spcPts val="533"/>
              </a:spcBef>
              <a:spcAft>
                <a:spcPts val="0"/>
              </a:spcAft>
              <a:buClr>
                <a:schemeClr val="lt1"/>
              </a:buClr>
              <a:buSzPts val="1200"/>
              <a:buNone/>
              <a:defRPr>
                <a:solidFill>
                  <a:schemeClr val="lt1"/>
                </a:solidFill>
              </a:defRPr>
            </a:lvl8pPr>
            <a:lvl9pPr lvl="8" rtl="0">
              <a:spcBef>
                <a:spcPts val="533"/>
              </a:spcBef>
              <a:spcAft>
                <a:spcPts val="0"/>
              </a:spcAft>
              <a:buClr>
                <a:schemeClr val="lt1"/>
              </a:buClr>
              <a:buSzPts val="1200"/>
              <a:buNone/>
              <a:defRPr>
                <a:solidFill>
                  <a:schemeClr val="lt1"/>
                </a:solidFill>
              </a:defRPr>
            </a:lvl9pPr>
          </a:lstStyle>
          <a:p>
            <a:endParaRPr/>
          </a:p>
        </p:txBody>
      </p:sp>
      <p:sp>
        <p:nvSpPr>
          <p:cNvPr id="1694" name="Google Shape;1694;p43"/>
          <p:cNvSpPr txBox="1">
            <a:spLocks noGrp="1"/>
          </p:cNvSpPr>
          <p:nvPr>
            <p:ph type="title"/>
          </p:nvPr>
        </p:nvSpPr>
        <p:spPr>
          <a:xfrm>
            <a:off x="951700" y="359997"/>
            <a:ext cx="10515600" cy="975200"/>
          </a:xfrm>
          <a:prstGeom prst="rect">
            <a:avLst/>
          </a:prstGeom>
          <a:noFill/>
          <a:ln>
            <a:noFill/>
          </a:ln>
        </p:spPr>
        <p:txBody>
          <a:bodyPr spcFirstLastPara="1" wrap="square" lIns="0" tIns="0" rIns="68575" bIns="34275" anchor="t" anchorCtr="0">
            <a:noAutofit/>
          </a:bodyPr>
          <a:lstStyle>
            <a:lvl1pPr lvl="0" algn="l" rtl="0">
              <a:lnSpc>
                <a:spcPct val="90000"/>
              </a:lnSpc>
              <a:spcBef>
                <a:spcPts val="0"/>
              </a:spcBef>
              <a:spcAft>
                <a:spcPts val="0"/>
              </a:spcAft>
              <a:buClr>
                <a:schemeClr val="lt1"/>
              </a:buClr>
              <a:buSzPts val="2400"/>
              <a:buFont typeface="Inter Medium"/>
              <a:buNone/>
              <a:defRPr sz="3200">
                <a:solidFill>
                  <a:schemeClr val="lt1"/>
                </a:solidFill>
                <a:latin typeface="Inter Medium"/>
                <a:ea typeface="Inter Medium"/>
                <a:cs typeface="Inter Medium"/>
                <a:sym typeface="Inter Medium"/>
              </a:defRPr>
            </a:lvl1pPr>
            <a:lvl2pPr lvl="1" rtl="0">
              <a:spcBef>
                <a:spcPts val="0"/>
              </a:spcBef>
              <a:spcAft>
                <a:spcPts val="0"/>
              </a:spcAft>
              <a:buClr>
                <a:schemeClr val="lt1"/>
              </a:buClr>
              <a:buSzPts val="1100"/>
              <a:buNone/>
              <a:defRPr b="1">
                <a:solidFill>
                  <a:schemeClr val="lt1"/>
                </a:solidFill>
              </a:defRPr>
            </a:lvl2pPr>
            <a:lvl3pPr lvl="2" rtl="0">
              <a:spcBef>
                <a:spcPts val="0"/>
              </a:spcBef>
              <a:spcAft>
                <a:spcPts val="0"/>
              </a:spcAft>
              <a:buClr>
                <a:schemeClr val="lt1"/>
              </a:buClr>
              <a:buSzPts val="1100"/>
              <a:buNone/>
              <a:defRPr b="1">
                <a:solidFill>
                  <a:schemeClr val="lt1"/>
                </a:solidFill>
              </a:defRPr>
            </a:lvl3pPr>
            <a:lvl4pPr lvl="3" rtl="0">
              <a:spcBef>
                <a:spcPts val="0"/>
              </a:spcBef>
              <a:spcAft>
                <a:spcPts val="0"/>
              </a:spcAft>
              <a:buClr>
                <a:schemeClr val="lt1"/>
              </a:buClr>
              <a:buSzPts val="1100"/>
              <a:buNone/>
              <a:defRPr b="1">
                <a:solidFill>
                  <a:schemeClr val="lt1"/>
                </a:solidFill>
              </a:defRPr>
            </a:lvl4pPr>
            <a:lvl5pPr lvl="4" rtl="0">
              <a:spcBef>
                <a:spcPts val="0"/>
              </a:spcBef>
              <a:spcAft>
                <a:spcPts val="0"/>
              </a:spcAft>
              <a:buClr>
                <a:schemeClr val="lt1"/>
              </a:buClr>
              <a:buSzPts val="1100"/>
              <a:buNone/>
              <a:defRPr b="1">
                <a:solidFill>
                  <a:schemeClr val="lt1"/>
                </a:solidFill>
              </a:defRPr>
            </a:lvl5pPr>
            <a:lvl6pPr lvl="5" rtl="0">
              <a:spcBef>
                <a:spcPts val="0"/>
              </a:spcBef>
              <a:spcAft>
                <a:spcPts val="0"/>
              </a:spcAft>
              <a:buClr>
                <a:schemeClr val="lt1"/>
              </a:buClr>
              <a:buSzPts val="1100"/>
              <a:buNone/>
              <a:defRPr b="1">
                <a:solidFill>
                  <a:schemeClr val="lt1"/>
                </a:solidFill>
              </a:defRPr>
            </a:lvl6pPr>
            <a:lvl7pPr lvl="6" rtl="0">
              <a:spcBef>
                <a:spcPts val="0"/>
              </a:spcBef>
              <a:spcAft>
                <a:spcPts val="0"/>
              </a:spcAft>
              <a:buClr>
                <a:schemeClr val="lt1"/>
              </a:buClr>
              <a:buSzPts val="1100"/>
              <a:buNone/>
              <a:defRPr b="1">
                <a:solidFill>
                  <a:schemeClr val="lt1"/>
                </a:solidFill>
              </a:defRPr>
            </a:lvl7pPr>
            <a:lvl8pPr lvl="7" rtl="0">
              <a:spcBef>
                <a:spcPts val="0"/>
              </a:spcBef>
              <a:spcAft>
                <a:spcPts val="0"/>
              </a:spcAft>
              <a:buClr>
                <a:schemeClr val="lt1"/>
              </a:buClr>
              <a:buSzPts val="1100"/>
              <a:buNone/>
              <a:defRPr b="1">
                <a:solidFill>
                  <a:schemeClr val="lt1"/>
                </a:solidFill>
              </a:defRPr>
            </a:lvl8pPr>
            <a:lvl9pPr lvl="8" rtl="0">
              <a:spcBef>
                <a:spcPts val="0"/>
              </a:spcBef>
              <a:spcAft>
                <a:spcPts val="0"/>
              </a:spcAft>
              <a:buClr>
                <a:schemeClr val="lt1"/>
              </a:buClr>
              <a:buSzPts val="1100"/>
              <a:buNone/>
              <a:defRPr b="1">
                <a:solidFill>
                  <a:schemeClr val="lt1"/>
                </a:solidFill>
              </a:defRPr>
            </a:lvl9pPr>
          </a:lstStyle>
          <a:p>
            <a:endParaRPr/>
          </a:p>
        </p:txBody>
      </p:sp>
      <p:sp>
        <p:nvSpPr>
          <p:cNvPr id="1695" name="Google Shape;1695;p43"/>
          <p:cNvSpPr txBox="1">
            <a:spLocks noGrp="1"/>
          </p:cNvSpPr>
          <p:nvPr>
            <p:ph type="sldNum" idx="12"/>
          </p:nvPr>
        </p:nvSpPr>
        <p:spPr>
          <a:xfrm>
            <a:off x="10978812" y="5993647"/>
            <a:ext cx="731600" cy="524800"/>
          </a:xfrm>
          <a:prstGeom prst="rect">
            <a:avLst/>
          </a:prstGeom>
        </p:spPr>
        <p:txBody>
          <a:bodyPr spcFirstLastPara="1" wrap="square" lIns="91425" tIns="91425" rIns="0" bIns="0" anchor="b" anchorCtr="0">
            <a:noAutofit/>
          </a:bodyPr>
          <a:lstStyle>
            <a:lvl1pPr lvl="0" algn="r" rtl="0">
              <a:buNone/>
              <a:defRPr sz="667">
                <a:solidFill>
                  <a:schemeClr val="lt1"/>
                </a:solidFill>
                <a:latin typeface="Inter"/>
                <a:ea typeface="Inter"/>
                <a:cs typeface="Inter"/>
                <a:sym typeface="Inter"/>
              </a:defRPr>
            </a:lvl1pPr>
            <a:lvl2pPr lvl="1" algn="r" rtl="0">
              <a:buNone/>
              <a:defRPr sz="667">
                <a:solidFill>
                  <a:schemeClr val="lt1"/>
                </a:solidFill>
                <a:latin typeface="Inter"/>
                <a:ea typeface="Inter"/>
                <a:cs typeface="Inter"/>
                <a:sym typeface="Inter"/>
              </a:defRPr>
            </a:lvl2pPr>
            <a:lvl3pPr lvl="2" algn="r" rtl="0">
              <a:buNone/>
              <a:defRPr sz="667">
                <a:solidFill>
                  <a:schemeClr val="lt1"/>
                </a:solidFill>
                <a:latin typeface="Inter"/>
                <a:ea typeface="Inter"/>
                <a:cs typeface="Inter"/>
                <a:sym typeface="Inter"/>
              </a:defRPr>
            </a:lvl3pPr>
            <a:lvl4pPr lvl="3" algn="r" rtl="0">
              <a:buNone/>
              <a:defRPr sz="667">
                <a:solidFill>
                  <a:schemeClr val="lt1"/>
                </a:solidFill>
                <a:latin typeface="Inter"/>
                <a:ea typeface="Inter"/>
                <a:cs typeface="Inter"/>
                <a:sym typeface="Inter"/>
              </a:defRPr>
            </a:lvl4pPr>
            <a:lvl5pPr lvl="4" algn="r" rtl="0">
              <a:buNone/>
              <a:defRPr sz="667">
                <a:solidFill>
                  <a:schemeClr val="lt1"/>
                </a:solidFill>
                <a:latin typeface="Inter"/>
                <a:ea typeface="Inter"/>
                <a:cs typeface="Inter"/>
                <a:sym typeface="Inter"/>
              </a:defRPr>
            </a:lvl5pPr>
            <a:lvl6pPr lvl="5" algn="r" rtl="0">
              <a:buNone/>
              <a:defRPr sz="667">
                <a:solidFill>
                  <a:schemeClr val="lt1"/>
                </a:solidFill>
                <a:latin typeface="Inter"/>
                <a:ea typeface="Inter"/>
                <a:cs typeface="Inter"/>
                <a:sym typeface="Inter"/>
              </a:defRPr>
            </a:lvl6pPr>
            <a:lvl7pPr lvl="6" algn="r" rtl="0">
              <a:buNone/>
              <a:defRPr sz="667">
                <a:solidFill>
                  <a:schemeClr val="lt1"/>
                </a:solidFill>
                <a:latin typeface="Inter"/>
                <a:ea typeface="Inter"/>
                <a:cs typeface="Inter"/>
                <a:sym typeface="Inter"/>
              </a:defRPr>
            </a:lvl7pPr>
            <a:lvl8pPr lvl="7" algn="r" rtl="0">
              <a:buNone/>
              <a:defRPr sz="667">
                <a:solidFill>
                  <a:schemeClr val="lt1"/>
                </a:solidFill>
                <a:latin typeface="Inter"/>
                <a:ea typeface="Inter"/>
                <a:cs typeface="Inter"/>
                <a:sym typeface="Inter"/>
              </a:defRPr>
            </a:lvl8pPr>
            <a:lvl9pPr lvl="8" algn="r" rtl="0">
              <a:buNone/>
              <a:defRPr sz="667">
                <a:solidFill>
                  <a:schemeClr val="lt1"/>
                </a:solidFill>
                <a:latin typeface="Inter"/>
                <a:ea typeface="Inter"/>
                <a:cs typeface="Inter"/>
                <a:sym typeface="Inter"/>
              </a:defRPr>
            </a:lvl9pPr>
          </a:lstStyle>
          <a:p>
            <a:fld id="{00000000-1234-1234-1234-123412341234}" type="slidenum">
              <a:rPr lang="en-GB" smtClean="0"/>
              <a:pPr/>
              <a:t>‹#›</a:t>
            </a:fld>
            <a:endParaRPr lang="en-GB"/>
          </a:p>
        </p:txBody>
      </p:sp>
      <p:sp>
        <p:nvSpPr>
          <p:cNvPr id="1696" name="Google Shape;1696;p43"/>
          <p:cNvSpPr txBox="1"/>
          <p:nvPr/>
        </p:nvSpPr>
        <p:spPr>
          <a:xfrm>
            <a:off x="481600" y="6245247"/>
            <a:ext cx="1288400" cy="273200"/>
          </a:xfrm>
          <a:prstGeom prst="rect">
            <a:avLst/>
          </a:prstGeom>
          <a:noFill/>
          <a:ln>
            <a:noFill/>
          </a:ln>
        </p:spPr>
        <p:txBody>
          <a:bodyPr spcFirstLastPara="1" wrap="square" lIns="0" tIns="0" rIns="0" bIns="0" anchor="b" anchorCtr="0">
            <a:noAutofit/>
          </a:bodyPr>
          <a:lstStyle/>
          <a:p>
            <a:pPr marL="0" lvl="0" indent="0" algn="l" rtl="0">
              <a:spcBef>
                <a:spcPts val="0"/>
              </a:spcBef>
              <a:spcAft>
                <a:spcPts val="0"/>
              </a:spcAft>
              <a:buNone/>
            </a:pPr>
            <a:r>
              <a:rPr lang="en-GB" sz="667">
                <a:solidFill>
                  <a:schemeClr val="lt1"/>
                </a:solidFill>
                <a:latin typeface="Inter"/>
                <a:ea typeface="Inter"/>
                <a:cs typeface="Inter"/>
                <a:sym typeface="Inter"/>
              </a:rPr>
              <a:t>Multiverse</a:t>
            </a:r>
            <a:endParaRPr sz="667">
              <a:solidFill>
                <a:schemeClr val="lt1"/>
              </a:solidFill>
              <a:latin typeface="Inter"/>
              <a:ea typeface="Inter"/>
              <a:cs typeface="Inter"/>
              <a:sym typeface="Inter"/>
            </a:endParaRPr>
          </a:p>
        </p:txBody>
      </p:sp>
      <p:sp>
        <p:nvSpPr>
          <p:cNvPr id="1697" name="Google Shape;1697;p43"/>
          <p:cNvSpPr/>
          <p:nvPr/>
        </p:nvSpPr>
        <p:spPr>
          <a:xfrm>
            <a:off x="481601" y="414630"/>
            <a:ext cx="349111" cy="305471"/>
          </a:xfrm>
          <a:custGeom>
            <a:avLst/>
            <a:gdLst/>
            <a:ahLst/>
            <a:cxnLst/>
            <a:rect l="l" t="t" r="r" b="b"/>
            <a:pathLst>
              <a:path w="1586865" h="1388506" extrusionOk="0">
                <a:moveTo>
                  <a:pt x="1083683" y="969931"/>
                </a:moveTo>
                <a:lnTo>
                  <a:pt x="1083683" y="579692"/>
                </a:lnTo>
                <a:lnTo>
                  <a:pt x="849297" y="969931"/>
                </a:lnTo>
                <a:lnTo>
                  <a:pt x="848892" y="969931"/>
                </a:lnTo>
                <a:cubicBezTo>
                  <a:pt x="848892" y="969931"/>
                  <a:pt x="848892" y="969931"/>
                  <a:pt x="848892" y="969931"/>
                </a:cubicBezTo>
                <a:lnTo>
                  <a:pt x="738783" y="969931"/>
                </a:lnTo>
                <a:lnTo>
                  <a:pt x="738783" y="577668"/>
                </a:lnTo>
                <a:lnTo>
                  <a:pt x="549735" y="892612"/>
                </a:lnTo>
                <a:cubicBezTo>
                  <a:pt x="527876" y="929449"/>
                  <a:pt x="510873" y="958191"/>
                  <a:pt x="503992" y="969931"/>
                </a:cubicBezTo>
                <a:lnTo>
                  <a:pt x="393073" y="969931"/>
                </a:lnTo>
                <a:lnTo>
                  <a:pt x="393073" y="418576"/>
                </a:lnTo>
                <a:lnTo>
                  <a:pt x="503992" y="418576"/>
                </a:lnTo>
                <a:lnTo>
                  <a:pt x="502777" y="760643"/>
                </a:lnTo>
                <a:lnTo>
                  <a:pt x="503587" y="782098"/>
                </a:lnTo>
                <a:lnTo>
                  <a:pt x="721781" y="418981"/>
                </a:lnTo>
                <a:lnTo>
                  <a:pt x="721781" y="418981"/>
                </a:lnTo>
                <a:lnTo>
                  <a:pt x="721781" y="418981"/>
                </a:lnTo>
                <a:lnTo>
                  <a:pt x="739188" y="418981"/>
                </a:lnTo>
                <a:lnTo>
                  <a:pt x="847678" y="418981"/>
                </a:lnTo>
                <a:cubicBezTo>
                  <a:pt x="847678" y="418981"/>
                  <a:pt x="848487" y="722995"/>
                  <a:pt x="848892" y="783717"/>
                </a:cubicBezTo>
                <a:lnTo>
                  <a:pt x="1067895" y="418981"/>
                </a:lnTo>
                <a:lnTo>
                  <a:pt x="1067895" y="418981"/>
                </a:lnTo>
                <a:lnTo>
                  <a:pt x="1067895" y="418981"/>
                </a:lnTo>
                <a:lnTo>
                  <a:pt x="1085302" y="418981"/>
                </a:lnTo>
                <a:lnTo>
                  <a:pt x="1193387" y="418981"/>
                </a:lnTo>
                <a:lnTo>
                  <a:pt x="1193387" y="970336"/>
                </a:lnTo>
                <a:lnTo>
                  <a:pt x="1083683" y="970336"/>
                </a:lnTo>
                <a:close/>
                <a:moveTo>
                  <a:pt x="1190149" y="0"/>
                </a:moveTo>
                <a:lnTo>
                  <a:pt x="396716" y="0"/>
                </a:lnTo>
                <a:lnTo>
                  <a:pt x="0" y="694253"/>
                </a:lnTo>
                <a:lnTo>
                  <a:pt x="396716" y="1388507"/>
                </a:lnTo>
                <a:lnTo>
                  <a:pt x="1190149" y="1388507"/>
                </a:lnTo>
                <a:lnTo>
                  <a:pt x="1586865" y="694253"/>
                </a:lnTo>
                <a:lnTo>
                  <a:pt x="1190149" y="0"/>
                </a:lnTo>
                <a:close/>
              </a:path>
            </a:pathLst>
          </a:custGeom>
          <a:solidFill>
            <a:schemeClr val="lt1"/>
          </a:solidFill>
          <a:ln>
            <a:noFill/>
          </a:ln>
        </p:spPr>
        <p:txBody>
          <a:bodyPr spcFirstLastPara="1" wrap="square" lIns="91433" tIns="45700" rIns="91433" bIns="45700"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698" name="Google Shape;1698;p43"/>
          <p:cNvSpPr txBox="1">
            <a:spLocks noGrp="1"/>
          </p:cNvSpPr>
          <p:nvPr>
            <p:ph type="body" idx="2"/>
          </p:nvPr>
        </p:nvSpPr>
        <p:spPr>
          <a:xfrm>
            <a:off x="4242500" y="2309467"/>
            <a:ext cx="6581600" cy="4002400"/>
          </a:xfrm>
          <a:prstGeom prst="rect">
            <a:avLst/>
          </a:prstGeom>
          <a:noFill/>
          <a:ln>
            <a:noFill/>
          </a:ln>
        </p:spPr>
        <p:txBody>
          <a:bodyPr spcFirstLastPara="1" wrap="square" lIns="0" tIns="34275" rIns="68575" bIns="34275" anchor="t" anchorCtr="0">
            <a:noAutofit/>
          </a:bodyPr>
          <a:lstStyle>
            <a:lvl1pPr marL="609585" lvl="0" indent="-406390" algn="l" rtl="0">
              <a:lnSpc>
                <a:spcPct val="125000"/>
              </a:lnSpc>
              <a:spcBef>
                <a:spcPts val="0"/>
              </a:spcBef>
              <a:spcAft>
                <a:spcPts val="0"/>
              </a:spcAft>
              <a:buClr>
                <a:schemeClr val="lt1"/>
              </a:buClr>
              <a:buSzPts val="1200"/>
              <a:buFont typeface="Inter"/>
              <a:buChar char="●"/>
              <a:defRPr>
                <a:solidFill>
                  <a:schemeClr val="lt1"/>
                </a:solidFill>
              </a:defRPr>
            </a:lvl1pPr>
            <a:lvl2pPr marL="1219170" lvl="1" indent="-406390" algn="l" rtl="0">
              <a:lnSpc>
                <a:spcPct val="125000"/>
              </a:lnSpc>
              <a:spcBef>
                <a:spcPts val="1200"/>
              </a:spcBef>
              <a:spcAft>
                <a:spcPts val="0"/>
              </a:spcAft>
              <a:buClr>
                <a:schemeClr val="lt1"/>
              </a:buClr>
              <a:buSzPts val="1200"/>
              <a:buFont typeface="Inter"/>
              <a:buChar char="●"/>
              <a:defRPr>
                <a:solidFill>
                  <a:schemeClr val="lt1"/>
                </a:solidFill>
              </a:defRPr>
            </a:lvl2pPr>
            <a:lvl3pPr marL="1828754" lvl="2" indent="-406390" algn="l" rtl="0">
              <a:lnSpc>
                <a:spcPct val="125000"/>
              </a:lnSpc>
              <a:spcBef>
                <a:spcPts val="1200"/>
              </a:spcBef>
              <a:spcAft>
                <a:spcPts val="0"/>
              </a:spcAft>
              <a:buClr>
                <a:schemeClr val="lt1"/>
              </a:buClr>
              <a:buSzPts val="1200"/>
              <a:buFont typeface="Inter"/>
              <a:buChar char="●"/>
              <a:defRPr>
                <a:solidFill>
                  <a:schemeClr val="lt1"/>
                </a:solidFill>
              </a:defRPr>
            </a:lvl3pPr>
            <a:lvl4pPr marL="2438339" lvl="3" indent="-406390" algn="l" rtl="0">
              <a:lnSpc>
                <a:spcPct val="125000"/>
              </a:lnSpc>
              <a:spcBef>
                <a:spcPts val="1200"/>
              </a:spcBef>
              <a:spcAft>
                <a:spcPts val="0"/>
              </a:spcAft>
              <a:buClr>
                <a:schemeClr val="lt1"/>
              </a:buClr>
              <a:buSzPts val="1200"/>
              <a:buFont typeface="Inter"/>
              <a:buChar char="●"/>
              <a:defRPr>
                <a:solidFill>
                  <a:schemeClr val="lt1"/>
                </a:solidFill>
              </a:defRPr>
            </a:lvl4pPr>
            <a:lvl5pPr marL="3047924" lvl="4" indent="-406390" algn="l" rtl="0">
              <a:lnSpc>
                <a:spcPct val="125000"/>
              </a:lnSpc>
              <a:spcBef>
                <a:spcPts val="1200"/>
              </a:spcBef>
              <a:spcAft>
                <a:spcPts val="0"/>
              </a:spcAft>
              <a:buClr>
                <a:schemeClr val="lt1"/>
              </a:buClr>
              <a:buSzPts val="1200"/>
              <a:buFont typeface="Inter"/>
              <a:buChar char="●"/>
              <a:defRPr>
                <a:solidFill>
                  <a:schemeClr val="lt1"/>
                </a:solidFill>
              </a:defRPr>
            </a:lvl5pPr>
            <a:lvl6pPr marL="3657509" lvl="5" indent="-406390" algn="l" rtl="0">
              <a:lnSpc>
                <a:spcPct val="125000"/>
              </a:lnSpc>
              <a:spcBef>
                <a:spcPts val="1200"/>
              </a:spcBef>
              <a:spcAft>
                <a:spcPts val="0"/>
              </a:spcAft>
              <a:buClr>
                <a:schemeClr val="lt1"/>
              </a:buClr>
              <a:buSzPts val="1200"/>
              <a:buFont typeface="Inter"/>
              <a:buChar char="●"/>
              <a:defRPr>
                <a:solidFill>
                  <a:schemeClr val="lt1"/>
                </a:solidFill>
              </a:defRPr>
            </a:lvl6pPr>
            <a:lvl7pPr marL="4267093" lvl="6" indent="-406390" algn="l" rtl="0">
              <a:lnSpc>
                <a:spcPct val="125000"/>
              </a:lnSpc>
              <a:spcBef>
                <a:spcPts val="1200"/>
              </a:spcBef>
              <a:spcAft>
                <a:spcPts val="0"/>
              </a:spcAft>
              <a:buClr>
                <a:schemeClr val="lt1"/>
              </a:buClr>
              <a:buSzPts val="1200"/>
              <a:buFont typeface="Inter"/>
              <a:buChar char="●"/>
              <a:defRPr>
                <a:solidFill>
                  <a:schemeClr val="lt1"/>
                </a:solidFill>
              </a:defRPr>
            </a:lvl7pPr>
            <a:lvl8pPr marL="4876678" lvl="7" indent="-406390" algn="l" rtl="0">
              <a:lnSpc>
                <a:spcPct val="125000"/>
              </a:lnSpc>
              <a:spcBef>
                <a:spcPts val="1200"/>
              </a:spcBef>
              <a:spcAft>
                <a:spcPts val="0"/>
              </a:spcAft>
              <a:buClr>
                <a:schemeClr val="lt1"/>
              </a:buClr>
              <a:buSzPts val="1200"/>
              <a:buFont typeface="Inter"/>
              <a:buChar char="●"/>
              <a:defRPr>
                <a:solidFill>
                  <a:schemeClr val="lt1"/>
                </a:solidFill>
              </a:defRPr>
            </a:lvl8pPr>
            <a:lvl9pPr marL="5486263" lvl="8" indent="-406390" algn="l" rtl="0">
              <a:lnSpc>
                <a:spcPct val="125000"/>
              </a:lnSpc>
              <a:spcBef>
                <a:spcPts val="1200"/>
              </a:spcBef>
              <a:spcAft>
                <a:spcPts val="1200"/>
              </a:spcAft>
              <a:buClr>
                <a:schemeClr val="lt1"/>
              </a:buClr>
              <a:buSzPts val="1200"/>
              <a:buFont typeface="Inter"/>
              <a:buChar char="●"/>
              <a:defRPr>
                <a:solidFill>
                  <a:schemeClr val="lt1"/>
                </a:solidFill>
              </a:defRPr>
            </a:lvl9pPr>
          </a:lstStyle>
          <a:p>
            <a:endParaRPr/>
          </a:p>
        </p:txBody>
      </p:sp>
      <p:sp>
        <p:nvSpPr>
          <p:cNvPr id="1699" name="Google Shape;1699;p43"/>
          <p:cNvSpPr txBox="1"/>
          <p:nvPr/>
        </p:nvSpPr>
        <p:spPr>
          <a:xfrm>
            <a:off x="5451800" y="6245247"/>
            <a:ext cx="1288400" cy="273200"/>
          </a:xfrm>
          <a:prstGeom prst="rect">
            <a:avLst/>
          </a:prstGeom>
          <a:noFill/>
          <a:ln>
            <a:noFill/>
          </a:ln>
        </p:spPr>
        <p:txBody>
          <a:bodyPr spcFirstLastPara="1" wrap="square" lIns="0" tIns="0" rIns="0" bIns="0" anchor="b" anchorCtr="0">
            <a:noAutofit/>
          </a:bodyPr>
          <a:lstStyle/>
          <a:p>
            <a:pPr marL="0" lvl="0" indent="0" algn="ctr" rtl="0">
              <a:spcBef>
                <a:spcPts val="0"/>
              </a:spcBef>
              <a:spcAft>
                <a:spcPts val="0"/>
              </a:spcAft>
              <a:buNone/>
            </a:pPr>
            <a:r>
              <a:rPr lang="en-GB" sz="667">
                <a:solidFill>
                  <a:schemeClr val="lt1"/>
                </a:solidFill>
                <a:latin typeface="Inter"/>
                <a:ea typeface="Inter"/>
                <a:cs typeface="Inter"/>
                <a:sym typeface="Inter"/>
              </a:rPr>
              <a:t>Private and Confidential</a:t>
            </a:r>
            <a:endParaRPr sz="667">
              <a:solidFill>
                <a:schemeClr val="lt1"/>
              </a:solidFill>
              <a:latin typeface="Inter"/>
              <a:ea typeface="Inter"/>
              <a:cs typeface="Inter"/>
              <a:sym typeface="Inter"/>
            </a:endParaRPr>
          </a:p>
        </p:txBody>
      </p:sp>
      <p:grpSp>
        <p:nvGrpSpPr>
          <p:cNvPr id="1700" name="Google Shape;1700;p43"/>
          <p:cNvGrpSpPr/>
          <p:nvPr/>
        </p:nvGrpSpPr>
        <p:grpSpPr>
          <a:xfrm>
            <a:off x="9362005" y="87137"/>
            <a:ext cx="3466724" cy="6679348"/>
            <a:chOff x="3260725" y="2454275"/>
            <a:chExt cx="606424" cy="1168399"/>
          </a:xfrm>
        </p:grpSpPr>
        <p:sp>
          <p:nvSpPr>
            <p:cNvPr id="1701" name="Google Shape;1701;p43"/>
            <p:cNvSpPr/>
            <p:nvPr/>
          </p:nvSpPr>
          <p:spPr>
            <a:xfrm>
              <a:off x="3260725" y="3512184"/>
              <a:ext cx="123190" cy="110490"/>
            </a:xfrm>
            <a:custGeom>
              <a:avLst/>
              <a:gdLst/>
              <a:ahLst/>
              <a:cxnLst/>
              <a:rect l="l" t="t" r="r" b="b"/>
              <a:pathLst>
                <a:path w="123190" h="110490" extrusionOk="0">
                  <a:moveTo>
                    <a:pt x="32385" y="10160"/>
                  </a:moveTo>
                  <a:lnTo>
                    <a:pt x="20320" y="0"/>
                  </a:lnTo>
                  <a:lnTo>
                    <a:pt x="0" y="24130"/>
                  </a:lnTo>
                  <a:lnTo>
                    <a:pt x="12065" y="34290"/>
                  </a:lnTo>
                  <a:lnTo>
                    <a:pt x="90170" y="100330"/>
                  </a:lnTo>
                  <a:lnTo>
                    <a:pt x="102235" y="110490"/>
                  </a:lnTo>
                  <a:lnTo>
                    <a:pt x="123190" y="86360"/>
                  </a:lnTo>
                  <a:lnTo>
                    <a:pt x="110490" y="7620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702" name="Google Shape;1702;p43"/>
            <p:cNvSpPr/>
            <p:nvPr/>
          </p:nvSpPr>
          <p:spPr>
            <a:xfrm>
              <a:off x="3495039" y="3517265"/>
              <a:ext cx="122555" cy="100329"/>
            </a:xfrm>
            <a:custGeom>
              <a:avLst/>
              <a:gdLst/>
              <a:ahLst/>
              <a:cxnLst/>
              <a:rect l="l" t="t" r="r" b="b"/>
              <a:pathLst>
                <a:path w="122555" h="100329" extrusionOk="0">
                  <a:moveTo>
                    <a:pt x="31115" y="9525"/>
                  </a:moveTo>
                  <a:lnTo>
                    <a:pt x="18415" y="0"/>
                  </a:lnTo>
                  <a:lnTo>
                    <a:pt x="0" y="26035"/>
                  </a:lnTo>
                  <a:lnTo>
                    <a:pt x="12700" y="34925"/>
                  </a:lnTo>
                  <a:lnTo>
                    <a:pt x="90805" y="91440"/>
                  </a:lnTo>
                  <a:lnTo>
                    <a:pt x="104140" y="100330"/>
                  </a:lnTo>
                  <a:lnTo>
                    <a:pt x="122555" y="74930"/>
                  </a:lnTo>
                  <a:lnTo>
                    <a:pt x="109220" y="6540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703" name="Google Shape;1703;p43"/>
            <p:cNvSpPr/>
            <p:nvPr/>
          </p:nvSpPr>
          <p:spPr>
            <a:xfrm>
              <a:off x="3420109" y="3345179"/>
              <a:ext cx="121284" cy="87629"/>
            </a:xfrm>
            <a:custGeom>
              <a:avLst/>
              <a:gdLst/>
              <a:ahLst/>
              <a:cxnLst/>
              <a:rect l="l" t="t" r="r" b="b"/>
              <a:pathLst>
                <a:path w="121284" h="87629" extrusionOk="0">
                  <a:moveTo>
                    <a:pt x="105410" y="87630"/>
                  </a:moveTo>
                  <a:lnTo>
                    <a:pt x="121285" y="60325"/>
                  </a:lnTo>
                  <a:lnTo>
                    <a:pt x="107315" y="52705"/>
                  </a:lnTo>
                  <a:lnTo>
                    <a:pt x="29210" y="8255"/>
                  </a:lnTo>
                  <a:lnTo>
                    <a:pt x="15240" y="0"/>
                  </a:lnTo>
                  <a:lnTo>
                    <a:pt x="0" y="27940"/>
                  </a:lnTo>
                  <a:lnTo>
                    <a:pt x="13335" y="35560"/>
                  </a:lnTo>
                  <a:lnTo>
                    <a:pt x="91440" y="8001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704" name="Google Shape;1704;p43"/>
            <p:cNvSpPr/>
            <p:nvPr/>
          </p:nvSpPr>
          <p:spPr>
            <a:xfrm>
              <a:off x="3745864" y="3523615"/>
              <a:ext cx="121285" cy="87629"/>
            </a:xfrm>
            <a:custGeom>
              <a:avLst/>
              <a:gdLst/>
              <a:ahLst/>
              <a:cxnLst/>
              <a:rect l="l" t="t" r="r" b="b"/>
              <a:pathLst>
                <a:path w="121285" h="87629" extrusionOk="0">
                  <a:moveTo>
                    <a:pt x="29210" y="8255"/>
                  </a:moveTo>
                  <a:lnTo>
                    <a:pt x="15240" y="0"/>
                  </a:lnTo>
                  <a:lnTo>
                    <a:pt x="0" y="27940"/>
                  </a:lnTo>
                  <a:lnTo>
                    <a:pt x="13335" y="35560"/>
                  </a:lnTo>
                  <a:lnTo>
                    <a:pt x="92075" y="80010"/>
                  </a:lnTo>
                  <a:lnTo>
                    <a:pt x="105410" y="87630"/>
                  </a:lnTo>
                  <a:lnTo>
                    <a:pt x="121285" y="60325"/>
                  </a:lnTo>
                  <a:lnTo>
                    <a:pt x="107315" y="5207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705" name="Google Shape;1705;p43"/>
            <p:cNvSpPr/>
            <p:nvPr/>
          </p:nvSpPr>
          <p:spPr>
            <a:xfrm>
              <a:off x="3364230" y="3175000"/>
              <a:ext cx="119380" cy="71754"/>
            </a:xfrm>
            <a:custGeom>
              <a:avLst/>
              <a:gdLst/>
              <a:ahLst/>
              <a:cxnLst/>
              <a:rect l="l" t="t" r="r" b="b"/>
              <a:pathLst>
                <a:path w="119380" h="71754" extrusionOk="0">
                  <a:moveTo>
                    <a:pt x="93345" y="66040"/>
                  </a:moveTo>
                  <a:lnTo>
                    <a:pt x="107950" y="71755"/>
                  </a:lnTo>
                  <a:lnTo>
                    <a:pt x="119380" y="42545"/>
                  </a:lnTo>
                  <a:lnTo>
                    <a:pt x="104775" y="36195"/>
                  </a:lnTo>
                  <a:lnTo>
                    <a:pt x="26670" y="5715"/>
                  </a:lnTo>
                  <a:lnTo>
                    <a:pt x="12065" y="0"/>
                  </a:lnTo>
                  <a:lnTo>
                    <a:pt x="0" y="29845"/>
                  </a:lnTo>
                  <a:lnTo>
                    <a:pt x="15240" y="3556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706" name="Google Shape;1706;p43"/>
            <p:cNvSpPr/>
            <p:nvPr/>
          </p:nvSpPr>
          <p:spPr>
            <a:xfrm>
              <a:off x="3690619" y="3353434"/>
              <a:ext cx="119380" cy="71755"/>
            </a:xfrm>
            <a:custGeom>
              <a:avLst/>
              <a:gdLst/>
              <a:ahLst/>
              <a:cxnLst/>
              <a:rect l="l" t="t" r="r" b="b"/>
              <a:pathLst>
                <a:path w="119380" h="71755" extrusionOk="0">
                  <a:moveTo>
                    <a:pt x="107315" y="71755"/>
                  </a:moveTo>
                  <a:lnTo>
                    <a:pt x="119380" y="41910"/>
                  </a:lnTo>
                  <a:lnTo>
                    <a:pt x="104140" y="36195"/>
                  </a:lnTo>
                  <a:lnTo>
                    <a:pt x="26035" y="5715"/>
                  </a:lnTo>
                  <a:lnTo>
                    <a:pt x="11430" y="0"/>
                  </a:lnTo>
                  <a:lnTo>
                    <a:pt x="0" y="29210"/>
                  </a:lnTo>
                  <a:lnTo>
                    <a:pt x="14605" y="35560"/>
                  </a:lnTo>
                  <a:lnTo>
                    <a:pt x="92710" y="660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707" name="Google Shape;1707;p43"/>
            <p:cNvSpPr/>
            <p:nvPr/>
          </p:nvSpPr>
          <p:spPr>
            <a:xfrm>
              <a:off x="3331844" y="3006089"/>
              <a:ext cx="115570" cy="53339"/>
            </a:xfrm>
            <a:custGeom>
              <a:avLst/>
              <a:gdLst/>
              <a:ahLst/>
              <a:cxnLst/>
              <a:rect l="l" t="t" r="r" b="b"/>
              <a:pathLst>
                <a:path w="115570" h="53339" extrusionOk="0">
                  <a:moveTo>
                    <a:pt x="109220" y="53340"/>
                  </a:moveTo>
                  <a:lnTo>
                    <a:pt x="115570" y="22225"/>
                  </a:lnTo>
                  <a:lnTo>
                    <a:pt x="99695" y="19050"/>
                  </a:lnTo>
                  <a:lnTo>
                    <a:pt x="21590" y="3175"/>
                  </a:lnTo>
                  <a:lnTo>
                    <a:pt x="5715" y="0"/>
                  </a:lnTo>
                  <a:lnTo>
                    <a:pt x="0" y="31115"/>
                  </a:lnTo>
                  <a:lnTo>
                    <a:pt x="15240" y="34290"/>
                  </a:lnTo>
                  <a:lnTo>
                    <a:pt x="93345" y="5016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708" name="Google Shape;1708;p43"/>
            <p:cNvSpPr/>
            <p:nvPr/>
          </p:nvSpPr>
          <p:spPr>
            <a:xfrm>
              <a:off x="3657600" y="3184525"/>
              <a:ext cx="115569" cy="52704"/>
            </a:xfrm>
            <a:custGeom>
              <a:avLst/>
              <a:gdLst/>
              <a:ahLst/>
              <a:cxnLst/>
              <a:rect l="l" t="t" r="r" b="b"/>
              <a:pathLst>
                <a:path w="115569" h="52704" extrusionOk="0">
                  <a:moveTo>
                    <a:pt x="109220" y="52705"/>
                  </a:moveTo>
                  <a:lnTo>
                    <a:pt x="115570" y="21590"/>
                  </a:lnTo>
                  <a:lnTo>
                    <a:pt x="99695" y="18415"/>
                  </a:lnTo>
                  <a:lnTo>
                    <a:pt x="21590" y="3175"/>
                  </a:lnTo>
                  <a:lnTo>
                    <a:pt x="6350" y="0"/>
                  </a:lnTo>
                  <a:lnTo>
                    <a:pt x="0" y="31115"/>
                  </a:lnTo>
                  <a:lnTo>
                    <a:pt x="15240" y="34290"/>
                  </a:lnTo>
                  <a:lnTo>
                    <a:pt x="93345" y="4953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709" name="Google Shape;1709;p43"/>
            <p:cNvSpPr/>
            <p:nvPr/>
          </p:nvSpPr>
          <p:spPr>
            <a:xfrm>
              <a:off x="3322319" y="2838450"/>
              <a:ext cx="109855" cy="31750"/>
            </a:xfrm>
            <a:custGeom>
              <a:avLst/>
              <a:gdLst/>
              <a:ahLst/>
              <a:cxnLst/>
              <a:rect l="l" t="t" r="r" b="b"/>
              <a:pathLst>
                <a:path w="109855" h="31750" extrusionOk="0">
                  <a:moveTo>
                    <a:pt x="93980" y="31750"/>
                  </a:moveTo>
                  <a:lnTo>
                    <a:pt x="109855" y="31750"/>
                  </a:lnTo>
                  <a:lnTo>
                    <a:pt x="109855" y="0"/>
                  </a:lnTo>
                  <a:lnTo>
                    <a:pt x="93980" y="0"/>
                  </a:lnTo>
                  <a:lnTo>
                    <a:pt x="15875" y="0"/>
                  </a:lnTo>
                  <a:lnTo>
                    <a:pt x="0" y="0"/>
                  </a:lnTo>
                  <a:lnTo>
                    <a:pt x="0" y="31750"/>
                  </a:lnTo>
                  <a:lnTo>
                    <a:pt x="15875" y="3175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710" name="Google Shape;1710;p43"/>
            <p:cNvSpPr/>
            <p:nvPr/>
          </p:nvSpPr>
          <p:spPr>
            <a:xfrm>
              <a:off x="3648075" y="3016885"/>
              <a:ext cx="110489" cy="31750"/>
            </a:xfrm>
            <a:custGeom>
              <a:avLst/>
              <a:gdLst/>
              <a:ahLst/>
              <a:cxnLst/>
              <a:rect l="l" t="t" r="r" b="b"/>
              <a:pathLst>
                <a:path w="110489" h="31750" extrusionOk="0">
                  <a:moveTo>
                    <a:pt x="94615" y="31750"/>
                  </a:moveTo>
                  <a:lnTo>
                    <a:pt x="110490" y="31750"/>
                  </a:lnTo>
                  <a:lnTo>
                    <a:pt x="110490" y="0"/>
                  </a:lnTo>
                  <a:lnTo>
                    <a:pt x="94615" y="0"/>
                  </a:lnTo>
                  <a:lnTo>
                    <a:pt x="15875" y="0"/>
                  </a:lnTo>
                  <a:lnTo>
                    <a:pt x="0" y="0"/>
                  </a:lnTo>
                  <a:lnTo>
                    <a:pt x="0" y="31750"/>
                  </a:lnTo>
                  <a:lnTo>
                    <a:pt x="15875" y="3175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711" name="Google Shape;1711;p43"/>
            <p:cNvSpPr/>
            <p:nvPr/>
          </p:nvSpPr>
          <p:spPr>
            <a:xfrm>
              <a:off x="3331209" y="2649854"/>
              <a:ext cx="115570" cy="52705"/>
            </a:xfrm>
            <a:custGeom>
              <a:avLst/>
              <a:gdLst/>
              <a:ahLst/>
              <a:cxnLst/>
              <a:rect l="l" t="t" r="r" b="b"/>
              <a:pathLst>
                <a:path w="115570" h="52705" extrusionOk="0">
                  <a:moveTo>
                    <a:pt x="21590" y="49530"/>
                  </a:moveTo>
                  <a:lnTo>
                    <a:pt x="99695" y="34290"/>
                  </a:lnTo>
                  <a:lnTo>
                    <a:pt x="115570" y="31115"/>
                  </a:lnTo>
                  <a:lnTo>
                    <a:pt x="109220" y="0"/>
                  </a:lnTo>
                  <a:lnTo>
                    <a:pt x="93980" y="3175"/>
                  </a:lnTo>
                  <a:lnTo>
                    <a:pt x="15240" y="18415"/>
                  </a:lnTo>
                  <a:lnTo>
                    <a:pt x="0" y="21590"/>
                  </a:lnTo>
                  <a:lnTo>
                    <a:pt x="6350" y="5270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712" name="Google Shape;1712;p43"/>
            <p:cNvSpPr/>
            <p:nvPr/>
          </p:nvSpPr>
          <p:spPr>
            <a:xfrm>
              <a:off x="3656964" y="2828289"/>
              <a:ext cx="115570" cy="52070"/>
            </a:xfrm>
            <a:custGeom>
              <a:avLst/>
              <a:gdLst/>
              <a:ahLst/>
              <a:cxnLst/>
              <a:rect l="l" t="t" r="r" b="b"/>
              <a:pathLst>
                <a:path w="115570" h="52070" extrusionOk="0">
                  <a:moveTo>
                    <a:pt x="21590" y="49530"/>
                  </a:moveTo>
                  <a:lnTo>
                    <a:pt x="100330" y="33655"/>
                  </a:lnTo>
                  <a:lnTo>
                    <a:pt x="115570" y="31115"/>
                  </a:lnTo>
                  <a:lnTo>
                    <a:pt x="109220" y="0"/>
                  </a:lnTo>
                  <a:lnTo>
                    <a:pt x="93980" y="2540"/>
                  </a:lnTo>
                  <a:lnTo>
                    <a:pt x="15875" y="18415"/>
                  </a:lnTo>
                  <a:lnTo>
                    <a:pt x="0" y="20955"/>
                  </a:lnTo>
                  <a:lnTo>
                    <a:pt x="6350" y="5207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713" name="Google Shape;1713;p43"/>
            <p:cNvSpPr/>
            <p:nvPr/>
          </p:nvSpPr>
          <p:spPr>
            <a:xfrm>
              <a:off x="3363594" y="2461895"/>
              <a:ext cx="119380" cy="71754"/>
            </a:xfrm>
            <a:custGeom>
              <a:avLst/>
              <a:gdLst/>
              <a:ahLst/>
              <a:cxnLst/>
              <a:rect l="l" t="t" r="r" b="b"/>
              <a:pathLst>
                <a:path w="119380" h="71754" extrusionOk="0">
                  <a:moveTo>
                    <a:pt x="26035" y="66040"/>
                  </a:moveTo>
                  <a:lnTo>
                    <a:pt x="104775" y="35560"/>
                  </a:lnTo>
                  <a:lnTo>
                    <a:pt x="119380" y="29845"/>
                  </a:lnTo>
                  <a:lnTo>
                    <a:pt x="107950" y="0"/>
                  </a:lnTo>
                  <a:lnTo>
                    <a:pt x="93345" y="5715"/>
                  </a:lnTo>
                  <a:lnTo>
                    <a:pt x="14605" y="36195"/>
                  </a:lnTo>
                  <a:lnTo>
                    <a:pt x="0" y="41910"/>
                  </a:lnTo>
                  <a:lnTo>
                    <a:pt x="11430" y="7175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714" name="Google Shape;1714;p43"/>
            <p:cNvSpPr/>
            <p:nvPr/>
          </p:nvSpPr>
          <p:spPr>
            <a:xfrm>
              <a:off x="3689350" y="2640329"/>
              <a:ext cx="119380" cy="71120"/>
            </a:xfrm>
            <a:custGeom>
              <a:avLst/>
              <a:gdLst/>
              <a:ahLst/>
              <a:cxnLst/>
              <a:rect l="l" t="t" r="r" b="b"/>
              <a:pathLst>
                <a:path w="119380" h="71120" extrusionOk="0">
                  <a:moveTo>
                    <a:pt x="26670" y="65405"/>
                  </a:moveTo>
                  <a:lnTo>
                    <a:pt x="104775" y="35560"/>
                  </a:lnTo>
                  <a:lnTo>
                    <a:pt x="119380" y="29845"/>
                  </a:lnTo>
                  <a:lnTo>
                    <a:pt x="107950" y="0"/>
                  </a:lnTo>
                  <a:lnTo>
                    <a:pt x="93345" y="5715"/>
                  </a:lnTo>
                  <a:lnTo>
                    <a:pt x="15240" y="36195"/>
                  </a:lnTo>
                  <a:lnTo>
                    <a:pt x="0" y="41910"/>
                  </a:lnTo>
                  <a:lnTo>
                    <a:pt x="11430" y="7112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715" name="Google Shape;1715;p43"/>
            <p:cNvSpPr/>
            <p:nvPr/>
          </p:nvSpPr>
          <p:spPr>
            <a:xfrm>
              <a:off x="3744594" y="2454275"/>
              <a:ext cx="121285" cy="86995"/>
            </a:xfrm>
            <a:custGeom>
              <a:avLst/>
              <a:gdLst/>
              <a:ahLst/>
              <a:cxnLst/>
              <a:rect l="l" t="t" r="r" b="b"/>
              <a:pathLst>
                <a:path w="121285" h="86995" extrusionOk="0">
                  <a:moveTo>
                    <a:pt x="29210" y="79375"/>
                  </a:moveTo>
                  <a:lnTo>
                    <a:pt x="107315" y="34925"/>
                  </a:lnTo>
                  <a:lnTo>
                    <a:pt x="121285" y="27305"/>
                  </a:lnTo>
                  <a:lnTo>
                    <a:pt x="105410" y="0"/>
                  </a:lnTo>
                  <a:lnTo>
                    <a:pt x="92075" y="7620"/>
                  </a:lnTo>
                  <a:lnTo>
                    <a:pt x="13970" y="51435"/>
                  </a:lnTo>
                  <a:lnTo>
                    <a:pt x="0" y="59690"/>
                  </a:lnTo>
                  <a:lnTo>
                    <a:pt x="15240" y="8699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grpSp>
    </p:spTree>
    <p:extLst>
      <p:ext uri="{BB962C8B-B14F-4D97-AF65-F5344CB8AC3E}">
        <p14:creationId xmlns:p14="http://schemas.microsoft.com/office/powerpoint/2010/main" val="345864730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matchingName="Case Study">
  <p:cSld name="Case Study">
    <p:bg>
      <p:bgPr>
        <a:solidFill>
          <a:schemeClr val="dk2"/>
        </a:solidFill>
        <a:effectLst/>
      </p:bgPr>
    </p:bg>
    <p:spTree>
      <p:nvGrpSpPr>
        <p:cNvPr id="1" name="Shape 1716"/>
        <p:cNvGrpSpPr/>
        <p:nvPr/>
      </p:nvGrpSpPr>
      <p:grpSpPr>
        <a:xfrm>
          <a:off x="0" y="0"/>
          <a:ext cx="0" cy="0"/>
          <a:chOff x="0" y="0"/>
          <a:chExt cx="0" cy="0"/>
        </a:xfrm>
      </p:grpSpPr>
      <p:sp>
        <p:nvSpPr>
          <p:cNvPr id="1717" name="Google Shape;1717;p44"/>
          <p:cNvSpPr txBox="1">
            <a:spLocks noGrp="1"/>
          </p:cNvSpPr>
          <p:nvPr>
            <p:ph type="subTitle" idx="1"/>
          </p:nvPr>
        </p:nvSpPr>
        <p:spPr>
          <a:xfrm>
            <a:off x="493900" y="2338733"/>
            <a:ext cx="1614400" cy="264000"/>
          </a:xfrm>
          <a:prstGeom prst="rect">
            <a:avLst/>
          </a:prstGeom>
          <a:solidFill>
            <a:schemeClr val="accent2"/>
          </a:solidFill>
          <a:ln w="28575" cap="flat" cmpd="sng">
            <a:solidFill>
              <a:schemeClr val="accent2"/>
            </a:solidFill>
            <a:prstDash val="solid"/>
            <a:round/>
            <a:headEnd type="none" w="sm" len="sm"/>
            <a:tailEnd type="none" w="sm" len="sm"/>
          </a:ln>
        </p:spPr>
        <p:txBody>
          <a:bodyPr spcFirstLastPara="1" wrap="square" lIns="36000" tIns="0" rIns="36000" bIns="0" anchor="ctr" anchorCtr="0">
            <a:noAutofit/>
          </a:bodyPr>
          <a:lstStyle>
            <a:lvl1pPr lvl="0" rtl="0">
              <a:spcBef>
                <a:spcPts val="1067"/>
              </a:spcBef>
              <a:spcAft>
                <a:spcPts val="0"/>
              </a:spcAft>
              <a:buSzPts val="1200"/>
              <a:buFont typeface="Inter Medium"/>
              <a:buNone/>
              <a:defRPr>
                <a:latin typeface="Inter Medium"/>
                <a:ea typeface="Inter Medium"/>
                <a:cs typeface="Inter Medium"/>
                <a:sym typeface="Inter Medium"/>
              </a:defRPr>
            </a:lvl1pPr>
            <a:lvl2pPr lvl="1" rtl="0">
              <a:spcBef>
                <a:spcPts val="533"/>
              </a:spcBef>
              <a:spcAft>
                <a:spcPts val="0"/>
              </a:spcAft>
              <a:buSzPts val="1200"/>
              <a:buNone/>
              <a:defRPr/>
            </a:lvl2pPr>
            <a:lvl3pPr lvl="2" rtl="0">
              <a:spcBef>
                <a:spcPts val="533"/>
              </a:spcBef>
              <a:spcAft>
                <a:spcPts val="0"/>
              </a:spcAft>
              <a:buSzPts val="1200"/>
              <a:buNone/>
              <a:defRPr/>
            </a:lvl3pPr>
            <a:lvl4pPr lvl="3" rtl="0">
              <a:spcBef>
                <a:spcPts val="533"/>
              </a:spcBef>
              <a:spcAft>
                <a:spcPts val="0"/>
              </a:spcAft>
              <a:buSzPts val="1200"/>
              <a:buNone/>
              <a:defRPr/>
            </a:lvl4pPr>
            <a:lvl5pPr lvl="4" rtl="0">
              <a:spcBef>
                <a:spcPts val="533"/>
              </a:spcBef>
              <a:spcAft>
                <a:spcPts val="0"/>
              </a:spcAft>
              <a:buSzPts val="1200"/>
              <a:buNone/>
              <a:defRPr/>
            </a:lvl5pPr>
            <a:lvl6pPr lvl="5" rtl="0">
              <a:spcBef>
                <a:spcPts val="533"/>
              </a:spcBef>
              <a:spcAft>
                <a:spcPts val="0"/>
              </a:spcAft>
              <a:buSzPts val="1200"/>
              <a:buNone/>
              <a:defRPr/>
            </a:lvl6pPr>
            <a:lvl7pPr lvl="6" rtl="0">
              <a:spcBef>
                <a:spcPts val="533"/>
              </a:spcBef>
              <a:spcAft>
                <a:spcPts val="0"/>
              </a:spcAft>
              <a:buSzPts val="1200"/>
              <a:buNone/>
              <a:defRPr/>
            </a:lvl7pPr>
            <a:lvl8pPr lvl="7" rtl="0">
              <a:spcBef>
                <a:spcPts val="533"/>
              </a:spcBef>
              <a:spcAft>
                <a:spcPts val="0"/>
              </a:spcAft>
              <a:buSzPts val="1200"/>
              <a:buNone/>
              <a:defRPr/>
            </a:lvl8pPr>
            <a:lvl9pPr lvl="8" rtl="0">
              <a:spcBef>
                <a:spcPts val="533"/>
              </a:spcBef>
              <a:spcAft>
                <a:spcPts val="0"/>
              </a:spcAft>
              <a:buSzPts val="1200"/>
              <a:buNone/>
              <a:defRPr/>
            </a:lvl9pPr>
          </a:lstStyle>
          <a:p>
            <a:endParaRPr/>
          </a:p>
        </p:txBody>
      </p:sp>
      <p:sp>
        <p:nvSpPr>
          <p:cNvPr id="1718" name="Google Shape;1718;p44"/>
          <p:cNvSpPr txBox="1">
            <a:spLocks noGrp="1"/>
          </p:cNvSpPr>
          <p:nvPr>
            <p:ph type="subTitle" idx="2"/>
          </p:nvPr>
        </p:nvSpPr>
        <p:spPr>
          <a:xfrm>
            <a:off x="4239451" y="2338733"/>
            <a:ext cx="1614400" cy="264000"/>
          </a:xfrm>
          <a:prstGeom prst="rect">
            <a:avLst/>
          </a:prstGeom>
          <a:solidFill>
            <a:schemeClr val="accent2"/>
          </a:solidFill>
          <a:ln w="28575" cap="flat" cmpd="sng">
            <a:solidFill>
              <a:schemeClr val="accent2"/>
            </a:solidFill>
            <a:prstDash val="solid"/>
            <a:round/>
            <a:headEnd type="none" w="sm" len="sm"/>
            <a:tailEnd type="none" w="sm" len="sm"/>
          </a:ln>
        </p:spPr>
        <p:txBody>
          <a:bodyPr spcFirstLastPara="1" wrap="square" lIns="36000" tIns="0" rIns="36000" bIns="0" anchor="ctr" anchorCtr="0">
            <a:noAutofit/>
          </a:bodyPr>
          <a:lstStyle>
            <a:lvl1pPr lvl="0" rtl="0">
              <a:spcBef>
                <a:spcPts val="1067"/>
              </a:spcBef>
              <a:spcAft>
                <a:spcPts val="0"/>
              </a:spcAft>
              <a:buSzPts val="1200"/>
              <a:buFont typeface="Inter Medium"/>
              <a:buNone/>
              <a:defRPr>
                <a:latin typeface="Inter Medium"/>
                <a:ea typeface="Inter Medium"/>
                <a:cs typeface="Inter Medium"/>
                <a:sym typeface="Inter Medium"/>
              </a:defRPr>
            </a:lvl1pPr>
            <a:lvl2pPr lvl="1" rtl="0">
              <a:spcBef>
                <a:spcPts val="533"/>
              </a:spcBef>
              <a:spcAft>
                <a:spcPts val="0"/>
              </a:spcAft>
              <a:buSzPts val="1200"/>
              <a:buNone/>
              <a:defRPr/>
            </a:lvl2pPr>
            <a:lvl3pPr lvl="2" rtl="0">
              <a:spcBef>
                <a:spcPts val="533"/>
              </a:spcBef>
              <a:spcAft>
                <a:spcPts val="0"/>
              </a:spcAft>
              <a:buSzPts val="1200"/>
              <a:buNone/>
              <a:defRPr/>
            </a:lvl3pPr>
            <a:lvl4pPr lvl="3" rtl="0">
              <a:spcBef>
                <a:spcPts val="533"/>
              </a:spcBef>
              <a:spcAft>
                <a:spcPts val="0"/>
              </a:spcAft>
              <a:buSzPts val="1200"/>
              <a:buNone/>
              <a:defRPr/>
            </a:lvl4pPr>
            <a:lvl5pPr lvl="4" rtl="0">
              <a:spcBef>
                <a:spcPts val="533"/>
              </a:spcBef>
              <a:spcAft>
                <a:spcPts val="0"/>
              </a:spcAft>
              <a:buSzPts val="1200"/>
              <a:buNone/>
              <a:defRPr/>
            </a:lvl5pPr>
            <a:lvl6pPr lvl="5" rtl="0">
              <a:spcBef>
                <a:spcPts val="533"/>
              </a:spcBef>
              <a:spcAft>
                <a:spcPts val="0"/>
              </a:spcAft>
              <a:buSzPts val="1200"/>
              <a:buNone/>
              <a:defRPr/>
            </a:lvl6pPr>
            <a:lvl7pPr lvl="6" rtl="0">
              <a:spcBef>
                <a:spcPts val="533"/>
              </a:spcBef>
              <a:spcAft>
                <a:spcPts val="0"/>
              </a:spcAft>
              <a:buSzPts val="1200"/>
              <a:buNone/>
              <a:defRPr/>
            </a:lvl7pPr>
            <a:lvl8pPr lvl="7" rtl="0">
              <a:spcBef>
                <a:spcPts val="533"/>
              </a:spcBef>
              <a:spcAft>
                <a:spcPts val="0"/>
              </a:spcAft>
              <a:buSzPts val="1200"/>
              <a:buNone/>
              <a:defRPr/>
            </a:lvl8pPr>
            <a:lvl9pPr lvl="8" rtl="0">
              <a:spcBef>
                <a:spcPts val="533"/>
              </a:spcBef>
              <a:spcAft>
                <a:spcPts val="0"/>
              </a:spcAft>
              <a:buSzPts val="1200"/>
              <a:buNone/>
              <a:defRPr/>
            </a:lvl9pPr>
          </a:lstStyle>
          <a:p>
            <a:endParaRPr/>
          </a:p>
        </p:txBody>
      </p:sp>
      <p:sp>
        <p:nvSpPr>
          <p:cNvPr id="1719" name="Google Shape;1719;p44"/>
          <p:cNvSpPr txBox="1">
            <a:spLocks noGrp="1"/>
          </p:cNvSpPr>
          <p:nvPr>
            <p:ph type="subTitle" idx="3"/>
          </p:nvPr>
        </p:nvSpPr>
        <p:spPr>
          <a:xfrm>
            <a:off x="7985017" y="2338733"/>
            <a:ext cx="1614400" cy="264000"/>
          </a:xfrm>
          <a:prstGeom prst="rect">
            <a:avLst/>
          </a:prstGeom>
          <a:solidFill>
            <a:schemeClr val="accent2"/>
          </a:solidFill>
          <a:ln w="28575" cap="flat" cmpd="sng">
            <a:solidFill>
              <a:schemeClr val="accent2"/>
            </a:solidFill>
            <a:prstDash val="solid"/>
            <a:round/>
            <a:headEnd type="none" w="sm" len="sm"/>
            <a:tailEnd type="none" w="sm" len="sm"/>
          </a:ln>
        </p:spPr>
        <p:txBody>
          <a:bodyPr spcFirstLastPara="1" wrap="square" lIns="36000" tIns="0" rIns="36000" bIns="0" anchor="ctr" anchorCtr="0">
            <a:noAutofit/>
          </a:bodyPr>
          <a:lstStyle>
            <a:lvl1pPr lvl="0" rtl="0">
              <a:spcBef>
                <a:spcPts val="1067"/>
              </a:spcBef>
              <a:spcAft>
                <a:spcPts val="0"/>
              </a:spcAft>
              <a:buSzPts val="1200"/>
              <a:buFont typeface="Inter Medium"/>
              <a:buNone/>
              <a:defRPr>
                <a:latin typeface="Inter Medium"/>
                <a:ea typeface="Inter Medium"/>
                <a:cs typeface="Inter Medium"/>
                <a:sym typeface="Inter Medium"/>
              </a:defRPr>
            </a:lvl1pPr>
            <a:lvl2pPr lvl="1" rtl="0">
              <a:spcBef>
                <a:spcPts val="533"/>
              </a:spcBef>
              <a:spcAft>
                <a:spcPts val="0"/>
              </a:spcAft>
              <a:buSzPts val="1200"/>
              <a:buNone/>
              <a:defRPr/>
            </a:lvl2pPr>
            <a:lvl3pPr lvl="2" rtl="0">
              <a:spcBef>
                <a:spcPts val="533"/>
              </a:spcBef>
              <a:spcAft>
                <a:spcPts val="0"/>
              </a:spcAft>
              <a:buSzPts val="1200"/>
              <a:buNone/>
              <a:defRPr/>
            </a:lvl3pPr>
            <a:lvl4pPr lvl="3" rtl="0">
              <a:spcBef>
                <a:spcPts val="533"/>
              </a:spcBef>
              <a:spcAft>
                <a:spcPts val="0"/>
              </a:spcAft>
              <a:buSzPts val="1200"/>
              <a:buNone/>
              <a:defRPr/>
            </a:lvl4pPr>
            <a:lvl5pPr lvl="4" rtl="0">
              <a:spcBef>
                <a:spcPts val="533"/>
              </a:spcBef>
              <a:spcAft>
                <a:spcPts val="0"/>
              </a:spcAft>
              <a:buSzPts val="1200"/>
              <a:buNone/>
              <a:defRPr/>
            </a:lvl5pPr>
            <a:lvl6pPr lvl="5" rtl="0">
              <a:spcBef>
                <a:spcPts val="533"/>
              </a:spcBef>
              <a:spcAft>
                <a:spcPts val="0"/>
              </a:spcAft>
              <a:buSzPts val="1200"/>
              <a:buNone/>
              <a:defRPr/>
            </a:lvl6pPr>
            <a:lvl7pPr lvl="6" rtl="0">
              <a:spcBef>
                <a:spcPts val="533"/>
              </a:spcBef>
              <a:spcAft>
                <a:spcPts val="0"/>
              </a:spcAft>
              <a:buSzPts val="1200"/>
              <a:buNone/>
              <a:defRPr/>
            </a:lvl7pPr>
            <a:lvl8pPr lvl="7" rtl="0">
              <a:spcBef>
                <a:spcPts val="533"/>
              </a:spcBef>
              <a:spcAft>
                <a:spcPts val="0"/>
              </a:spcAft>
              <a:buSzPts val="1200"/>
              <a:buNone/>
              <a:defRPr/>
            </a:lvl8pPr>
            <a:lvl9pPr lvl="8" rtl="0">
              <a:spcBef>
                <a:spcPts val="533"/>
              </a:spcBef>
              <a:spcAft>
                <a:spcPts val="0"/>
              </a:spcAft>
              <a:buSzPts val="1200"/>
              <a:buNone/>
              <a:defRPr/>
            </a:lvl9pPr>
          </a:lstStyle>
          <a:p>
            <a:endParaRPr/>
          </a:p>
        </p:txBody>
      </p:sp>
      <p:sp>
        <p:nvSpPr>
          <p:cNvPr id="1720" name="Google Shape;1720;p44"/>
          <p:cNvSpPr txBox="1">
            <a:spLocks noGrp="1"/>
          </p:cNvSpPr>
          <p:nvPr>
            <p:ph type="title"/>
          </p:nvPr>
        </p:nvSpPr>
        <p:spPr>
          <a:xfrm>
            <a:off x="951700" y="821699"/>
            <a:ext cx="10515600" cy="524800"/>
          </a:xfrm>
          <a:prstGeom prst="rect">
            <a:avLst/>
          </a:prstGeom>
          <a:noFill/>
          <a:ln>
            <a:noFill/>
          </a:ln>
        </p:spPr>
        <p:txBody>
          <a:bodyPr spcFirstLastPara="1" wrap="square" lIns="0" tIns="0" rIns="68575" bIns="34275" anchor="t" anchorCtr="0">
            <a:noAutofit/>
          </a:bodyPr>
          <a:lstStyle>
            <a:lvl1pPr lvl="0" algn="l" rtl="0">
              <a:lnSpc>
                <a:spcPct val="90000"/>
              </a:lnSpc>
              <a:spcBef>
                <a:spcPts val="0"/>
              </a:spcBef>
              <a:spcAft>
                <a:spcPts val="0"/>
              </a:spcAft>
              <a:buClr>
                <a:schemeClr val="lt1"/>
              </a:buClr>
              <a:buSzPts val="2400"/>
              <a:buFont typeface="Inter Medium"/>
              <a:buNone/>
              <a:defRPr sz="3200">
                <a:solidFill>
                  <a:schemeClr val="lt1"/>
                </a:solidFill>
                <a:latin typeface="Inter Medium"/>
                <a:ea typeface="Inter Medium"/>
                <a:cs typeface="Inter Medium"/>
                <a:sym typeface="Inter Medium"/>
              </a:defRPr>
            </a:lvl1pPr>
            <a:lvl2pPr lvl="1" rtl="0">
              <a:spcBef>
                <a:spcPts val="0"/>
              </a:spcBef>
              <a:spcAft>
                <a:spcPts val="0"/>
              </a:spcAft>
              <a:buClr>
                <a:schemeClr val="lt1"/>
              </a:buClr>
              <a:buSzPts val="1100"/>
              <a:buNone/>
              <a:defRPr b="1">
                <a:solidFill>
                  <a:schemeClr val="lt1"/>
                </a:solidFill>
              </a:defRPr>
            </a:lvl2pPr>
            <a:lvl3pPr lvl="2" rtl="0">
              <a:spcBef>
                <a:spcPts val="0"/>
              </a:spcBef>
              <a:spcAft>
                <a:spcPts val="0"/>
              </a:spcAft>
              <a:buClr>
                <a:schemeClr val="lt1"/>
              </a:buClr>
              <a:buSzPts val="1100"/>
              <a:buNone/>
              <a:defRPr b="1">
                <a:solidFill>
                  <a:schemeClr val="lt1"/>
                </a:solidFill>
              </a:defRPr>
            </a:lvl3pPr>
            <a:lvl4pPr lvl="3" rtl="0">
              <a:spcBef>
                <a:spcPts val="0"/>
              </a:spcBef>
              <a:spcAft>
                <a:spcPts val="0"/>
              </a:spcAft>
              <a:buClr>
                <a:schemeClr val="lt1"/>
              </a:buClr>
              <a:buSzPts val="1100"/>
              <a:buNone/>
              <a:defRPr b="1">
                <a:solidFill>
                  <a:schemeClr val="lt1"/>
                </a:solidFill>
              </a:defRPr>
            </a:lvl4pPr>
            <a:lvl5pPr lvl="4" rtl="0">
              <a:spcBef>
                <a:spcPts val="0"/>
              </a:spcBef>
              <a:spcAft>
                <a:spcPts val="0"/>
              </a:spcAft>
              <a:buClr>
                <a:schemeClr val="lt1"/>
              </a:buClr>
              <a:buSzPts val="1100"/>
              <a:buNone/>
              <a:defRPr b="1">
                <a:solidFill>
                  <a:schemeClr val="lt1"/>
                </a:solidFill>
              </a:defRPr>
            </a:lvl5pPr>
            <a:lvl6pPr lvl="5" rtl="0">
              <a:spcBef>
                <a:spcPts val="0"/>
              </a:spcBef>
              <a:spcAft>
                <a:spcPts val="0"/>
              </a:spcAft>
              <a:buClr>
                <a:schemeClr val="lt1"/>
              </a:buClr>
              <a:buSzPts val="1100"/>
              <a:buNone/>
              <a:defRPr b="1">
                <a:solidFill>
                  <a:schemeClr val="lt1"/>
                </a:solidFill>
              </a:defRPr>
            </a:lvl6pPr>
            <a:lvl7pPr lvl="6" rtl="0">
              <a:spcBef>
                <a:spcPts val="0"/>
              </a:spcBef>
              <a:spcAft>
                <a:spcPts val="0"/>
              </a:spcAft>
              <a:buClr>
                <a:schemeClr val="lt1"/>
              </a:buClr>
              <a:buSzPts val="1100"/>
              <a:buNone/>
              <a:defRPr b="1">
                <a:solidFill>
                  <a:schemeClr val="lt1"/>
                </a:solidFill>
              </a:defRPr>
            </a:lvl7pPr>
            <a:lvl8pPr lvl="7" rtl="0">
              <a:spcBef>
                <a:spcPts val="0"/>
              </a:spcBef>
              <a:spcAft>
                <a:spcPts val="0"/>
              </a:spcAft>
              <a:buClr>
                <a:schemeClr val="lt1"/>
              </a:buClr>
              <a:buSzPts val="1100"/>
              <a:buNone/>
              <a:defRPr b="1">
                <a:solidFill>
                  <a:schemeClr val="lt1"/>
                </a:solidFill>
              </a:defRPr>
            </a:lvl8pPr>
            <a:lvl9pPr lvl="8" rtl="0">
              <a:spcBef>
                <a:spcPts val="0"/>
              </a:spcBef>
              <a:spcAft>
                <a:spcPts val="0"/>
              </a:spcAft>
              <a:buClr>
                <a:schemeClr val="lt1"/>
              </a:buClr>
              <a:buSzPts val="1100"/>
              <a:buNone/>
              <a:defRPr b="1">
                <a:solidFill>
                  <a:schemeClr val="lt1"/>
                </a:solidFill>
              </a:defRPr>
            </a:lvl9pPr>
          </a:lstStyle>
          <a:p>
            <a:endParaRPr/>
          </a:p>
        </p:txBody>
      </p:sp>
      <p:sp>
        <p:nvSpPr>
          <p:cNvPr id="1721" name="Google Shape;1721;p44"/>
          <p:cNvSpPr txBox="1">
            <a:spLocks noGrp="1"/>
          </p:cNvSpPr>
          <p:nvPr>
            <p:ph type="body" idx="4"/>
          </p:nvPr>
        </p:nvSpPr>
        <p:spPr>
          <a:xfrm>
            <a:off x="481600" y="2710000"/>
            <a:ext cx="3237200" cy="3535200"/>
          </a:xfrm>
          <a:prstGeom prst="rect">
            <a:avLst/>
          </a:prstGeom>
          <a:noFill/>
          <a:ln>
            <a:noFill/>
          </a:ln>
        </p:spPr>
        <p:txBody>
          <a:bodyPr spcFirstLastPara="1" wrap="square" lIns="0" tIns="34275" rIns="68575" bIns="34275" anchor="t" anchorCtr="0">
            <a:noAutofit/>
          </a:bodyPr>
          <a:lstStyle>
            <a:lvl1pPr marL="609585" lvl="0" indent="-380990" algn="l" rtl="0">
              <a:lnSpc>
                <a:spcPct val="125000"/>
              </a:lnSpc>
              <a:spcBef>
                <a:spcPts val="0"/>
              </a:spcBef>
              <a:spcAft>
                <a:spcPts val="0"/>
              </a:spcAft>
              <a:buClr>
                <a:schemeClr val="lt1"/>
              </a:buClr>
              <a:buSzPts val="900"/>
              <a:buChar char="●"/>
              <a:defRPr sz="1200">
                <a:solidFill>
                  <a:schemeClr val="lt1"/>
                </a:solidFill>
              </a:defRPr>
            </a:lvl1pPr>
            <a:lvl2pPr marL="1219170" lvl="1" indent="-380990" algn="l" rtl="0">
              <a:lnSpc>
                <a:spcPct val="125000"/>
              </a:lnSpc>
              <a:spcBef>
                <a:spcPts val="1200"/>
              </a:spcBef>
              <a:spcAft>
                <a:spcPts val="0"/>
              </a:spcAft>
              <a:buClr>
                <a:schemeClr val="lt1"/>
              </a:buClr>
              <a:buSzPts val="900"/>
              <a:buChar char="●"/>
              <a:defRPr sz="1200">
                <a:solidFill>
                  <a:schemeClr val="lt1"/>
                </a:solidFill>
              </a:defRPr>
            </a:lvl2pPr>
            <a:lvl3pPr marL="1828754" lvl="2" indent="-380990" algn="l" rtl="0">
              <a:lnSpc>
                <a:spcPct val="125000"/>
              </a:lnSpc>
              <a:spcBef>
                <a:spcPts val="1200"/>
              </a:spcBef>
              <a:spcAft>
                <a:spcPts val="0"/>
              </a:spcAft>
              <a:buClr>
                <a:schemeClr val="lt1"/>
              </a:buClr>
              <a:buSzPts val="900"/>
              <a:buChar char="●"/>
              <a:defRPr sz="1200">
                <a:solidFill>
                  <a:schemeClr val="lt1"/>
                </a:solidFill>
              </a:defRPr>
            </a:lvl3pPr>
            <a:lvl4pPr marL="2438339" lvl="3" indent="-380990" algn="l" rtl="0">
              <a:lnSpc>
                <a:spcPct val="125000"/>
              </a:lnSpc>
              <a:spcBef>
                <a:spcPts val="1200"/>
              </a:spcBef>
              <a:spcAft>
                <a:spcPts val="0"/>
              </a:spcAft>
              <a:buClr>
                <a:schemeClr val="lt1"/>
              </a:buClr>
              <a:buSzPts val="900"/>
              <a:buChar char="●"/>
              <a:defRPr sz="1200">
                <a:solidFill>
                  <a:schemeClr val="lt1"/>
                </a:solidFill>
              </a:defRPr>
            </a:lvl4pPr>
            <a:lvl5pPr marL="3047924" lvl="4" indent="-380990" algn="l" rtl="0">
              <a:lnSpc>
                <a:spcPct val="125000"/>
              </a:lnSpc>
              <a:spcBef>
                <a:spcPts val="1200"/>
              </a:spcBef>
              <a:spcAft>
                <a:spcPts val="0"/>
              </a:spcAft>
              <a:buClr>
                <a:schemeClr val="lt1"/>
              </a:buClr>
              <a:buSzPts val="900"/>
              <a:buChar char="●"/>
              <a:defRPr sz="1200">
                <a:solidFill>
                  <a:schemeClr val="lt1"/>
                </a:solidFill>
              </a:defRPr>
            </a:lvl5pPr>
            <a:lvl6pPr marL="3657509" lvl="5" indent="-380990" algn="l" rtl="0">
              <a:lnSpc>
                <a:spcPct val="125000"/>
              </a:lnSpc>
              <a:spcBef>
                <a:spcPts val="1200"/>
              </a:spcBef>
              <a:spcAft>
                <a:spcPts val="0"/>
              </a:spcAft>
              <a:buClr>
                <a:schemeClr val="lt1"/>
              </a:buClr>
              <a:buSzPts val="900"/>
              <a:buChar char="●"/>
              <a:defRPr sz="1200">
                <a:solidFill>
                  <a:schemeClr val="lt1"/>
                </a:solidFill>
              </a:defRPr>
            </a:lvl6pPr>
            <a:lvl7pPr marL="4267093" lvl="6" indent="-380990" algn="l" rtl="0">
              <a:lnSpc>
                <a:spcPct val="125000"/>
              </a:lnSpc>
              <a:spcBef>
                <a:spcPts val="1200"/>
              </a:spcBef>
              <a:spcAft>
                <a:spcPts val="0"/>
              </a:spcAft>
              <a:buClr>
                <a:schemeClr val="lt1"/>
              </a:buClr>
              <a:buSzPts val="900"/>
              <a:buChar char="●"/>
              <a:defRPr sz="1200">
                <a:solidFill>
                  <a:schemeClr val="lt1"/>
                </a:solidFill>
              </a:defRPr>
            </a:lvl7pPr>
            <a:lvl8pPr marL="4876678" lvl="7" indent="-380990" algn="l" rtl="0">
              <a:lnSpc>
                <a:spcPct val="125000"/>
              </a:lnSpc>
              <a:spcBef>
                <a:spcPts val="1200"/>
              </a:spcBef>
              <a:spcAft>
                <a:spcPts val="0"/>
              </a:spcAft>
              <a:buClr>
                <a:schemeClr val="lt1"/>
              </a:buClr>
              <a:buSzPts val="900"/>
              <a:buChar char="●"/>
              <a:defRPr sz="1200">
                <a:solidFill>
                  <a:schemeClr val="lt1"/>
                </a:solidFill>
              </a:defRPr>
            </a:lvl8pPr>
            <a:lvl9pPr marL="5486263" lvl="8" indent="-380990" algn="l" rtl="0">
              <a:lnSpc>
                <a:spcPct val="125000"/>
              </a:lnSpc>
              <a:spcBef>
                <a:spcPts val="1200"/>
              </a:spcBef>
              <a:spcAft>
                <a:spcPts val="1200"/>
              </a:spcAft>
              <a:buClr>
                <a:schemeClr val="lt1"/>
              </a:buClr>
              <a:buSzPts val="900"/>
              <a:buChar char="●"/>
              <a:defRPr sz="1200">
                <a:solidFill>
                  <a:schemeClr val="lt1"/>
                </a:solidFill>
              </a:defRPr>
            </a:lvl9pPr>
          </a:lstStyle>
          <a:p>
            <a:endParaRPr/>
          </a:p>
        </p:txBody>
      </p:sp>
      <p:sp>
        <p:nvSpPr>
          <p:cNvPr id="1722" name="Google Shape;1722;p44"/>
          <p:cNvSpPr txBox="1">
            <a:spLocks noGrp="1"/>
          </p:cNvSpPr>
          <p:nvPr>
            <p:ph type="sldNum" idx="12"/>
          </p:nvPr>
        </p:nvSpPr>
        <p:spPr>
          <a:xfrm>
            <a:off x="10978812" y="5993647"/>
            <a:ext cx="731600" cy="524800"/>
          </a:xfrm>
          <a:prstGeom prst="rect">
            <a:avLst/>
          </a:prstGeom>
        </p:spPr>
        <p:txBody>
          <a:bodyPr spcFirstLastPara="1" wrap="square" lIns="91425" tIns="91425" rIns="0" bIns="0" anchor="b" anchorCtr="0">
            <a:noAutofit/>
          </a:bodyPr>
          <a:lstStyle>
            <a:lvl1pPr lvl="0" algn="r" rtl="0">
              <a:buNone/>
              <a:defRPr sz="667">
                <a:solidFill>
                  <a:schemeClr val="lt1"/>
                </a:solidFill>
                <a:latin typeface="Inter"/>
                <a:ea typeface="Inter"/>
                <a:cs typeface="Inter"/>
                <a:sym typeface="Inter"/>
              </a:defRPr>
            </a:lvl1pPr>
            <a:lvl2pPr lvl="1" algn="r" rtl="0">
              <a:buNone/>
              <a:defRPr sz="667">
                <a:solidFill>
                  <a:schemeClr val="lt1"/>
                </a:solidFill>
                <a:latin typeface="Inter"/>
                <a:ea typeface="Inter"/>
                <a:cs typeface="Inter"/>
                <a:sym typeface="Inter"/>
              </a:defRPr>
            </a:lvl2pPr>
            <a:lvl3pPr lvl="2" algn="r" rtl="0">
              <a:buNone/>
              <a:defRPr sz="667">
                <a:solidFill>
                  <a:schemeClr val="lt1"/>
                </a:solidFill>
                <a:latin typeface="Inter"/>
                <a:ea typeface="Inter"/>
                <a:cs typeface="Inter"/>
                <a:sym typeface="Inter"/>
              </a:defRPr>
            </a:lvl3pPr>
            <a:lvl4pPr lvl="3" algn="r" rtl="0">
              <a:buNone/>
              <a:defRPr sz="667">
                <a:solidFill>
                  <a:schemeClr val="lt1"/>
                </a:solidFill>
                <a:latin typeface="Inter"/>
                <a:ea typeface="Inter"/>
                <a:cs typeface="Inter"/>
                <a:sym typeface="Inter"/>
              </a:defRPr>
            </a:lvl4pPr>
            <a:lvl5pPr lvl="4" algn="r" rtl="0">
              <a:buNone/>
              <a:defRPr sz="667">
                <a:solidFill>
                  <a:schemeClr val="lt1"/>
                </a:solidFill>
                <a:latin typeface="Inter"/>
                <a:ea typeface="Inter"/>
                <a:cs typeface="Inter"/>
                <a:sym typeface="Inter"/>
              </a:defRPr>
            </a:lvl5pPr>
            <a:lvl6pPr lvl="5" algn="r" rtl="0">
              <a:buNone/>
              <a:defRPr sz="667">
                <a:solidFill>
                  <a:schemeClr val="lt1"/>
                </a:solidFill>
                <a:latin typeface="Inter"/>
                <a:ea typeface="Inter"/>
                <a:cs typeface="Inter"/>
                <a:sym typeface="Inter"/>
              </a:defRPr>
            </a:lvl6pPr>
            <a:lvl7pPr lvl="6" algn="r" rtl="0">
              <a:buNone/>
              <a:defRPr sz="667">
                <a:solidFill>
                  <a:schemeClr val="lt1"/>
                </a:solidFill>
                <a:latin typeface="Inter"/>
                <a:ea typeface="Inter"/>
                <a:cs typeface="Inter"/>
                <a:sym typeface="Inter"/>
              </a:defRPr>
            </a:lvl7pPr>
            <a:lvl8pPr lvl="7" algn="r" rtl="0">
              <a:buNone/>
              <a:defRPr sz="667">
                <a:solidFill>
                  <a:schemeClr val="lt1"/>
                </a:solidFill>
                <a:latin typeface="Inter"/>
                <a:ea typeface="Inter"/>
                <a:cs typeface="Inter"/>
                <a:sym typeface="Inter"/>
              </a:defRPr>
            </a:lvl8pPr>
            <a:lvl9pPr lvl="8" algn="r" rtl="0">
              <a:buNone/>
              <a:defRPr sz="667">
                <a:solidFill>
                  <a:schemeClr val="lt1"/>
                </a:solidFill>
                <a:latin typeface="Inter"/>
                <a:ea typeface="Inter"/>
                <a:cs typeface="Inter"/>
                <a:sym typeface="Inter"/>
              </a:defRPr>
            </a:lvl9pPr>
          </a:lstStyle>
          <a:p>
            <a:fld id="{00000000-1234-1234-1234-123412341234}" type="slidenum">
              <a:rPr lang="en-GB" smtClean="0"/>
              <a:pPr/>
              <a:t>‹#›</a:t>
            </a:fld>
            <a:endParaRPr lang="en-GB"/>
          </a:p>
        </p:txBody>
      </p:sp>
      <p:sp>
        <p:nvSpPr>
          <p:cNvPr id="1723" name="Google Shape;1723;p44"/>
          <p:cNvSpPr txBox="1"/>
          <p:nvPr/>
        </p:nvSpPr>
        <p:spPr>
          <a:xfrm>
            <a:off x="481600" y="6245247"/>
            <a:ext cx="1288400" cy="273200"/>
          </a:xfrm>
          <a:prstGeom prst="rect">
            <a:avLst/>
          </a:prstGeom>
          <a:noFill/>
          <a:ln>
            <a:noFill/>
          </a:ln>
        </p:spPr>
        <p:txBody>
          <a:bodyPr spcFirstLastPara="1" wrap="square" lIns="0" tIns="0" rIns="0" bIns="0" anchor="b" anchorCtr="0">
            <a:noAutofit/>
          </a:bodyPr>
          <a:lstStyle/>
          <a:p>
            <a:pPr marL="0" lvl="0" indent="0" algn="l" rtl="0">
              <a:spcBef>
                <a:spcPts val="0"/>
              </a:spcBef>
              <a:spcAft>
                <a:spcPts val="0"/>
              </a:spcAft>
              <a:buNone/>
            </a:pPr>
            <a:r>
              <a:rPr lang="en-GB" sz="667">
                <a:solidFill>
                  <a:schemeClr val="lt1"/>
                </a:solidFill>
                <a:latin typeface="Inter"/>
                <a:ea typeface="Inter"/>
                <a:cs typeface="Inter"/>
                <a:sym typeface="Inter"/>
              </a:rPr>
              <a:t>Multiverse</a:t>
            </a:r>
            <a:endParaRPr sz="667">
              <a:solidFill>
                <a:schemeClr val="lt1"/>
              </a:solidFill>
              <a:latin typeface="Inter"/>
              <a:ea typeface="Inter"/>
              <a:cs typeface="Inter"/>
              <a:sym typeface="Inter"/>
            </a:endParaRPr>
          </a:p>
        </p:txBody>
      </p:sp>
      <p:sp>
        <p:nvSpPr>
          <p:cNvPr id="1724" name="Google Shape;1724;p44"/>
          <p:cNvSpPr/>
          <p:nvPr/>
        </p:nvSpPr>
        <p:spPr>
          <a:xfrm>
            <a:off x="481601" y="414630"/>
            <a:ext cx="349111" cy="305471"/>
          </a:xfrm>
          <a:custGeom>
            <a:avLst/>
            <a:gdLst/>
            <a:ahLst/>
            <a:cxnLst/>
            <a:rect l="l" t="t" r="r" b="b"/>
            <a:pathLst>
              <a:path w="1586865" h="1388506" extrusionOk="0">
                <a:moveTo>
                  <a:pt x="1083683" y="969931"/>
                </a:moveTo>
                <a:lnTo>
                  <a:pt x="1083683" y="579692"/>
                </a:lnTo>
                <a:lnTo>
                  <a:pt x="849297" y="969931"/>
                </a:lnTo>
                <a:lnTo>
                  <a:pt x="848892" y="969931"/>
                </a:lnTo>
                <a:cubicBezTo>
                  <a:pt x="848892" y="969931"/>
                  <a:pt x="848892" y="969931"/>
                  <a:pt x="848892" y="969931"/>
                </a:cubicBezTo>
                <a:lnTo>
                  <a:pt x="738783" y="969931"/>
                </a:lnTo>
                <a:lnTo>
                  <a:pt x="738783" y="577668"/>
                </a:lnTo>
                <a:lnTo>
                  <a:pt x="549735" y="892612"/>
                </a:lnTo>
                <a:cubicBezTo>
                  <a:pt x="527876" y="929449"/>
                  <a:pt x="510873" y="958191"/>
                  <a:pt x="503992" y="969931"/>
                </a:cubicBezTo>
                <a:lnTo>
                  <a:pt x="393073" y="969931"/>
                </a:lnTo>
                <a:lnTo>
                  <a:pt x="393073" y="418576"/>
                </a:lnTo>
                <a:lnTo>
                  <a:pt x="503992" y="418576"/>
                </a:lnTo>
                <a:lnTo>
                  <a:pt x="502777" y="760643"/>
                </a:lnTo>
                <a:lnTo>
                  <a:pt x="503587" y="782098"/>
                </a:lnTo>
                <a:lnTo>
                  <a:pt x="721781" y="418981"/>
                </a:lnTo>
                <a:lnTo>
                  <a:pt x="721781" y="418981"/>
                </a:lnTo>
                <a:lnTo>
                  <a:pt x="721781" y="418981"/>
                </a:lnTo>
                <a:lnTo>
                  <a:pt x="739188" y="418981"/>
                </a:lnTo>
                <a:lnTo>
                  <a:pt x="847678" y="418981"/>
                </a:lnTo>
                <a:cubicBezTo>
                  <a:pt x="847678" y="418981"/>
                  <a:pt x="848487" y="722995"/>
                  <a:pt x="848892" y="783717"/>
                </a:cubicBezTo>
                <a:lnTo>
                  <a:pt x="1067895" y="418981"/>
                </a:lnTo>
                <a:lnTo>
                  <a:pt x="1067895" y="418981"/>
                </a:lnTo>
                <a:lnTo>
                  <a:pt x="1067895" y="418981"/>
                </a:lnTo>
                <a:lnTo>
                  <a:pt x="1085302" y="418981"/>
                </a:lnTo>
                <a:lnTo>
                  <a:pt x="1193387" y="418981"/>
                </a:lnTo>
                <a:lnTo>
                  <a:pt x="1193387" y="970336"/>
                </a:lnTo>
                <a:lnTo>
                  <a:pt x="1083683" y="970336"/>
                </a:lnTo>
                <a:close/>
                <a:moveTo>
                  <a:pt x="1190149" y="0"/>
                </a:moveTo>
                <a:lnTo>
                  <a:pt x="396716" y="0"/>
                </a:lnTo>
                <a:lnTo>
                  <a:pt x="0" y="694253"/>
                </a:lnTo>
                <a:lnTo>
                  <a:pt x="396716" y="1388507"/>
                </a:lnTo>
                <a:lnTo>
                  <a:pt x="1190149" y="1388507"/>
                </a:lnTo>
                <a:lnTo>
                  <a:pt x="1586865" y="694253"/>
                </a:lnTo>
                <a:lnTo>
                  <a:pt x="1190149" y="0"/>
                </a:lnTo>
                <a:close/>
              </a:path>
            </a:pathLst>
          </a:custGeom>
          <a:solidFill>
            <a:schemeClr val="lt1"/>
          </a:solidFill>
          <a:ln>
            <a:noFill/>
          </a:ln>
        </p:spPr>
        <p:txBody>
          <a:bodyPr spcFirstLastPara="1" wrap="square" lIns="91433" tIns="45700" rIns="91433" bIns="45700"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725" name="Google Shape;1725;p44"/>
          <p:cNvSpPr txBox="1">
            <a:spLocks noGrp="1"/>
          </p:cNvSpPr>
          <p:nvPr>
            <p:ph type="body" idx="5"/>
          </p:nvPr>
        </p:nvSpPr>
        <p:spPr>
          <a:xfrm>
            <a:off x="4242500" y="2710000"/>
            <a:ext cx="3237200" cy="3535200"/>
          </a:xfrm>
          <a:prstGeom prst="rect">
            <a:avLst/>
          </a:prstGeom>
          <a:noFill/>
          <a:ln>
            <a:noFill/>
          </a:ln>
        </p:spPr>
        <p:txBody>
          <a:bodyPr spcFirstLastPara="1" wrap="square" lIns="0" tIns="34275" rIns="68575" bIns="34275" anchor="t" anchorCtr="0">
            <a:noAutofit/>
          </a:bodyPr>
          <a:lstStyle>
            <a:lvl1pPr marL="609585" lvl="0" indent="-380990" algn="l" rtl="0">
              <a:lnSpc>
                <a:spcPct val="125000"/>
              </a:lnSpc>
              <a:spcBef>
                <a:spcPts val="0"/>
              </a:spcBef>
              <a:spcAft>
                <a:spcPts val="0"/>
              </a:spcAft>
              <a:buClr>
                <a:schemeClr val="lt1"/>
              </a:buClr>
              <a:buSzPts val="900"/>
              <a:buChar char="●"/>
              <a:defRPr sz="1200">
                <a:solidFill>
                  <a:schemeClr val="lt1"/>
                </a:solidFill>
              </a:defRPr>
            </a:lvl1pPr>
            <a:lvl2pPr marL="1219170" lvl="1" indent="-380990" algn="l" rtl="0">
              <a:lnSpc>
                <a:spcPct val="125000"/>
              </a:lnSpc>
              <a:spcBef>
                <a:spcPts val="1200"/>
              </a:spcBef>
              <a:spcAft>
                <a:spcPts val="0"/>
              </a:spcAft>
              <a:buClr>
                <a:schemeClr val="lt1"/>
              </a:buClr>
              <a:buSzPts val="900"/>
              <a:buChar char="●"/>
              <a:defRPr sz="1200">
                <a:solidFill>
                  <a:schemeClr val="lt1"/>
                </a:solidFill>
              </a:defRPr>
            </a:lvl2pPr>
            <a:lvl3pPr marL="1828754" lvl="2" indent="-380990" algn="l" rtl="0">
              <a:lnSpc>
                <a:spcPct val="125000"/>
              </a:lnSpc>
              <a:spcBef>
                <a:spcPts val="1200"/>
              </a:spcBef>
              <a:spcAft>
                <a:spcPts val="0"/>
              </a:spcAft>
              <a:buClr>
                <a:schemeClr val="lt1"/>
              </a:buClr>
              <a:buSzPts val="900"/>
              <a:buChar char="●"/>
              <a:defRPr sz="1200">
                <a:solidFill>
                  <a:schemeClr val="lt1"/>
                </a:solidFill>
              </a:defRPr>
            </a:lvl3pPr>
            <a:lvl4pPr marL="2438339" lvl="3" indent="-380990" algn="l" rtl="0">
              <a:lnSpc>
                <a:spcPct val="125000"/>
              </a:lnSpc>
              <a:spcBef>
                <a:spcPts val="1200"/>
              </a:spcBef>
              <a:spcAft>
                <a:spcPts val="0"/>
              </a:spcAft>
              <a:buClr>
                <a:schemeClr val="lt1"/>
              </a:buClr>
              <a:buSzPts val="900"/>
              <a:buChar char="●"/>
              <a:defRPr sz="1200">
                <a:solidFill>
                  <a:schemeClr val="lt1"/>
                </a:solidFill>
              </a:defRPr>
            </a:lvl4pPr>
            <a:lvl5pPr marL="3047924" lvl="4" indent="-380990" algn="l" rtl="0">
              <a:lnSpc>
                <a:spcPct val="125000"/>
              </a:lnSpc>
              <a:spcBef>
                <a:spcPts val="1200"/>
              </a:spcBef>
              <a:spcAft>
                <a:spcPts val="0"/>
              </a:spcAft>
              <a:buClr>
                <a:schemeClr val="lt1"/>
              </a:buClr>
              <a:buSzPts val="900"/>
              <a:buChar char="●"/>
              <a:defRPr sz="1200">
                <a:solidFill>
                  <a:schemeClr val="lt1"/>
                </a:solidFill>
              </a:defRPr>
            </a:lvl5pPr>
            <a:lvl6pPr marL="3657509" lvl="5" indent="-380990" algn="l" rtl="0">
              <a:lnSpc>
                <a:spcPct val="125000"/>
              </a:lnSpc>
              <a:spcBef>
                <a:spcPts val="1200"/>
              </a:spcBef>
              <a:spcAft>
                <a:spcPts val="0"/>
              </a:spcAft>
              <a:buClr>
                <a:schemeClr val="lt1"/>
              </a:buClr>
              <a:buSzPts val="900"/>
              <a:buChar char="●"/>
              <a:defRPr sz="1200">
                <a:solidFill>
                  <a:schemeClr val="lt1"/>
                </a:solidFill>
              </a:defRPr>
            </a:lvl6pPr>
            <a:lvl7pPr marL="4267093" lvl="6" indent="-380990" algn="l" rtl="0">
              <a:lnSpc>
                <a:spcPct val="125000"/>
              </a:lnSpc>
              <a:spcBef>
                <a:spcPts val="1200"/>
              </a:spcBef>
              <a:spcAft>
                <a:spcPts val="0"/>
              </a:spcAft>
              <a:buClr>
                <a:schemeClr val="lt1"/>
              </a:buClr>
              <a:buSzPts val="900"/>
              <a:buChar char="●"/>
              <a:defRPr sz="1200">
                <a:solidFill>
                  <a:schemeClr val="lt1"/>
                </a:solidFill>
              </a:defRPr>
            </a:lvl7pPr>
            <a:lvl8pPr marL="4876678" lvl="7" indent="-380990" algn="l" rtl="0">
              <a:lnSpc>
                <a:spcPct val="125000"/>
              </a:lnSpc>
              <a:spcBef>
                <a:spcPts val="1200"/>
              </a:spcBef>
              <a:spcAft>
                <a:spcPts val="0"/>
              </a:spcAft>
              <a:buClr>
                <a:schemeClr val="lt1"/>
              </a:buClr>
              <a:buSzPts val="900"/>
              <a:buChar char="●"/>
              <a:defRPr sz="1200">
                <a:solidFill>
                  <a:schemeClr val="lt1"/>
                </a:solidFill>
              </a:defRPr>
            </a:lvl8pPr>
            <a:lvl9pPr marL="5486263" lvl="8" indent="-380990" algn="l" rtl="0">
              <a:lnSpc>
                <a:spcPct val="125000"/>
              </a:lnSpc>
              <a:spcBef>
                <a:spcPts val="1200"/>
              </a:spcBef>
              <a:spcAft>
                <a:spcPts val="1200"/>
              </a:spcAft>
              <a:buClr>
                <a:schemeClr val="lt1"/>
              </a:buClr>
              <a:buSzPts val="900"/>
              <a:buChar char="●"/>
              <a:defRPr sz="1200">
                <a:solidFill>
                  <a:schemeClr val="lt1"/>
                </a:solidFill>
              </a:defRPr>
            </a:lvl9pPr>
          </a:lstStyle>
          <a:p>
            <a:endParaRPr/>
          </a:p>
        </p:txBody>
      </p:sp>
      <p:sp>
        <p:nvSpPr>
          <p:cNvPr id="1726" name="Google Shape;1726;p44"/>
          <p:cNvSpPr txBox="1">
            <a:spLocks noGrp="1"/>
          </p:cNvSpPr>
          <p:nvPr>
            <p:ph type="body" idx="6"/>
          </p:nvPr>
        </p:nvSpPr>
        <p:spPr>
          <a:xfrm>
            <a:off x="8003400" y="2710000"/>
            <a:ext cx="3237200" cy="3535200"/>
          </a:xfrm>
          <a:prstGeom prst="rect">
            <a:avLst/>
          </a:prstGeom>
          <a:noFill/>
          <a:ln>
            <a:noFill/>
          </a:ln>
        </p:spPr>
        <p:txBody>
          <a:bodyPr spcFirstLastPara="1" wrap="square" lIns="0" tIns="34275" rIns="68575" bIns="34275" anchor="t" anchorCtr="0">
            <a:noAutofit/>
          </a:bodyPr>
          <a:lstStyle>
            <a:lvl1pPr marL="609585" lvl="0" indent="-380990" algn="l" rtl="0">
              <a:lnSpc>
                <a:spcPct val="125000"/>
              </a:lnSpc>
              <a:spcBef>
                <a:spcPts val="0"/>
              </a:spcBef>
              <a:spcAft>
                <a:spcPts val="0"/>
              </a:spcAft>
              <a:buClr>
                <a:schemeClr val="lt1"/>
              </a:buClr>
              <a:buSzPts val="900"/>
              <a:buChar char="●"/>
              <a:defRPr sz="1200">
                <a:solidFill>
                  <a:schemeClr val="lt1"/>
                </a:solidFill>
              </a:defRPr>
            </a:lvl1pPr>
            <a:lvl2pPr marL="1219170" lvl="1" indent="-380990" algn="l" rtl="0">
              <a:lnSpc>
                <a:spcPct val="125000"/>
              </a:lnSpc>
              <a:spcBef>
                <a:spcPts val="1200"/>
              </a:spcBef>
              <a:spcAft>
                <a:spcPts val="0"/>
              </a:spcAft>
              <a:buClr>
                <a:schemeClr val="lt1"/>
              </a:buClr>
              <a:buSzPts val="900"/>
              <a:buChar char="●"/>
              <a:defRPr sz="1200">
                <a:solidFill>
                  <a:schemeClr val="lt1"/>
                </a:solidFill>
              </a:defRPr>
            </a:lvl2pPr>
            <a:lvl3pPr marL="1828754" lvl="2" indent="-380990" algn="l" rtl="0">
              <a:lnSpc>
                <a:spcPct val="125000"/>
              </a:lnSpc>
              <a:spcBef>
                <a:spcPts val="1200"/>
              </a:spcBef>
              <a:spcAft>
                <a:spcPts val="0"/>
              </a:spcAft>
              <a:buClr>
                <a:schemeClr val="lt1"/>
              </a:buClr>
              <a:buSzPts val="900"/>
              <a:buChar char="●"/>
              <a:defRPr sz="1200">
                <a:solidFill>
                  <a:schemeClr val="lt1"/>
                </a:solidFill>
              </a:defRPr>
            </a:lvl3pPr>
            <a:lvl4pPr marL="2438339" lvl="3" indent="-380990" algn="l" rtl="0">
              <a:lnSpc>
                <a:spcPct val="125000"/>
              </a:lnSpc>
              <a:spcBef>
                <a:spcPts val="1200"/>
              </a:spcBef>
              <a:spcAft>
                <a:spcPts val="0"/>
              </a:spcAft>
              <a:buClr>
                <a:schemeClr val="lt1"/>
              </a:buClr>
              <a:buSzPts val="900"/>
              <a:buChar char="●"/>
              <a:defRPr sz="1200">
                <a:solidFill>
                  <a:schemeClr val="lt1"/>
                </a:solidFill>
              </a:defRPr>
            </a:lvl4pPr>
            <a:lvl5pPr marL="3047924" lvl="4" indent="-380990" algn="l" rtl="0">
              <a:lnSpc>
                <a:spcPct val="125000"/>
              </a:lnSpc>
              <a:spcBef>
                <a:spcPts val="1200"/>
              </a:spcBef>
              <a:spcAft>
                <a:spcPts val="0"/>
              </a:spcAft>
              <a:buClr>
                <a:schemeClr val="lt1"/>
              </a:buClr>
              <a:buSzPts val="900"/>
              <a:buChar char="●"/>
              <a:defRPr sz="1200">
                <a:solidFill>
                  <a:schemeClr val="lt1"/>
                </a:solidFill>
              </a:defRPr>
            </a:lvl5pPr>
            <a:lvl6pPr marL="3657509" lvl="5" indent="-380990" algn="l" rtl="0">
              <a:lnSpc>
                <a:spcPct val="125000"/>
              </a:lnSpc>
              <a:spcBef>
                <a:spcPts val="1200"/>
              </a:spcBef>
              <a:spcAft>
                <a:spcPts val="0"/>
              </a:spcAft>
              <a:buClr>
                <a:schemeClr val="lt1"/>
              </a:buClr>
              <a:buSzPts val="900"/>
              <a:buChar char="●"/>
              <a:defRPr sz="1200">
                <a:solidFill>
                  <a:schemeClr val="lt1"/>
                </a:solidFill>
              </a:defRPr>
            </a:lvl6pPr>
            <a:lvl7pPr marL="4267093" lvl="6" indent="-380990" algn="l" rtl="0">
              <a:lnSpc>
                <a:spcPct val="125000"/>
              </a:lnSpc>
              <a:spcBef>
                <a:spcPts val="1200"/>
              </a:spcBef>
              <a:spcAft>
                <a:spcPts val="0"/>
              </a:spcAft>
              <a:buClr>
                <a:schemeClr val="lt1"/>
              </a:buClr>
              <a:buSzPts val="900"/>
              <a:buChar char="●"/>
              <a:defRPr sz="1200">
                <a:solidFill>
                  <a:schemeClr val="lt1"/>
                </a:solidFill>
              </a:defRPr>
            </a:lvl7pPr>
            <a:lvl8pPr marL="4876678" lvl="7" indent="-380990" algn="l" rtl="0">
              <a:lnSpc>
                <a:spcPct val="125000"/>
              </a:lnSpc>
              <a:spcBef>
                <a:spcPts val="1200"/>
              </a:spcBef>
              <a:spcAft>
                <a:spcPts val="0"/>
              </a:spcAft>
              <a:buClr>
                <a:schemeClr val="lt1"/>
              </a:buClr>
              <a:buSzPts val="900"/>
              <a:buChar char="●"/>
              <a:defRPr sz="1200">
                <a:solidFill>
                  <a:schemeClr val="lt1"/>
                </a:solidFill>
              </a:defRPr>
            </a:lvl8pPr>
            <a:lvl9pPr marL="5486263" lvl="8" indent="-380990" algn="l" rtl="0">
              <a:lnSpc>
                <a:spcPct val="125000"/>
              </a:lnSpc>
              <a:spcBef>
                <a:spcPts val="1200"/>
              </a:spcBef>
              <a:spcAft>
                <a:spcPts val="1200"/>
              </a:spcAft>
              <a:buClr>
                <a:schemeClr val="lt1"/>
              </a:buClr>
              <a:buSzPts val="900"/>
              <a:buChar char="●"/>
              <a:defRPr sz="1200">
                <a:solidFill>
                  <a:schemeClr val="lt1"/>
                </a:solidFill>
              </a:defRPr>
            </a:lvl9pPr>
          </a:lstStyle>
          <a:p>
            <a:endParaRPr/>
          </a:p>
        </p:txBody>
      </p:sp>
      <p:sp>
        <p:nvSpPr>
          <p:cNvPr id="1727" name="Google Shape;1727;p44"/>
          <p:cNvSpPr txBox="1">
            <a:spLocks noGrp="1"/>
          </p:cNvSpPr>
          <p:nvPr>
            <p:ph type="subTitle" idx="7"/>
          </p:nvPr>
        </p:nvSpPr>
        <p:spPr>
          <a:xfrm>
            <a:off x="493900" y="1356784"/>
            <a:ext cx="5831600" cy="446800"/>
          </a:xfrm>
          <a:prstGeom prst="rect">
            <a:avLst/>
          </a:prstGeom>
        </p:spPr>
        <p:txBody>
          <a:bodyPr spcFirstLastPara="1" wrap="square" lIns="0" tIns="34275" rIns="68575" bIns="34275" anchor="t" anchorCtr="0">
            <a:normAutofit/>
          </a:bodyPr>
          <a:lstStyle>
            <a:lvl1pPr lvl="0" rtl="0">
              <a:spcBef>
                <a:spcPts val="1067"/>
              </a:spcBef>
              <a:spcAft>
                <a:spcPts val="0"/>
              </a:spcAft>
              <a:buClr>
                <a:schemeClr val="lt1"/>
              </a:buClr>
              <a:buSzPts val="1200"/>
              <a:buFont typeface="Inter Medium"/>
              <a:buNone/>
              <a:defRPr>
                <a:solidFill>
                  <a:schemeClr val="lt1"/>
                </a:solidFill>
                <a:latin typeface="Inter Medium"/>
                <a:ea typeface="Inter Medium"/>
                <a:cs typeface="Inter Medium"/>
                <a:sym typeface="Inter Medium"/>
              </a:defRPr>
            </a:lvl1pPr>
            <a:lvl2pPr lvl="1" rtl="0">
              <a:spcBef>
                <a:spcPts val="533"/>
              </a:spcBef>
              <a:spcAft>
                <a:spcPts val="0"/>
              </a:spcAft>
              <a:buSzPts val="1200"/>
              <a:buFont typeface="Inter Medium"/>
              <a:buNone/>
              <a:defRPr>
                <a:latin typeface="Inter Medium"/>
                <a:ea typeface="Inter Medium"/>
                <a:cs typeface="Inter Medium"/>
                <a:sym typeface="Inter Medium"/>
              </a:defRPr>
            </a:lvl2pPr>
            <a:lvl3pPr lvl="2" rtl="0">
              <a:spcBef>
                <a:spcPts val="533"/>
              </a:spcBef>
              <a:spcAft>
                <a:spcPts val="0"/>
              </a:spcAft>
              <a:buSzPts val="1200"/>
              <a:buFont typeface="Inter Medium"/>
              <a:buNone/>
              <a:defRPr>
                <a:latin typeface="Inter Medium"/>
                <a:ea typeface="Inter Medium"/>
                <a:cs typeface="Inter Medium"/>
                <a:sym typeface="Inter Medium"/>
              </a:defRPr>
            </a:lvl3pPr>
            <a:lvl4pPr lvl="3" rtl="0">
              <a:spcBef>
                <a:spcPts val="533"/>
              </a:spcBef>
              <a:spcAft>
                <a:spcPts val="0"/>
              </a:spcAft>
              <a:buSzPts val="1200"/>
              <a:buFont typeface="Inter Medium"/>
              <a:buNone/>
              <a:defRPr>
                <a:latin typeface="Inter Medium"/>
                <a:ea typeface="Inter Medium"/>
                <a:cs typeface="Inter Medium"/>
                <a:sym typeface="Inter Medium"/>
              </a:defRPr>
            </a:lvl4pPr>
            <a:lvl5pPr lvl="4" rtl="0">
              <a:spcBef>
                <a:spcPts val="533"/>
              </a:spcBef>
              <a:spcAft>
                <a:spcPts val="0"/>
              </a:spcAft>
              <a:buSzPts val="1200"/>
              <a:buFont typeface="Inter Medium"/>
              <a:buNone/>
              <a:defRPr>
                <a:latin typeface="Inter Medium"/>
                <a:ea typeface="Inter Medium"/>
                <a:cs typeface="Inter Medium"/>
                <a:sym typeface="Inter Medium"/>
              </a:defRPr>
            </a:lvl5pPr>
            <a:lvl6pPr lvl="5" rtl="0">
              <a:spcBef>
                <a:spcPts val="533"/>
              </a:spcBef>
              <a:spcAft>
                <a:spcPts val="0"/>
              </a:spcAft>
              <a:buSzPts val="1200"/>
              <a:buFont typeface="Inter Medium"/>
              <a:buNone/>
              <a:defRPr>
                <a:latin typeface="Inter Medium"/>
                <a:ea typeface="Inter Medium"/>
                <a:cs typeface="Inter Medium"/>
                <a:sym typeface="Inter Medium"/>
              </a:defRPr>
            </a:lvl6pPr>
            <a:lvl7pPr lvl="6" rtl="0">
              <a:spcBef>
                <a:spcPts val="533"/>
              </a:spcBef>
              <a:spcAft>
                <a:spcPts val="0"/>
              </a:spcAft>
              <a:buSzPts val="1200"/>
              <a:buFont typeface="Inter Medium"/>
              <a:buNone/>
              <a:defRPr>
                <a:latin typeface="Inter Medium"/>
                <a:ea typeface="Inter Medium"/>
                <a:cs typeface="Inter Medium"/>
                <a:sym typeface="Inter Medium"/>
              </a:defRPr>
            </a:lvl7pPr>
            <a:lvl8pPr lvl="7" rtl="0">
              <a:spcBef>
                <a:spcPts val="533"/>
              </a:spcBef>
              <a:spcAft>
                <a:spcPts val="0"/>
              </a:spcAft>
              <a:buSzPts val="1200"/>
              <a:buFont typeface="Inter Medium"/>
              <a:buNone/>
              <a:defRPr>
                <a:latin typeface="Inter Medium"/>
                <a:ea typeface="Inter Medium"/>
                <a:cs typeface="Inter Medium"/>
                <a:sym typeface="Inter Medium"/>
              </a:defRPr>
            </a:lvl8pPr>
            <a:lvl9pPr lvl="8" rtl="0">
              <a:spcBef>
                <a:spcPts val="533"/>
              </a:spcBef>
              <a:spcAft>
                <a:spcPts val="0"/>
              </a:spcAft>
              <a:buSzPts val="1200"/>
              <a:buFont typeface="Inter Medium"/>
              <a:buNone/>
              <a:defRPr>
                <a:latin typeface="Inter Medium"/>
                <a:ea typeface="Inter Medium"/>
                <a:cs typeface="Inter Medium"/>
                <a:sym typeface="Inter Medium"/>
              </a:defRPr>
            </a:lvl9pPr>
          </a:lstStyle>
          <a:p>
            <a:endParaRPr/>
          </a:p>
        </p:txBody>
      </p:sp>
      <p:sp>
        <p:nvSpPr>
          <p:cNvPr id="1728" name="Google Shape;1728;p44"/>
          <p:cNvSpPr txBox="1"/>
          <p:nvPr/>
        </p:nvSpPr>
        <p:spPr>
          <a:xfrm>
            <a:off x="5451800" y="6245247"/>
            <a:ext cx="1288400" cy="273200"/>
          </a:xfrm>
          <a:prstGeom prst="rect">
            <a:avLst/>
          </a:prstGeom>
          <a:noFill/>
          <a:ln>
            <a:noFill/>
          </a:ln>
        </p:spPr>
        <p:txBody>
          <a:bodyPr spcFirstLastPara="1" wrap="square" lIns="0" tIns="0" rIns="0" bIns="0" anchor="b" anchorCtr="0">
            <a:noAutofit/>
          </a:bodyPr>
          <a:lstStyle/>
          <a:p>
            <a:pPr marL="0" lvl="0" indent="0" algn="ctr" rtl="0">
              <a:spcBef>
                <a:spcPts val="0"/>
              </a:spcBef>
              <a:spcAft>
                <a:spcPts val="0"/>
              </a:spcAft>
              <a:buNone/>
            </a:pPr>
            <a:r>
              <a:rPr lang="en-GB" sz="667">
                <a:solidFill>
                  <a:schemeClr val="lt1"/>
                </a:solidFill>
                <a:latin typeface="Inter"/>
                <a:ea typeface="Inter"/>
                <a:cs typeface="Inter"/>
                <a:sym typeface="Inter"/>
              </a:rPr>
              <a:t>Private and Confidential</a:t>
            </a:r>
            <a:endParaRPr sz="667">
              <a:solidFill>
                <a:schemeClr val="lt1"/>
              </a:solidFill>
              <a:latin typeface="Inter"/>
              <a:ea typeface="Inter"/>
              <a:cs typeface="Inter"/>
              <a:sym typeface="Inter"/>
            </a:endParaRPr>
          </a:p>
        </p:txBody>
      </p:sp>
      <p:sp>
        <p:nvSpPr>
          <p:cNvPr id="1729" name="Google Shape;1729;p44"/>
          <p:cNvSpPr txBox="1"/>
          <p:nvPr/>
        </p:nvSpPr>
        <p:spPr>
          <a:xfrm>
            <a:off x="981833" y="461600"/>
            <a:ext cx="971200" cy="192000"/>
          </a:xfrm>
          <a:prstGeom prst="rect">
            <a:avLst/>
          </a:prstGeom>
          <a:solidFill>
            <a:schemeClr val="accent2"/>
          </a:solidFill>
          <a:ln w="28575" cap="flat" cmpd="sng">
            <a:solidFill>
              <a:schemeClr val="accent2"/>
            </a:solidFill>
            <a:prstDash val="solid"/>
            <a:round/>
            <a:headEnd type="none" w="sm" len="sm"/>
            <a:tailEnd type="none" w="sm" len="sm"/>
          </a:ln>
        </p:spPr>
        <p:txBody>
          <a:bodyPr spcFirstLastPara="1" wrap="square" lIns="48000" tIns="0" rIns="48000" bIns="0" anchor="ctr" anchorCtr="0">
            <a:noAutofit/>
          </a:bodyPr>
          <a:lstStyle/>
          <a:p>
            <a:pPr marL="0" lvl="0" indent="0" algn="l" rtl="0">
              <a:lnSpc>
                <a:spcPct val="90000"/>
              </a:lnSpc>
              <a:spcBef>
                <a:spcPts val="1067"/>
              </a:spcBef>
              <a:spcAft>
                <a:spcPts val="0"/>
              </a:spcAft>
              <a:buNone/>
            </a:pPr>
            <a:r>
              <a:rPr lang="en-GB" sz="1200">
                <a:solidFill>
                  <a:srgbClr val="000000"/>
                </a:solidFill>
                <a:latin typeface="Inter Medium"/>
                <a:ea typeface="Inter Medium"/>
                <a:cs typeface="Inter Medium"/>
                <a:sym typeface="Inter Medium"/>
              </a:rPr>
              <a:t>Case Study</a:t>
            </a:r>
            <a:endParaRPr sz="1200">
              <a:solidFill>
                <a:srgbClr val="000000"/>
              </a:solidFill>
              <a:latin typeface="Inter Medium"/>
              <a:ea typeface="Inter Medium"/>
              <a:cs typeface="Inter Medium"/>
              <a:sym typeface="Inter Medium"/>
            </a:endParaRPr>
          </a:p>
        </p:txBody>
      </p:sp>
    </p:spTree>
    <p:extLst>
      <p:ext uri="{BB962C8B-B14F-4D97-AF65-F5344CB8AC3E}">
        <p14:creationId xmlns:p14="http://schemas.microsoft.com/office/powerpoint/2010/main" val="162367134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matchingName="Full image slide">
  <p:cSld name="Full image slide">
    <p:bg>
      <p:bgPr>
        <a:solidFill>
          <a:schemeClr val="dk1"/>
        </a:solidFill>
        <a:effectLst/>
      </p:bgPr>
    </p:bg>
    <p:spTree>
      <p:nvGrpSpPr>
        <p:cNvPr id="1" name="Shape 1730"/>
        <p:cNvGrpSpPr/>
        <p:nvPr/>
      </p:nvGrpSpPr>
      <p:grpSpPr>
        <a:xfrm>
          <a:off x="0" y="0"/>
          <a:ext cx="0" cy="0"/>
          <a:chOff x="0" y="0"/>
          <a:chExt cx="0" cy="0"/>
        </a:xfrm>
      </p:grpSpPr>
      <p:sp>
        <p:nvSpPr>
          <p:cNvPr id="1731" name="Google Shape;1731;p45"/>
          <p:cNvSpPr>
            <a:spLocks noGrp="1"/>
          </p:cNvSpPr>
          <p:nvPr>
            <p:ph type="pic" idx="2"/>
          </p:nvPr>
        </p:nvSpPr>
        <p:spPr>
          <a:xfrm>
            <a:off x="3160" y="-12567"/>
            <a:ext cx="12214000" cy="6870400"/>
          </a:xfrm>
          <a:prstGeom prst="rect">
            <a:avLst/>
          </a:prstGeom>
          <a:noFill/>
          <a:ln>
            <a:noFill/>
          </a:ln>
        </p:spPr>
      </p:sp>
      <p:sp>
        <p:nvSpPr>
          <p:cNvPr id="1732" name="Google Shape;1732;p45"/>
          <p:cNvSpPr txBox="1">
            <a:spLocks noGrp="1"/>
          </p:cNvSpPr>
          <p:nvPr>
            <p:ph type="title"/>
          </p:nvPr>
        </p:nvSpPr>
        <p:spPr>
          <a:xfrm>
            <a:off x="1338600" y="2309467"/>
            <a:ext cx="9514800" cy="2942000"/>
          </a:xfrm>
          <a:prstGeom prst="rect">
            <a:avLst/>
          </a:prstGeom>
        </p:spPr>
        <p:txBody>
          <a:bodyPr spcFirstLastPara="1" wrap="square" lIns="0" tIns="91425" rIns="91425" bIns="91425" anchor="t" anchorCtr="0">
            <a:noAutofit/>
          </a:bodyPr>
          <a:lstStyle>
            <a:lvl1pPr lvl="0" algn="ctr" rtl="0">
              <a:spcBef>
                <a:spcPts val="0"/>
              </a:spcBef>
              <a:spcAft>
                <a:spcPts val="0"/>
              </a:spcAft>
              <a:buClr>
                <a:schemeClr val="lt1"/>
              </a:buClr>
              <a:buSzPts val="4600"/>
              <a:buFont typeface="Inter Medium"/>
              <a:buNone/>
              <a:defRPr sz="6133">
                <a:solidFill>
                  <a:schemeClr val="lt1"/>
                </a:solidFill>
                <a:latin typeface="Inter Medium"/>
                <a:ea typeface="Inter Medium"/>
                <a:cs typeface="Inter Medium"/>
                <a:sym typeface="Inter Medium"/>
              </a:defRPr>
            </a:lvl1pPr>
            <a:lvl2pPr lvl="1" algn="ctr" rtl="0">
              <a:spcBef>
                <a:spcPts val="0"/>
              </a:spcBef>
              <a:spcAft>
                <a:spcPts val="0"/>
              </a:spcAft>
              <a:buSzPts val="1100"/>
              <a:buNone/>
              <a:defRPr/>
            </a:lvl2pPr>
            <a:lvl3pPr lvl="2" algn="ctr" rtl="0">
              <a:spcBef>
                <a:spcPts val="0"/>
              </a:spcBef>
              <a:spcAft>
                <a:spcPts val="0"/>
              </a:spcAft>
              <a:buSzPts val="1100"/>
              <a:buNone/>
              <a:defRPr/>
            </a:lvl3pPr>
            <a:lvl4pPr lvl="3" algn="ctr" rtl="0">
              <a:spcBef>
                <a:spcPts val="0"/>
              </a:spcBef>
              <a:spcAft>
                <a:spcPts val="0"/>
              </a:spcAft>
              <a:buSzPts val="1100"/>
              <a:buNone/>
              <a:defRPr/>
            </a:lvl4pPr>
            <a:lvl5pPr lvl="4" algn="ctr" rtl="0">
              <a:spcBef>
                <a:spcPts val="0"/>
              </a:spcBef>
              <a:spcAft>
                <a:spcPts val="0"/>
              </a:spcAft>
              <a:buSzPts val="1100"/>
              <a:buNone/>
              <a:defRPr/>
            </a:lvl5pPr>
            <a:lvl6pPr lvl="5" algn="ctr" rtl="0">
              <a:spcBef>
                <a:spcPts val="0"/>
              </a:spcBef>
              <a:spcAft>
                <a:spcPts val="0"/>
              </a:spcAft>
              <a:buSzPts val="1100"/>
              <a:buNone/>
              <a:defRPr/>
            </a:lvl6pPr>
            <a:lvl7pPr lvl="6" algn="ctr" rtl="0">
              <a:spcBef>
                <a:spcPts val="0"/>
              </a:spcBef>
              <a:spcAft>
                <a:spcPts val="0"/>
              </a:spcAft>
              <a:buSzPts val="1100"/>
              <a:buNone/>
              <a:defRPr/>
            </a:lvl7pPr>
            <a:lvl8pPr lvl="7" algn="ctr" rtl="0">
              <a:spcBef>
                <a:spcPts val="0"/>
              </a:spcBef>
              <a:spcAft>
                <a:spcPts val="0"/>
              </a:spcAft>
              <a:buSzPts val="1100"/>
              <a:buNone/>
              <a:defRPr/>
            </a:lvl8pPr>
            <a:lvl9pPr lvl="8" algn="ctr" rtl="0">
              <a:spcBef>
                <a:spcPts val="0"/>
              </a:spcBef>
              <a:spcAft>
                <a:spcPts val="0"/>
              </a:spcAft>
              <a:buSzPts val="1100"/>
              <a:buNone/>
              <a:defRPr/>
            </a:lvl9pPr>
          </a:lstStyle>
          <a:p>
            <a:endParaRPr/>
          </a:p>
        </p:txBody>
      </p:sp>
      <p:grpSp>
        <p:nvGrpSpPr>
          <p:cNvPr id="1733" name="Google Shape;1733;p45"/>
          <p:cNvGrpSpPr/>
          <p:nvPr/>
        </p:nvGrpSpPr>
        <p:grpSpPr>
          <a:xfrm>
            <a:off x="5127359" y="5371262"/>
            <a:ext cx="1937284" cy="324700"/>
            <a:chOff x="2455289" y="1451556"/>
            <a:chExt cx="2208151" cy="370100"/>
          </a:xfrm>
        </p:grpSpPr>
        <p:sp>
          <p:nvSpPr>
            <p:cNvPr id="1734" name="Google Shape;1734;p45"/>
            <p:cNvSpPr/>
            <p:nvPr/>
          </p:nvSpPr>
          <p:spPr>
            <a:xfrm>
              <a:off x="2876395" y="1554783"/>
              <a:ext cx="221938" cy="264747"/>
            </a:xfrm>
            <a:custGeom>
              <a:avLst/>
              <a:gdLst/>
              <a:ahLst/>
              <a:cxnLst/>
              <a:rect l="l" t="t" r="r" b="b"/>
              <a:pathLst>
                <a:path w="295917" h="352996" extrusionOk="0">
                  <a:moveTo>
                    <a:pt x="225076" y="193096"/>
                  </a:moveTo>
                  <a:cubicBezTo>
                    <a:pt x="225076" y="250174"/>
                    <a:pt x="194310" y="284988"/>
                    <a:pt x="148566" y="284988"/>
                  </a:cubicBezTo>
                  <a:cubicBezTo>
                    <a:pt x="101608" y="284988"/>
                    <a:pt x="70842" y="250174"/>
                    <a:pt x="70842" y="193096"/>
                  </a:cubicBezTo>
                  <a:lnTo>
                    <a:pt x="70842" y="0"/>
                  </a:lnTo>
                  <a:lnTo>
                    <a:pt x="0" y="0"/>
                  </a:lnTo>
                  <a:lnTo>
                    <a:pt x="0" y="191477"/>
                  </a:lnTo>
                  <a:cubicBezTo>
                    <a:pt x="0" y="289441"/>
                    <a:pt x="54245" y="352997"/>
                    <a:pt x="146542" y="352997"/>
                  </a:cubicBezTo>
                  <a:cubicBezTo>
                    <a:pt x="238030" y="352997"/>
                    <a:pt x="295918" y="288227"/>
                    <a:pt x="295918" y="191477"/>
                  </a:cubicBezTo>
                  <a:lnTo>
                    <a:pt x="295918" y="0"/>
                  </a:lnTo>
                  <a:lnTo>
                    <a:pt x="225076" y="0"/>
                  </a:lnTo>
                  <a:lnTo>
                    <a:pt x="225076" y="193096"/>
                  </a:lnTo>
                  <a:close/>
                </a:path>
              </a:pathLst>
            </a:custGeom>
            <a:solidFill>
              <a:schemeClr val="lt1"/>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735" name="Google Shape;1735;p45"/>
            <p:cNvSpPr/>
            <p:nvPr/>
          </p:nvSpPr>
          <p:spPr>
            <a:xfrm>
              <a:off x="3150858" y="1452164"/>
              <a:ext cx="52220" cy="364027"/>
            </a:xfrm>
            <a:custGeom>
              <a:avLst/>
              <a:gdLst/>
              <a:ahLst/>
              <a:cxnLst/>
              <a:rect l="l" t="t" r="r" b="b"/>
              <a:pathLst>
                <a:path w="69627" h="485370" extrusionOk="0">
                  <a:moveTo>
                    <a:pt x="0" y="0"/>
                  </a:moveTo>
                  <a:lnTo>
                    <a:pt x="69628" y="0"/>
                  </a:lnTo>
                  <a:lnTo>
                    <a:pt x="69628" y="485370"/>
                  </a:lnTo>
                  <a:lnTo>
                    <a:pt x="0" y="485370"/>
                  </a:lnTo>
                  <a:close/>
                </a:path>
              </a:pathLst>
            </a:custGeom>
            <a:solidFill>
              <a:schemeClr val="lt1"/>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736" name="Google Shape;1736;p45"/>
            <p:cNvSpPr/>
            <p:nvPr/>
          </p:nvSpPr>
          <p:spPr>
            <a:xfrm>
              <a:off x="3440501" y="1555087"/>
              <a:ext cx="52220" cy="260800"/>
            </a:xfrm>
            <a:custGeom>
              <a:avLst/>
              <a:gdLst/>
              <a:ahLst/>
              <a:cxnLst/>
              <a:rect l="l" t="t" r="r" b="b"/>
              <a:pathLst>
                <a:path w="69627" h="347733" extrusionOk="0">
                  <a:moveTo>
                    <a:pt x="0" y="0"/>
                  </a:moveTo>
                  <a:lnTo>
                    <a:pt x="69627" y="0"/>
                  </a:lnTo>
                  <a:lnTo>
                    <a:pt x="69627" y="347734"/>
                  </a:lnTo>
                  <a:lnTo>
                    <a:pt x="0" y="347734"/>
                  </a:lnTo>
                  <a:close/>
                </a:path>
              </a:pathLst>
            </a:custGeom>
            <a:solidFill>
              <a:schemeClr val="lt1"/>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737" name="Google Shape;1737;p45"/>
            <p:cNvSpPr/>
            <p:nvPr/>
          </p:nvSpPr>
          <p:spPr>
            <a:xfrm>
              <a:off x="3517618" y="1555087"/>
              <a:ext cx="257764" cy="261104"/>
            </a:xfrm>
            <a:custGeom>
              <a:avLst/>
              <a:gdLst/>
              <a:ahLst/>
              <a:cxnLst/>
              <a:rect l="l" t="t" r="r" b="b"/>
              <a:pathLst>
                <a:path w="343685" h="348138" extrusionOk="0">
                  <a:moveTo>
                    <a:pt x="269200" y="0"/>
                  </a:moveTo>
                  <a:lnTo>
                    <a:pt x="172045" y="255842"/>
                  </a:lnTo>
                  <a:lnTo>
                    <a:pt x="74081" y="0"/>
                  </a:lnTo>
                  <a:lnTo>
                    <a:pt x="0" y="0"/>
                  </a:lnTo>
                  <a:lnTo>
                    <a:pt x="136422" y="348139"/>
                  </a:lnTo>
                  <a:lnTo>
                    <a:pt x="207264" y="348139"/>
                  </a:lnTo>
                  <a:lnTo>
                    <a:pt x="343686" y="0"/>
                  </a:lnTo>
                  <a:close/>
                </a:path>
              </a:pathLst>
            </a:custGeom>
            <a:solidFill>
              <a:schemeClr val="lt1"/>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738" name="Google Shape;1738;p45"/>
            <p:cNvSpPr/>
            <p:nvPr/>
          </p:nvSpPr>
          <p:spPr>
            <a:xfrm>
              <a:off x="4209848" y="1549621"/>
              <a:ext cx="188541" cy="272034"/>
            </a:xfrm>
            <a:custGeom>
              <a:avLst/>
              <a:gdLst/>
              <a:ahLst/>
              <a:cxnLst/>
              <a:rect l="l" t="t" r="r" b="b"/>
              <a:pathLst>
                <a:path w="251388" h="362712" extrusionOk="0">
                  <a:moveTo>
                    <a:pt x="150591" y="148971"/>
                  </a:moveTo>
                  <a:lnTo>
                    <a:pt x="109704" y="139660"/>
                  </a:lnTo>
                  <a:cubicBezTo>
                    <a:pt x="84606" y="133588"/>
                    <a:pt x="72057" y="120229"/>
                    <a:pt x="72057" y="102013"/>
                  </a:cubicBezTo>
                  <a:cubicBezTo>
                    <a:pt x="72057" y="76915"/>
                    <a:pt x="95131" y="61531"/>
                    <a:pt x="126302" y="62341"/>
                  </a:cubicBezTo>
                  <a:cubicBezTo>
                    <a:pt x="145328" y="62341"/>
                    <a:pt x="164759" y="68413"/>
                    <a:pt x="183380" y="77724"/>
                  </a:cubicBezTo>
                  <a:cubicBezTo>
                    <a:pt x="206454" y="88654"/>
                    <a:pt x="225886" y="104037"/>
                    <a:pt x="233577" y="111324"/>
                  </a:cubicBezTo>
                  <a:lnTo>
                    <a:pt x="233577" y="38457"/>
                  </a:lnTo>
                  <a:cubicBezTo>
                    <a:pt x="221837" y="29551"/>
                    <a:pt x="178522" y="0"/>
                    <a:pt x="123063" y="0"/>
                  </a:cubicBezTo>
                  <a:cubicBezTo>
                    <a:pt x="46149" y="0"/>
                    <a:pt x="0" y="51411"/>
                    <a:pt x="0" y="107680"/>
                  </a:cubicBezTo>
                  <a:cubicBezTo>
                    <a:pt x="0" y="161115"/>
                    <a:pt x="37648" y="187428"/>
                    <a:pt x="87439" y="199573"/>
                  </a:cubicBezTo>
                  <a:lnTo>
                    <a:pt x="127111" y="208883"/>
                  </a:lnTo>
                  <a:cubicBezTo>
                    <a:pt x="162330" y="216980"/>
                    <a:pt x="179332" y="229934"/>
                    <a:pt x="179332" y="254222"/>
                  </a:cubicBezTo>
                  <a:cubicBezTo>
                    <a:pt x="179332" y="278511"/>
                    <a:pt x="158687" y="301585"/>
                    <a:pt x="121039" y="301585"/>
                  </a:cubicBezTo>
                  <a:cubicBezTo>
                    <a:pt x="97155" y="301585"/>
                    <a:pt x="73271" y="293489"/>
                    <a:pt x="54245" y="282559"/>
                  </a:cubicBezTo>
                  <a:cubicBezTo>
                    <a:pt x="31171" y="270415"/>
                    <a:pt x="13764" y="255437"/>
                    <a:pt x="9311" y="250984"/>
                  </a:cubicBezTo>
                  <a:lnTo>
                    <a:pt x="8096" y="325065"/>
                  </a:lnTo>
                  <a:cubicBezTo>
                    <a:pt x="12549" y="329922"/>
                    <a:pt x="52626" y="362712"/>
                    <a:pt x="123468" y="362712"/>
                  </a:cubicBezTo>
                  <a:cubicBezTo>
                    <a:pt x="202406" y="362712"/>
                    <a:pt x="251388" y="307253"/>
                    <a:pt x="251388" y="250984"/>
                  </a:cubicBezTo>
                  <a:cubicBezTo>
                    <a:pt x="250579" y="201597"/>
                    <a:pt x="216979" y="163949"/>
                    <a:pt x="150591" y="148971"/>
                  </a:cubicBezTo>
                  <a:close/>
                </a:path>
              </a:pathLst>
            </a:custGeom>
            <a:solidFill>
              <a:schemeClr val="lt1"/>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739" name="Google Shape;1739;p45"/>
            <p:cNvSpPr/>
            <p:nvPr/>
          </p:nvSpPr>
          <p:spPr>
            <a:xfrm>
              <a:off x="3775382" y="1552051"/>
              <a:ext cx="242584" cy="267176"/>
            </a:xfrm>
            <a:custGeom>
              <a:avLst/>
              <a:gdLst/>
              <a:ahLst/>
              <a:cxnLst/>
              <a:rect l="l" t="t" r="r" b="b"/>
              <a:pathLst>
                <a:path w="323445" h="356235" extrusionOk="0">
                  <a:moveTo>
                    <a:pt x="70842" y="150995"/>
                  </a:moveTo>
                  <a:cubicBezTo>
                    <a:pt x="79343" y="101203"/>
                    <a:pt x="112538" y="64770"/>
                    <a:pt x="164758" y="64770"/>
                  </a:cubicBezTo>
                  <a:cubicBezTo>
                    <a:pt x="216575" y="64770"/>
                    <a:pt x="247340" y="101203"/>
                    <a:pt x="255437" y="150995"/>
                  </a:cubicBezTo>
                  <a:lnTo>
                    <a:pt x="70842" y="150995"/>
                  </a:lnTo>
                  <a:close/>
                  <a:moveTo>
                    <a:pt x="164758" y="0"/>
                  </a:moveTo>
                  <a:cubicBezTo>
                    <a:pt x="70842" y="0"/>
                    <a:pt x="0" y="79748"/>
                    <a:pt x="0" y="178118"/>
                  </a:cubicBezTo>
                  <a:cubicBezTo>
                    <a:pt x="0" y="276487"/>
                    <a:pt x="76914" y="356235"/>
                    <a:pt x="180546" y="356235"/>
                  </a:cubicBezTo>
                  <a:cubicBezTo>
                    <a:pt x="259889" y="356235"/>
                    <a:pt x="303609" y="317778"/>
                    <a:pt x="303609" y="317778"/>
                  </a:cubicBezTo>
                  <a:lnTo>
                    <a:pt x="303609" y="246936"/>
                  </a:lnTo>
                  <a:cubicBezTo>
                    <a:pt x="303609" y="246936"/>
                    <a:pt x="255437" y="290655"/>
                    <a:pt x="185809" y="290655"/>
                  </a:cubicBezTo>
                  <a:cubicBezTo>
                    <a:pt x="123063" y="290655"/>
                    <a:pt x="81772" y="255032"/>
                    <a:pt x="71247" y="204835"/>
                  </a:cubicBezTo>
                  <a:lnTo>
                    <a:pt x="322231" y="204835"/>
                  </a:lnTo>
                  <a:cubicBezTo>
                    <a:pt x="323041" y="195929"/>
                    <a:pt x="323445" y="186618"/>
                    <a:pt x="323445" y="177713"/>
                  </a:cubicBezTo>
                  <a:cubicBezTo>
                    <a:pt x="323445" y="79748"/>
                    <a:pt x="256247" y="0"/>
                    <a:pt x="164758" y="0"/>
                  </a:cubicBezTo>
                  <a:close/>
                </a:path>
              </a:pathLst>
            </a:custGeom>
            <a:solidFill>
              <a:schemeClr val="lt1"/>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740" name="Google Shape;1740;p45"/>
            <p:cNvSpPr/>
            <p:nvPr/>
          </p:nvSpPr>
          <p:spPr>
            <a:xfrm>
              <a:off x="3429268" y="1451556"/>
              <a:ext cx="74687" cy="65883"/>
            </a:xfrm>
            <a:custGeom>
              <a:avLst/>
              <a:gdLst/>
              <a:ahLst/>
              <a:cxnLst/>
              <a:rect l="l" t="t" r="r" b="b"/>
              <a:pathLst>
                <a:path w="99583" h="87844" extrusionOk="0">
                  <a:moveTo>
                    <a:pt x="24693" y="0"/>
                  </a:moveTo>
                  <a:lnTo>
                    <a:pt x="0" y="43720"/>
                  </a:lnTo>
                  <a:lnTo>
                    <a:pt x="24693" y="87844"/>
                  </a:lnTo>
                  <a:lnTo>
                    <a:pt x="74890" y="87844"/>
                  </a:lnTo>
                  <a:lnTo>
                    <a:pt x="99584" y="43720"/>
                  </a:lnTo>
                  <a:lnTo>
                    <a:pt x="74890" y="0"/>
                  </a:lnTo>
                  <a:close/>
                </a:path>
              </a:pathLst>
            </a:custGeom>
            <a:solidFill>
              <a:schemeClr val="lt1"/>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741" name="Google Shape;1741;p45"/>
            <p:cNvSpPr/>
            <p:nvPr/>
          </p:nvSpPr>
          <p:spPr>
            <a:xfrm>
              <a:off x="2455288" y="1554783"/>
              <a:ext cx="375868" cy="261103"/>
            </a:xfrm>
            <a:custGeom>
              <a:avLst/>
              <a:gdLst/>
              <a:ahLst/>
              <a:cxnLst/>
              <a:rect l="l" t="t" r="r" b="b"/>
              <a:pathLst>
                <a:path w="501157" h="348138" extrusionOk="0">
                  <a:moveTo>
                    <a:pt x="433149" y="405"/>
                  </a:moveTo>
                  <a:lnTo>
                    <a:pt x="422219" y="405"/>
                  </a:lnTo>
                  <a:lnTo>
                    <a:pt x="422219" y="405"/>
                  </a:lnTo>
                  <a:lnTo>
                    <a:pt x="422219" y="405"/>
                  </a:lnTo>
                  <a:lnTo>
                    <a:pt x="284988" y="230338"/>
                  </a:lnTo>
                  <a:cubicBezTo>
                    <a:pt x="284988" y="192286"/>
                    <a:pt x="284178" y="405"/>
                    <a:pt x="284178" y="405"/>
                  </a:cubicBezTo>
                  <a:lnTo>
                    <a:pt x="216575" y="405"/>
                  </a:lnTo>
                  <a:lnTo>
                    <a:pt x="205645" y="405"/>
                  </a:lnTo>
                  <a:lnTo>
                    <a:pt x="205645" y="405"/>
                  </a:lnTo>
                  <a:lnTo>
                    <a:pt x="205645" y="405"/>
                  </a:lnTo>
                  <a:lnTo>
                    <a:pt x="69223" y="229529"/>
                  </a:lnTo>
                  <a:lnTo>
                    <a:pt x="68818" y="216170"/>
                  </a:lnTo>
                  <a:lnTo>
                    <a:pt x="69628" y="405"/>
                  </a:lnTo>
                  <a:lnTo>
                    <a:pt x="0" y="405"/>
                  </a:lnTo>
                  <a:lnTo>
                    <a:pt x="0" y="348139"/>
                  </a:lnTo>
                  <a:lnTo>
                    <a:pt x="69628" y="348139"/>
                  </a:lnTo>
                  <a:cubicBezTo>
                    <a:pt x="74081" y="340852"/>
                    <a:pt x="84606" y="322636"/>
                    <a:pt x="98369" y="299157"/>
                  </a:cubicBezTo>
                  <a:lnTo>
                    <a:pt x="216575" y="100394"/>
                  </a:lnTo>
                  <a:lnTo>
                    <a:pt x="216575" y="347734"/>
                  </a:lnTo>
                  <a:lnTo>
                    <a:pt x="285393" y="347734"/>
                  </a:lnTo>
                  <a:cubicBezTo>
                    <a:pt x="285393" y="347734"/>
                    <a:pt x="285393" y="347734"/>
                    <a:pt x="285393" y="347734"/>
                  </a:cubicBezTo>
                  <a:lnTo>
                    <a:pt x="285393" y="347734"/>
                  </a:lnTo>
                  <a:lnTo>
                    <a:pt x="432340" y="101608"/>
                  </a:lnTo>
                  <a:lnTo>
                    <a:pt x="432340" y="347734"/>
                  </a:lnTo>
                  <a:lnTo>
                    <a:pt x="501158" y="347734"/>
                  </a:lnTo>
                  <a:lnTo>
                    <a:pt x="501158" y="0"/>
                  </a:lnTo>
                  <a:lnTo>
                    <a:pt x="433149" y="0"/>
                  </a:lnTo>
                  <a:close/>
                </a:path>
              </a:pathLst>
            </a:custGeom>
            <a:solidFill>
              <a:schemeClr val="lt1"/>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742" name="Google Shape;1742;p45"/>
            <p:cNvSpPr/>
            <p:nvPr/>
          </p:nvSpPr>
          <p:spPr>
            <a:xfrm>
              <a:off x="4428749" y="1553569"/>
              <a:ext cx="234690" cy="263229"/>
            </a:xfrm>
            <a:custGeom>
              <a:avLst/>
              <a:gdLst/>
              <a:ahLst/>
              <a:cxnLst/>
              <a:rect l="l" t="t" r="r" b="b"/>
              <a:pathLst>
                <a:path w="312920" h="350972" extrusionOk="0">
                  <a:moveTo>
                    <a:pt x="68009" y="136017"/>
                  </a:moveTo>
                  <a:cubicBezTo>
                    <a:pt x="72057" y="123468"/>
                    <a:pt x="78129" y="112538"/>
                    <a:pt x="85821" y="103227"/>
                  </a:cubicBezTo>
                  <a:cubicBezTo>
                    <a:pt x="97155" y="89059"/>
                    <a:pt x="110514" y="78533"/>
                    <a:pt x="125492" y="71247"/>
                  </a:cubicBezTo>
                  <a:cubicBezTo>
                    <a:pt x="140470" y="63960"/>
                    <a:pt x="155853" y="60317"/>
                    <a:pt x="171236" y="60317"/>
                  </a:cubicBezTo>
                  <a:cubicBezTo>
                    <a:pt x="194310" y="60317"/>
                    <a:pt x="212932" y="65580"/>
                    <a:pt x="226290" y="75700"/>
                  </a:cubicBezTo>
                  <a:cubicBezTo>
                    <a:pt x="238435" y="84606"/>
                    <a:pt x="244102" y="95941"/>
                    <a:pt x="244102" y="110918"/>
                  </a:cubicBezTo>
                  <a:cubicBezTo>
                    <a:pt x="244102" y="119420"/>
                    <a:pt x="242078" y="130350"/>
                    <a:pt x="225481" y="140065"/>
                  </a:cubicBezTo>
                  <a:cubicBezTo>
                    <a:pt x="209693" y="149376"/>
                    <a:pt x="190667" y="153829"/>
                    <a:pt x="169212" y="153829"/>
                  </a:cubicBezTo>
                  <a:cubicBezTo>
                    <a:pt x="139256" y="153424"/>
                    <a:pt x="104847" y="147757"/>
                    <a:pt x="68009" y="136017"/>
                  </a:cubicBezTo>
                  <a:close/>
                  <a:moveTo>
                    <a:pt x="277297" y="238030"/>
                  </a:moveTo>
                  <a:lnTo>
                    <a:pt x="261509" y="252603"/>
                  </a:lnTo>
                  <a:cubicBezTo>
                    <a:pt x="247746" y="265152"/>
                    <a:pt x="232767" y="274868"/>
                    <a:pt x="217789" y="281749"/>
                  </a:cubicBezTo>
                  <a:cubicBezTo>
                    <a:pt x="203216" y="288227"/>
                    <a:pt x="185809" y="291465"/>
                    <a:pt x="165164" y="291465"/>
                  </a:cubicBezTo>
                  <a:cubicBezTo>
                    <a:pt x="146542" y="291465"/>
                    <a:pt x="129540" y="287012"/>
                    <a:pt x="113348" y="278106"/>
                  </a:cubicBezTo>
                  <a:cubicBezTo>
                    <a:pt x="97155" y="269200"/>
                    <a:pt x="84606" y="257056"/>
                    <a:pt x="74890" y="240458"/>
                  </a:cubicBezTo>
                  <a:cubicBezTo>
                    <a:pt x="66389" y="226290"/>
                    <a:pt x="61937" y="211312"/>
                    <a:pt x="60722" y="193905"/>
                  </a:cubicBezTo>
                  <a:cubicBezTo>
                    <a:pt x="75700" y="198763"/>
                    <a:pt x="89869" y="202406"/>
                    <a:pt x="103227" y="205645"/>
                  </a:cubicBezTo>
                  <a:cubicBezTo>
                    <a:pt x="124682" y="210907"/>
                    <a:pt x="147352" y="213336"/>
                    <a:pt x="170021" y="213336"/>
                  </a:cubicBezTo>
                  <a:cubicBezTo>
                    <a:pt x="191881" y="213336"/>
                    <a:pt x="212932" y="209693"/>
                    <a:pt x="232767" y="202406"/>
                  </a:cubicBezTo>
                  <a:cubicBezTo>
                    <a:pt x="253413" y="194715"/>
                    <a:pt x="270415" y="183380"/>
                    <a:pt x="283774" y="168807"/>
                  </a:cubicBezTo>
                  <a:cubicBezTo>
                    <a:pt x="297942" y="152614"/>
                    <a:pt x="305229" y="133183"/>
                    <a:pt x="305229" y="110514"/>
                  </a:cubicBezTo>
                  <a:cubicBezTo>
                    <a:pt x="305229" y="89059"/>
                    <a:pt x="299157" y="69628"/>
                    <a:pt x="286607" y="52221"/>
                  </a:cubicBezTo>
                  <a:cubicBezTo>
                    <a:pt x="274868" y="35623"/>
                    <a:pt x="258271" y="22265"/>
                    <a:pt x="237625" y="13359"/>
                  </a:cubicBezTo>
                  <a:cubicBezTo>
                    <a:pt x="217789" y="4453"/>
                    <a:pt x="195525" y="0"/>
                    <a:pt x="172045" y="0"/>
                  </a:cubicBezTo>
                  <a:cubicBezTo>
                    <a:pt x="143708" y="0"/>
                    <a:pt x="116181" y="7287"/>
                    <a:pt x="90273" y="21455"/>
                  </a:cubicBezTo>
                  <a:cubicBezTo>
                    <a:pt x="63961" y="36028"/>
                    <a:pt x="42101" y="57078"/>
                    <a:pt x="25503" y="85011"/>
                  </a:cubicBezTo>
                  <a:cubicBezTo>
                    <a:pt x="8501" y="112943"/>
                    <a:pt x="0" y="146542"/>
                    <a:pt x="0" y="184999"/>
                  </a:cubicBezTo>
                  <a:cubicBezTo>
                    <a:pt x="0" y="219408"/>
                    <a:pt x="8096" y="249769"/>
                    <a:pt x="24289" y="274868"/>
                  </a:cubicBezTo>
                  <a:cubicBezTo>
                    <a:pt x="40481" y="299966"/>
                    <a:pt x="61532" y="319397"/>
                    <a:pt x="87845" y="331946"/>
                  </a:cubicBezTo>
                  <a:cubicBezTo>
                    <a:pt x="113348" y="344495"/>
                    <a:pt x="140470" y="350973"/>
                    <a:pt x="168807" y="350973"/>
                  </a:cubicBezTo>
                  <a:cubicBezTo>
                    <a:pt x="195525" y="350973"/>
                    <a:pt x="219409" y="346115"/>
                    <a:pt x="240459" y="336399"/>
                  </a:cubicBezTo>
                  <a:cubicBezTo>
                    <a:pt x="260699" y="327088"/>
                    <a:pt x="280131" y="313730"/>
                    <a:pt x="298752" y="297132"/>
                  </a:cubicBezTo>
                  <a:lnTo>
                    <a:pt x="312920" y="284583"/>
                  </a:lnTo>
                  <a:lnTo>
                    <a:pt x="277297" y="238030"/>
                  </a:lnTo>
                  <a:close/>
                </a:path>
              </a:pathLst>
            </a:custGeom>
            <a:solidFill>
              <a:schemeClr val="lt1"/>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743" name="Google Shape;1743;p45"/>
            <p:cNvSpPr/>
            <p:nvPr/>
          </p:nvSpPr>
          <p:spPr>
            <a:xfrm>
              <a:off x="3227064" y="1481006"/>
              <a:ext cx="183683" cy="334577"/>
            </a:xfrm>
            <a:custGeom>
              <a:avLst/>
              <a:gdLst/>
              <a:ahLst/>
              <a:cxnLst/>
              <a:rect l="l" t="t" r="r" b="b"/>
              <a:pathLst>
                <a:path w="244911" h="446103" extrusionOk="0">
                  <a:moveTo>
                    <a:pt x="156662" y="0"/>
                  </a:moveTo>
                  <a:lnTo>
                    <a:pt x="87844" y="0"/>
                  </a:lnTo>
                  <a:lnTo>
                    <a:pt x="87844" y="98369"/>
                  </a:lnTo>
                  <a:lnTo>
                    <a:pt x="0" y="98369"/>
                  </a:lnTo>
                  <a:lnTo>
                    <a:pt x="0" y="159496"/>
                  </a:lnTo>
                  <a:lnTo>
                    <a:pt x="87844" y="159496"/>
                  </a:lnTo>
                  <a:lnTo>
                    <a:pt x="87844" y="446103"/>
                  </a:lnTo>
                  <a:lnTo>
                    <a:pt x="156662" y="446103"/>
                  </a:lnTo>
                  <a:lnTo>
                    <a:pt x="156662" y="159496"/>
                  </a:lnTo>
                  <a:lnTo>
                    <a:pt x="244912" y="159496"/>
                  </a:lnTo>
                  <a:lnTo>
                    <a:pt x="244912" y="98369"/>
                  </a:lnTo>
                  <a:lnTo>
                    <a:pt x="156662" y="98369"/>
                  </a:lnTo>
                  <a:close/>
                </a:path>
              </a:pathLst>
            </a:custGeom>
            <a:solidFill>
              <a:schemeClr val="lt1"/>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744" name="Google Shape;1744;p45"/>
            <p:cNvSpPr/>
            <p:nvPr/>
          </p:nvSpPr>
          <p:spPr>
            <a:xfrm>
              <a:off x="4047416" y="1554480"/>
              <a:ext cx="140875" cy="261104"/>
            </a:xfrm>
            <a:custGeom>
              <a:avLst/>
              <a:gdLst/>
              <a:ahLst/>
              <a:cxnLst/>
              <a:rect l="l" t="t" r="r" b="b"/>
              <a:pathLst>
                <a:path w="187833" h="348138" extrusionOk="0">
                  <a:moveTo>
                    <a:pt x="4048" y="405"/>
                  </a:moveTo>
                  <a:lnTo>
                    <a:pt x="0" y="405"/>
                  </a:lnTo>
                  <a:lnTo>
                    <a:pt x="0" y="348139"/>
                  </a:lnTo>
                  <a:lnTo>
                    <a:pt x="69628" y="348139"/>
                  </a:lnTo>
                  <a:lnTo>
                    <a:pt x="69628" y="61127"/>
                  </a:lnTo>
                  <a:lnTo>
                    <a:pt x="187833" y="61127"/>
                  </a:lnTo>
                  <a:lnTo>
                    <a:pt x="187833" y="0"/>
                  </a:lnTo>
                  <a:lnTo>
                    <a:pt x="4048" y="0"/>
                  </a:lnTo>
                  <a:close/>
                </a:path>
              </a:pathLst>
            </a:custGeom>
            <a:solidFill>
              <a:schemeClr val="lt1"/>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grpSp>
      <p:sp>
        <p:nvSpPr>
          <p:cNvPr id="1745" name="Google Shape;1745;p45"/>
          <p:cNvSpPr txBox="1"/>
          <p:nvPr/>
        </p:nvSpPr>
        <p:spPr>
          <a:xfrm>
            <a:off x="5451800" y="6245247"/>
            <a:ext cx="1288400" cy="273200"/>
          </a:xfrm>
          <a:prstGeom prst="rect">
            <a:avLst/>
          </a:prstGeom>
          <a:noFill/>
          <a:ln>
            <a:noFill/>
          </a:ln>
        </p:spPr>
        <p:txBody>
          <a:bodyPr spcFirstLastPara="1" wrap="square" lIns="0" tIns="0" rIns="0" bIns="0" anchor="b" anchorCtr="0">
            <a:noAutofit/>
          </a:bodyPr>
          <a:lstStyle/>
          <a:p>
            <a:pPr marL="0" lvl="0" indent="0" algn="ctr" rtl="0">
              <a:spcBef>
                <a:spcPts val="0"/>
              </a:spcBef>
              <a:spcAft>
                <a:spcPts val="0"/>
              </a:spcAft>
              <a:buNone/>
            </a:pPr>
            <a:r>
              <a:rPr lang="en-GB" sz="667">
                <a:solidFill>
                  <a:schemeClr val="lt1"/>
                </a:solidFill>
                <a:latin typeface="Inter"/>
                <a:ea typeface="Inter"/>
                <a:cs typeface="Inter"/>
                <a:sym typeface="Inter"/>
              </a:rPr>
              <a:t>Private and Confidential</a:t>
            </a:r>
            <a:endParaRPr sz="667">
              <a:solidFill>
                <a:schemeClr val="lt1"/>
              </a:solidFill>
              <a:latin typeface="Inter"/>
              <a:ea typeface="Inter"/>
              <a:cs typeface="Inter"/>
              <a:sym typeface="Inter"/>
            </a:endParaRPr>
          </a:p>
        </p:txBody>
      </p:sp>
      <p:sp>
        <p:nvSpPr>
          <p:cNvPr id="1746" name="Google Shape;1746;p45"/>
          <p:cNvSpPr txBox="1">
            <a:spLocks noGrp="1"/>
          </p:cNvSpPr>
          <p:nvPr>
            <p:ph type="sldNum" idx="12"/>
          </p:nvPr>
        </p:nvSpPr>
        <p:spPr>
          <a:xfrm>
            <a:off x="11409045" y="6333135"/>
            <a:ext cx="731600" cy="524800"/>
          </a:xfrm>
          <a:prstGeom prst="rect">
            <a:avLst/>
          </a:prstGeom>
        </p:spPr>
        <p:txBody>
          <a:bodyPr spcFirstLastPara="1" wrap="square" lIns="91425" tIns="91425" rIns="0" bIns="0" anchor="t" anchorCtr="0">
            <a:noAutofit/>
          </a:bodyPr>
          <a:lstStyle>
            <a:lvl1pPr lvl="0" rtl="0">
              <a:buNone/>
              <a:defRPr sz="1733">
                <a:solidFill>
                  <a:schemeClr val="dk1"/>
                </a:solidFill>
              </a:defRPr>
            </a:lvl1pPr>
            <a:lvl2pPr lvl="1" rtl="0">
              <a:buNone/>
              <a:defRPr sz="1733">
                <a:solidFill>
                  <a:schemeClr val="dk1"/>
                </a:solidFill>
              </a:defRPr>
            </a:lvl2pPr>
            <a:lvl3pPr lvl="2" rtl="0">
              <a:buNone/>
              <a:defRPr sz="1733">
                <a:solidFill>
                  <a:schemeClr val="dk1"/>
                </a:solidFill>
              </a:defRPr>
            </a:lvl3pPr>
            <a:lvl4pPr lvl="3" rtl="0">
              <a:buNone/>
              <a:defRPr sz="1733">
                <a:solidFill>
                  <a:schemeClr val="dk1"/>
                </a:solidFill>
              </a:defRPr>
            </a:lvl4pPr>
            <a:lvl5pPr lvl="4" rtl="0">
              <a:buNone/>
              <a:defRPr sz="1733">
                <a:solidFill>
                  <a:schemeClr val="dk1"/>
                </a:solidFill>
              </a:defRPr>
            </a:lvl5pPr>
            <a:lvl6pPr lvl="5" rtl="0">
              <a:buNone/>
              <a:defRPr sz="1733">
                <a:solidFill>
                  <a:schemeClr val="dk1"/>
                </a:solidFill>
              </a:defRPr>
            </a:lvl6pPr>
            <a:lvl7pPr lvl="6" rtl="0">
              <a:buNone/>
              <a:defRPr sz="1733">
                <a:solidFill>
                  <a:schemeClr val="dk1"/>
                </a:solidFill>
              </a:defRPr>
            </a:lvl7pPr>
            <a:lvl8pPr lvl="7" rtl="0">
              <a:buNone/>
              <a:defRPr sz="1733">
                <a:solidFill>
                  <a:schemeClr val="dk1"/>
                </a:solidFill>
              </a:defRPr>
            </a:lvl8pPr>
            <a:lvl9pPr lvl="8" rtl="0">
              <a:buNone/>
              <a:defRPr sz="1733">
                <a:solidFill>
                  <a:schemeClr val="dk1"/>
                </a:solidFill>
              </a:defRPr>
            </a:lvl9pPr>
          </a:lstStyle>
          <a:p>
            <a:fld id="{00000000-1234-1234-1234-123412341234}" type="slidenum">
              <a:rPr lang="en-GB" smtClean="0"/>
              <a:pPr/>
              <a:t>‹#›</a:t>
            </a:fld>
            <a:endParaRPr lang="en-GB"/>
          </a:p>
        </p:txBody>
      </p:sp>
    </p:spTree>
    <p:extLst>
      <p:ext uri="{BB962C8B-B14F-4D97-AF65-F5344CB8AC3E}">
        <p14:creationId xmlns:p14="http://schemas.microsoft.com/office/powerpoint/2010/main" val="337192231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matchingName="Thank You">
  <p:cSld name="Thank You">
    <p:bg>
      <p:bgPr>
        <a:solidFill>
          <a:schemeClr val="dk2"/>
        </a:solidFill>
        <a:effectLst/>
      </p:bgPr>
    </p:bg>
    <p:spTree>
      <p:nvGrpSpPr>
        <p:cNvPr id="1" name="Shape 1747"/>
        <p:cNvGrpSpPr/>
        <p:nvPr/>
      </p:nvGrpSpPr>
      <p:grpSpPr>
        <a:xfrm>
          <a:off x="0" y="0"/>
          <a:ext cx="0" cy="0"/>
          <a:chOff x="0" y="0"/>
          <a:chExt cx="0" cy="0"/>
        </a:xfrm>
      </p:grpSpPr>
      <p:grpSp>
        <p:nvGrpSpPr>
          <p:cNvPr id="1748" name="Google Shape;1748;p46"/>
          <p:cNvGrpSpPr/>
          <p:nvPr/>
        </p:nvGrpSpPr>
        <p:grpSpPr>
          <a:xfrm>
            <a:off x="453193" y="1804662"/>
            <a:ext cx="1937284" cy="324700"/>
            <a:chOff x="2455289" y="1451556"/>
            <a:chExt cx="2208151" cy="370100"/>
          </a:xfrm>
        </p:grpSpPr>
        <p:sp>
          <p:nvSpPr>
            <p:cNvPr id="1749" name="Google Shape;1749;p46"/>
            <p:cNvSpPr/>
            <p:nvPr/>
          </p:nvSpPr>
          <p:spPr>
            <a:xfrm>
              <a:off x="2876395" y="1554783"/>
              <a:ext cx="221938" cy="264747"/>
            </a:xfrm>
            <a:custGeom>
              <a:avLst/>
              <a:gdLst/>
              <a:ahLst/>
              <a:cxnLst/>
              <a:rect l="l" t="t" r="r" b="b"/>
              <a:pathLst>
                <a:path w="295917" h="352996" extrusionOk="0">
                  <a:moveTo>
                    <a:pt x="225076" y="193096"/>
                  </a:moveTo>
                  <a:cubicBezTo>
                    <a:pt x="225076" y="250174"/>
                    <a:pt x="194310" y="284988"/>
                    <a:pt x="148566" y="284988"/>
                  </a:cubicBezTo>
                  <a:cubicBezTo>
                    <a:pt x="101608" y="284988"/>
                    <a:pt x="70842" y="250174"/>
                    <a:pt x="70842" y="193096"/>
                  </a:cubicBezTo>
                  <a:lnTo>
                    <a:pt x="70842" y="0"/>
                  </a:lnTo>
                  <a:lnTo>
                    <a:pt x="0" y="0"/>
                  </a:lnTo>
                  <a:lnTo>
                    <a:pt x="0" y="191477"/>
                  </a:lnTo>
                  <a:cubicBezTo>
                    <a:pt x="0" y="289441"/>
                    <a:pt x="54245" y="352997"/>
                    <a:pt x="146542" y="352997"/>
                  </a:cubicBezTo>
                  <a:cubicBezTo>
                    <a:pt x="238030" y="352997"/>
                    <a:pt x="295918" y="288227"/>
                    <a:pt x="295918" y="191477"/>
                  </a:cubicBezTo>
                  <a:lnTo>
                    <a:pt x="295918" y="0"/>
                  </a:lnTo>
                  <a:lnTo>
                    <a:pt x="225076" y="0"/>
                  </a:lnTo>
                  <a:lnTo>
                    <a:pt x="225076" y="193096"/>
                  </a:lnTo>
                  <a:close/>
                </a:path>
              </a:pathLst>
            </a:custGeom>
            <a:solidFill>
              <a:srgbClr val="FFFFFF"/>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750" name="Google Shape;1750;p46"/>
            <p:cNvSpPr/>
            <p:nvPr/>
          </p:nvSpPr>
          <p:spPr>
            <a:xfrm>
              <a:off x="3150858" y="1452164"/>
              <a:ext cx="52220" cy="364027"/>
            </a:xfrm>
            <a:custGeom>
              <a:avLst/>
              <a:gdLst/>
              <a:ahLst/>
              <a:cxnLst/>
              <a:rect l="l" t="t" r="r" b="b"/>
              <a:pathLst>
                <a:path w="69627" h="485370" extrusionOk="0">
                  <a:moveTo>
                    <a:pt x="0" y="0"/>
                  </a:moveTo>
                  <a:lnTo>
                    <a:pt x="69628" y="0"/>
                  </a:lnTo>
                  <a:lnTo>
                    <a:pt x="69628" y="485370"/>
                  </a:lnTo>
                  <a:lnTo>
                    <a:pt x="0" y="485370"/>
                  </a:lnTo>
                  <a:close/>
                </a:path>
              </a:pathLst>
            </a:custGeom>
            <a:solidFill>
              <a:srgbClr val="FFFFFF"/>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751" name="Google Shape;1751;p46"/>
            <p:cNvSpPr/>
            <p:nvPr/>
          </p:nvSpPr>
          <p:spPr>
            <a:xfrm>
              <a:off x="3440501" y="1555087"/>
              <a:ext cx="52220" cy="260800"/>
            </a:xfrm>
            <a:custGeom>
              <a:avLst/>
              <a:gdLst/>
              <a:ahLst/>
              <a:cxnLst/>
              <a:rect l="l" t="t" r="r" b="b"/>
              <a:pathLst>
                <a:path w="69627" h="347733" extrusionOk="0">
                  <a:moveTo>
                    <a:pt x="0" y="0"/>
                  </a:moveTo>
                  <a:lnTo>
                    <a:pt x="69627" y="0"/>
                  </a:lnTo>
                  <a:lnTo>
                    <a:pt x="69627" y="347734"/>
                  </a:lnTo>
                  <a:lnTo>
                    <a:pt x="0" y="347734"/>
                  </a:lnTo>
                  <a:close/>
                </a:path>
              </a:pathLst>
            </a:custGeom>
            <a:solidFill>
              <a:srgbClr val="FFFFFF"/>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752" name="Google Shape;1752;p46"/>
            <p:cNvSpPr/>
            <p:nvPr/>
          </p:nvSpPr>
          <p:spPr>
            <a:xfrm>
              <a:off x="3517618" y="1555087"/>
              <a:ext cx="257764" cy="261104"/>
            </a:xfrm>
            <a:custGeom>
              <a:avLst/>
              <a:gdLst/>
              <a:ahLst/>
              <a:cxnLst/>
              <a:rect l="l" t="t" r="r" b="b"/>
              <a:pathLst>
                <a:path w="343685" h="348138" extrusionOk="0">
                  <a:moveTo>
                    <a:pt x="269200" y="0"/>
                  </a:moveTo>
                  <a:lnTo>
                    <a:pt x="172045" y="255842"/>
                  </a:lnTo>
                  <a:lnTo>
                    <a:pt x="74081" y="0"/>
                  </a:lnTo>
                  <a:lnTo>
                    <a:pt x="0" y="0"/>
                  </a:lnTo>
                  <a:lnTo>
                    <a:pt x="136422" y="348139"/>
                  </a:lnTo>
                  <a:lnTo>
                    <a:pt x="207264" y="348139"/>
                  </a:lnTo>
                  <a:lnTo>
                    <a:pt x="343686" y="0"/>
                  </a:lnTo>
                  <a:close/>
                </a:path>
              </a:pathLst>
            </a:custGeom>
            <a:solidFill>
              <a:srgbClr val="FFFFFF"/>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753" name="Google Shape;1753;p46"/>
            <p:cNvSpPr/>
            <p:nvPr/>
          </p:nvSpPr>
          <p:spPr>
            <a:xfrm>
              <a:off x="4209848" y="1549621"/>
              <a:ext cx="188541" cy="272034"/>
            </a:xfrm>
            <a:custGeom>
              <a:avLst/>
              <a:gdLst/>
              <a:ahLst/>
              <a:cxnLst/>
              <a:rect l="l" t="t" r="r" b="b"/>
              <a:pathLst>
                <a:path w="251388" h="362712" extrusionOk="0">
                  <a:moveTo>
                    <a:pt x="150591" y="148971"/>
                  </a:moveTo>
                  <a:lnTo>
                    <a:pt x="109704" y="139660"/>
                  </a:lnTo>
                  <a:cubicBezTo>
                    <a:pt x="84606" y="133588"/>
                    <a:pt x="72057" y="120229"/>
                    <a:pt x="72057" y="102013"/>
                  </a:cubicBezTo>
                  <a:cubicBezTo>
                    <a:pt x="72057" y="76915"/>
                    <a:pt x="95131" y="61531"/>
                    <a:pt x="126302" y="62341"/>
                  </a:cubicBezTo>
                  <a:cubicBezTo>
                    <a:pt x="145328" y="62341"/>
                    <a:pt x="164759" y="68413"/>
                    <a:pt x="183380" y="77724"/>
                  </a:cubicBezTo>
                  <a:cubicBezTo>
                    <a:pt x="206454" y="88654"/>
                    <a:pt x="225886" y="104037"/>
                    <a:pt x="233577" y="111324"/>
                  </a:cubicBezTo>
                  <a:lnTo>
                    <a:pt x="233577" y="38457"/>
                  </a:lnTo>
                  <a:cubicBezTo>
                    <a:pt x="221837" y="29551"/>
                    <a:pt x="178522" y="0"/>
                    <a:pt x="123063" y="0"/>
                  </a:cubicBezTo>
                  <a:cubicBezTo>
                    <a:pt x="46149" y="0"/>
                    <a:pt x="0" y="51411"/>
                    <a:pt x="0" y="107680"/>
                  </a:cubicBezTo>
                  <a:cubicBezTo>
                    <a:pt x="0" y="161115"/>
                    <a:pt x="37648" y="187428"/>
                    <a:pt x="87439" y="199573"/>
                  </a:cubicBezTo>
                  <a:lnTo>
                    <a:pt x="127111" y="208883"/>
                  </a:lnTo>
                  <a:cubicBezTo>
                    <a:pt x="162330" y="216980"/>
                    <a:pt x="179332" y="229934"/>
                    <a:pt x="179332" y="254222"/>
                  </a:cubicBezTo>
                  <a:cubicBezTo>
                    <a:pt x="179332" y="278511"/>
                    <a:pt x="158687" y="301585"/>
                    <a:pt x="121039" y="301585"/>
                  </a:cubicBezTo>
                  <a:cubicBezTo>
                    <a:pt x="97155" y="301585"/>
                    <a:pt x="73271" y="293489"/>
                    <a:pt x="54245" y="282559"/>
                  </a:cubicBezTo>
                  <a:cubicBezTo>
                    <a:pt x="31171" y="270415"/>
                    <a:pt x="13764" y="255437"/>
                    <a:pt x="9311" y="250984"/>
                  </a:cubicBezTo>
                  <a:lnTo>
                    <a:pt x="8096" y="325065"/>
                  </a:lnTo>
                  <a:cubicBezTo>
                    <a:pt x="12549" y="329922"/>
                    <a:pt x="52626" y="362712"/>
                    <a:pt x="123468" y="362712"/>
                  </a:cubicBezTo>
                  <a:cubicBezTo>
                    <a:pt x="202406" y="362712"/>
                    <a:pt x="251388" y="307253"/>
                    <a:pt x="251388" y="250984"/>
                  </a:cubicBezTo>
                  <a:cubicBezTo>
                    <a:pt x="250579" y="201597"/>
                    <a:pt x="216979" y="163949"/>
                    <a:pt x="150591" y="148971"/>
                  </a:cubicBezTo>
                  <a:close/>
                </a:path>
              </a:pathLst>
            </a:custGeom>
            <a:solidFill>
              <a:srgbClr val="FFFFFF"/>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754" name="Google Shape;1754;p46"/>
            <p:cNvSpPr/>
            <p:nvPr/>
          </p:nvSpPr>
          <p:spPr>
            <a:xfrm>
              <a:off x="3775382" y="1552051"/>
              <a:ext cx="242584" cy="267176"/>
            </a:xfrm>
            <a:custGeom>
              <a:avLst/>
              <a:gdLst/>
              <a:ahLst/>
              <a:cxnLst/>
              <a:rect l="l" t="t" r="r" b="b"/>
              <a:pathLst>
                <a:path w="323445" h="356235" extrusionOk="0">
                  <a:moveTo>
                    <a:pt x="70842" y="150995"/>
                  </a:moveTo>
                  <a:cubicBezTo>
                    <a:pt x="79343" y="101203"/>
                    <a:pt x="112538" y="64770"/>
                    <a:pt x="164758" y="64770"/>
                  </a:cubicBezTo>
                  <a:cubicBezTo>
                    <a:pt x="216575" y="64770"/>
                    <a:pt x="247340" y="101203"/>
                    <a:pt x="255437" y="150995"/>
                  </a:cubicBezTo>
                  <a:lnTo>
                    <a:pt x="70842" y="150995"/>
                  </a:lnTo>
                  <a:close/>
                  <a:moveTo>
                    <a:pt x="164758" y="0"/>
                  </a:moveTo>
                  <a:cubicBezTo>
                    <a:pt x="70842" y="0"/>
                    <a:pt x="0" y="79748"/>
                    <a:pt x="0" y="178118"/>
                  </a:cubicBezTo>
                  <a:cubicBezTo>
                    <a:pt x="0" y="276487"/>
                    <a:pt x="76914" y="356235"/>
                    <a:pt x="180546" y="356235"/>
                  </a:cubicBezTo>
                  <a:cubicBezTo>
                    <a:pt x="259889" y="356235"/>
                    <a:pt x="303609" y="317778"/>
                    <a:pt x="303609" y="317778"/>
                  </a:cubicBezTo>
                  <a:lnTo>
                    <a:pt x="303609" y="246936"/>
                  </a:lnTo>
                  <a:cubicBezTo>
                    <a:pt x="303609" y="246936"/>
                    <a:pt x="255437" y="290655"/>
                    <a:pt x="185809" y="290655"/>
                  </a:cubicBezTo>
                  <a:cubicBezTo>
                    <a:pt x="123063" y="290655"/>
                    <a:pt x="81772" y="255032"/>
                    <a:pt x="71247" y="204835"/>
                  </a:cubicBezTo>
                  <a:lnTo>
                    <a:pt x="322231" y="204835"/>
                  </a:lnTo>
                  <a:cubicBezTo>
                    <a:pt x="323041" y="195929"/>
                    <a:pt x="323445" y="186618"/>
                    <a:pt x="323445" y="177713"/>
                  </a:cubicBezTo>
                  <a:cubicBezTo>
                    <a:pt x="323445" y="79748"/>
                    <a:pt x="256247" y="0"/>
                    <a:pt x="164758" y="0"/>
                  </a:cubicBezTo>
                  <a:close/>
                </a:path>
              </a:pathLst>
            </a:custGeom>
            <a:solidFill>
              <a:srgbClr val="FFFFFF"/>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755" name="Google Shape;1755;p46"/>
            <p:cNvSpPr/>
            <p:nvPr/>
          </p:nvSpPr>
          <p:spPr>
            <a:xfrm>
              <a:off x="3429268" y="1451556"/>
              <a:ext cx="74687" cy="65883"/>
            </a:xfrm>
            <a:custGeom>
              <a:avLst/>
              <a:gdLst/>
              <a:ahLst/>
              <a:cxnLst/>
              <a:rect l="l" t="t" r="r" b="b"/>
              <a:pathLst>
                <a:path w="99583" h="87844" extrusionOk="0">
                  <a:moveTo>
                    <a:pt x="24693" y="0"/>
                  </a:moveTo>
                  <a:lnTo>
                    <a:pt x="0" y="43720"/>
                  </a:lnTo>
                  <a:lnTo>
                    <a:pt x="24693" y="87844"/>
                  </a:lnTo>
                  <a:lnTo>
                    <a:pt x="74890" y="87844"/>
                  </a:lnTo>
                  <a:lnTo>
                    <a:pt x="99584" y="43720"/>
                  </a:lnTo>
                  <a:lnTo>
                    <a:pt x="74890" y="0"/>
                  </a:lnTo>
                  <a:close/>
                </a:path>
              </a:pathLst>
            </a:custGeom>
            <a:solidFill>
              <a:srgbClr val="FFFFFF"/>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756" name="Google Shape;1756;p46"/>
            <p:cNvSpPr/>
            <p:nvPr/>
          </p:nvSpPr>
          <p:spPr>
            <a:xfrm>
              <a:off x="2455288" y="1554783"/>
              <a:ext cx="375868" cy="261103"/>
            </a:xfrm>
            <a:custGeom>
              <a:avLst/>
              <a:gdLst/>
              <a:ahLst/>
              <a:cxnLst/>
              <a:rect l="l" t="t" r="r" b="b"/>
              <a:pathLst>
                <a:path w="501157" h="348138" extrusionOk="0">
                  <a:moveTo>
                    <a:pt x="433149" y="405"/>
                  </a:moveTo>
                  <a:lnTo>
                    <a:pt x="422219" y="405"/>
                  </a:lnTo>
                  <a:lnTo>
                    <a:pt x="422219" y="405"/>
                  </a:lnTo>
                  <a:lnTo>
                    <a:pt x="422219" y="405"/>
                  </a:lnTo>
                  <a:lnTo>
                    <a:pt x="284988" y="230338"/>
                  </a:lnTo>
                  <a:cubicBezTo>
                    <a:pt x="284988" y="192286"/>
                    <a:pt x="284178" y="405"/>
                    <a:pt x="284178" y="405"/>
                  </a:cubicBezTo>
                  <a:lnTo>
                    <a:pt x="216575" y="405"/>
                  </a:lnTo>
                  <a:lnTo>
                    <a:pt x="205645" y="405"/>
                  </a:lnTo>
                  <a:lnTo>
                    <a:pt x="205645" y="405"/>
                  </a:lnTo>
                  <a:lnTo>
                    <a:pt x="205645" y="405"/>
                  </a:lnTo>
                  <a:lnTo>
                    <a:pt x="69223" y="229529"/>
                  </a:lnTo>
                  <a:lnTo>
                    <a:pt x="68818" y="216170"/>
                  </a:lnTo>
                  <a:lnTo>
                    <a:pt x="69628" y="405"/>
                  </a:lnTo>
                  <a:lnTo>
                    <a:pt x="0" y="405"/>
                  </a:lnTo>
                  <a:lnTo>
                    <a:pt x="0" y="348139"/>
                  </a:lnTo>
                  <a:lnTo>
                    <a:pt x="69628" y="348139"/>
                  </a:lnTo>
                  <a:cubicBezTo>
                    <a:pt x="74081" y="340852"/>
                    <a:pt x="84606" y="322636"/>
                    <a:pt x="98369" y="299157"/>
                  </a:cubicBezTo>
                  <a:lnTo>
                    <a:pt x="216575" y="100394"/>
                  </a:lnTo>
                  <a:lnTo>
                    <a:pt x="216575" y="347734"/>
                  </a:lnTo>
                  <a:lnTo>
                    <a:pt x="285393" y="347734"/>
                  </a:lnTo>
                  <a:cubicBezTo>
                    <a:pt x="285393" y="347734"/>
                    <a:pt x="285393" y="347734"/>
                    <a:pt x="285393" y="347734"/>
                  </a:cubicBezTo>
                  <a:lnTo>
                    <a:pt x="285393" y="347734"/>
                  </a:lnTo>
                  <a:lnTo>
                    <a:pt x="432340" y="101608"/>
                  </a:lnTo>
                  <a:lnTo>
                    <a:pt x="432340" y="347734"/>
                  </a:lnTo>
                  <a:lnTo>
                    <a:pt x="501158" y="347734"/>
                  </a:lnTo>
                  <a:lnTo>
                    <a:pt x="501158" y="0"/>
                  </a:lnTo>
                  <a:lnTo>
                    <a:pt x="433149" y="0"/>
                  </a:lnTo>
                  <a:close/>
                </a:path>
              </a:pathLst>
            </a:custGeom>
            <a:solidFill>
              <a:srgbClr val="FFFFFF"/>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757" name="Google Shape;1757;p46"/>
            <p:cNvSpPr/>
            <p:nvPr/>
          </p:nvSpPr>
          <p:spPr>
            <a:xfrm>
              <a:off x="4428749" y="1553569"/>
              <a:ext cx="234690" cy="263229"/>
            </a:xfrm>
            <a:custGeom>
              <a:avLst/>
              <a:gdLst/>
              <a:ahLst/>
              <a:cxnLst/>
              <a:rect l="l" t="t" r="r" b="b"/>
              <a:pathLst>
                <a:path w="312920" h="350972" extrusionOk="0">
                  <a:moveTo>
                    <a:pt x="68009" y="136017"/>
                  </a:moveTo>
                  <a:cubicBezTo>
                    <a:pt x="72057" y="123468"/>
                    <a:pt x="78129" y="112538"/>
                    <a:pt x="85821" y="103227"/>
                  </a:cubicBezTo>
                  <a:cubicBezTo>
                    <a:pt x="97155" y="89059"/>
                    <a:pt x="110514" y="78533"/>
                    <a:pt x="125492" y="71247"/>
                  </a:cubicBezTo>
                  <a:cubicBezTo>
                    <a:pt x="140470" y="63960"/>
                    <a:pt x="155853" y="60317"/>
                    <a:pt x="171236" y="60317"/>
                  </a:cubicBezTo>
                  <a:cubicBezTo>
                    <a:pt x="194310" y="60317"/>
                    <a:pt x="212932" y="65580"/>
                    <a:pt x="226290" y="75700"/>
                  </a:cubicBezTo>
                  <a:cubicBezTo>
                    <a:pt x="238435" y="84606"/>
                    <a:pt x="244102" y="95941"/>
                    <a:pt x="244102" y="110918"/>
                  </a:cubicBezTo>
                  <a:cubicBezTo>
                    <a:pt x="244102" y="119420"/>
                    <a:pt x="242078" y="130350"/>
                    <a:pt x="225481" y="140065"/>
                  </a:cubicBezTo>
                  <a:cubicBezTo>
                    <a:pt x="209693" y="149376"/>
                    <a:pt x="190667" y="153829"/>
                    <a:pt x="169212" y="153829"/>
                  </a:cubicBezTo>
                  <a:cubicBezTo>
                    <a:pt x="139256" y="153424"/>
                    <a:pt x="104847" y="147757"/>
                    <a:pt x="68009" y="136017"/>
                  </a:cubicBezTo>
                  <a:close/>
                  <a:moveTo>
                    <a:pt x="277297" y="238030"/>
                  </a:moveTo>
                  <a:lnTo>
                    <a:pt x="261509" y="252603"/>
                  </a:lnTo>
                  <a:cubicBezTo>
                    <a:pt x="247746" y="265152"/>
                    <a:pt x="232767" y="274868"/>
                    <a:pt x="217789" y="281749"/>
                  </a:cubicBezTo>
                  <a:cubicBezTo>
                    <a:pt x="203216" y="288227"/>
                    <a:pt x="185809" y="291465"/>
                    <a:pt x="165164" y="291465"/>
                  </a:cubicBezTo>
                  <a:cubicBezTo>
                    <a:pt x="146542" y="291465"/>
                    <a:pt x="129540" y="287012"/>
                    <a:pt x="113348" y="278106"/>
                  </a:cubicBezTo>
                  <a:cubicBezTo>
                    <a:pt x="97155" y="269200"/>
                    <a:pt x="84606" y="257056"/>
                    <a:pt x="74890" y="240458"/>
                  </a:cubicBezTo>
                  <a:cubicBezTo>
                    <a:pt x="66389" y="226290"/>
                    <a:pt x="61937" y="211312"/>
                    <a:pt x="60722" y="193905"/>
                  </a:cubicBezTo>
                  <a:cubicBezTo>
                    <a:pt x="75700" y="198763"/>
                    <a:pt x="89869" y="202406"/>
                    <a:pt x="103227" y="205645"/>
                  </a:cubicBezTo>
                  <a:cubicBezTo>
                    <a:pt x="124682" y="210907"/>
                    <a:pt x="147352" y="213336"/>
                    <a:pt x="170021" y="213336"/>
                  </a:cubicBezTo>
                  <a:cubicBezTo>
                    <a:pt x="191881" y="213336"/>
                    <a:pt x="212932" y="209693"/>
                    <a:pt x="232767" y="202406"/>
                  </a:cubicBezTo>
                  <a:cubicBezTo>
                    <a:pt x="253413" y="194715"/>
                    <a:pt x="270415" y="183380"/>
                    <a:pt x="283774" y="168807"/>
                  </a:cubicBezTo>
                  <a:cubicBezTo>
                    <a:pt x="297942" y="152614"/>
                    <a:pt x="305229" y="133183"/>
                    <a:pt x="305229" y="110514"/>
                  </a:cubicBezTo>
                  <a:cubicBezTo>
                    <a:pt x="305229" y="89059"/>
                    <a:pt x="299157" y="69628"/>
                    <a:pt x="286607" y="52221"/>
                  </a:cubicBezTo>
                  <a:cubicBezTo>
                    <a:pt x="274868" y="35623"/>
                    <a:pt x="258271" y="22265"/>
                    <a:pt x="237625" y="13359"/>
                  </a:cubicBezTo>
                  <a:cubicBezTo>
                    <a:pt x="217789" y="4453"/>
                    <a:pt x="195525" y="0"/>
                    <a:pt x="172045" y="0"/>
                  </a:cubicBezTo>
                  <a:cubicBezTo>
                    <a:pt x="143708" y="0"/>
                    <a:pt x="116181" y="7287"/>
                    <a:pt x="90273" y="21455"/>
                  </a:cubicBezTo>
                  <a:cubicBezTo>
                    <a:pt x="63961" y="36028"/>
                    <a:pt x="42101" y="57078"/>
                    <a:pt x="25503" y="85011"/>
                  </a:cubicBezTo>
                  <a:cubicBezTo>
                    <a:pt x="8501" y="112943"/>
                    <a:pt x="0" y="146542"/>
                    <a:pt x="0" y="184999"/>
                  </a:cubicBezTo>
                  <a:cubicBezTo>
                    <a:pt x="0" y="219408"/>
                    <a:pt x="8096" y="249769"/>
                    <a:pt x="24289" y="274868"/>
                  </a:cubicBezTo>
                  <a:cubicBezTo>
                    <a:pt x="40481" y="299966"/>
                    <a:pt x="61532" y="319397"/>
                    <a:pt x="87845" y="331946"/>
                  </a:cubicBezTo>
                  <a:cubicBezTo>
                    <a:pt x="113348" y="344495"/>
                    <a:pt x="140470" y="350973"/>
                    <a:pt x="168807" y="350973"/>
                  </a:cubicBezTo>
                  <a:cubicBezTo>
                    <a:pt x="195525" y="350973"/>
                    <a:pt x="219409" y="346115"/>
                    <a:pt x="240459" y="336399"/>
                  </a:cubicBezTo>
                  <a:cubicBezTo>
                    <a:pt x="260699" y="327088"/>
                    <a:pt x="280131" y="313730"/>
                    <a:pt x="298752" y="297132"/>
                  </a:cubicBezTo>
                  <a:lnTo>
                    <a:pt x="312920" y="284583"/>
                  </a:lnTo>
                  <a:lnTo>
                    <a:pt x="277297" y="238030"/>
                  </a:lnTo>
                  <a:close/>
                </a:path>
              </a:pathLst>
            </a:custGeom>
            <a:solidFill>
              <a:srgbClr val="FFFFFF"/>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758" name="Google Shape;1758;p46"/>
            <p:cNvSpPr/>
            <p:nvPr/>
          </p:nvSpPr>
          <p:spPr>
            <a:xfrm>
              <a:off x="3227064" y="1481006"/>
              <a:ext cx="183683" cy="334577"/>
            </a:xfrm>
            <a:custGeom>
              <a:avLst/>
              <a:gdLst/>
              <a:ahLst/>
              <a:cxnLst/>
              <a:rect l="l" t="t" r="r" b="b"/>
              <a:pathLst>
                <a:path w="244911" h="446103" extrusionOk="0">
                  <a:moveTo>
                    <a:pt x="156662" y="0"/>
                  </a:moveTo>
                  <a:lnTo>
                    <a:pt x="87844" y="0"/>
                  </a:lnTo>
                  <a:lnTo>
                    <a:pt x="87844" y="98369"/>
                  </a:lnTo>
                  <a:lnTo>
                    <a:pt x="0" y="98369"/>
                  </a:lnTo>
                  <a:lnTo>
                    <a:pt x="0" y="159496"/>
                  </a:lnTo>
                  <a:lnTo>
                    <a:pt x="87844" y="159496"/>
                  </a:lnTo>
                  <a:lnTo>
                    <a:pt x="87844" y="446103"/>
                  </a:lnTo>
                  <a:lnTo>
                    <a:pt x="156662" y="446103"/>
                  </a:lnTo>
                  <a:lnTo>
                    <a:pt x="156662" y="159496"/>
                  </a:lnTo>
                  <a:lnTo>
                    <a:pt x="244912" y="159496"/>
                  </a:lnTo>
                  <a:lnTo>
                    <a:pt x="244912" y="98369"/>
                  </a:lnTo>
                  <a:lnTo>
                    <a:pt x="156662" y="98369"/>
                  </a:lnTo>
                  <a:close/>
                </a:path>
              </a:pathLst>
            </a:custGeom>
            <a:solidFill>
              <a:srgbClr val="FFFFFF"/>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759" name="Google Shape;1759;p46"/>
            <p:cNvSpPr/>
            <p:nvPr/>
          </p:nvSpPr>
          <p:spPr>
            <a:xfrm>
              <a:off x="4047416" y="1554480"/>
              <a:ext cx="140875" cy="261104"/>
            </a:xfrm>
            <a:custGeom>
              <a:avLst/>
              <a:gdLst/>
              <a:ahLst/>
              <a:cxnLst/>
              <a:rect l="l" t="t" r="r" b="b"/>
              <a:pathLst>
                <a:path w="187833" h="348138" extrusionOk="0">
                  <a:moveTo>
                    <a:pt x="4048" y="405"/>
                  </a:moveTo>
                  <a:lnTo>
                    <a:pt x="0" y="405"/>
                  </a:lnTo>
                  <a:lnTo>
                    <a:pt x="0" y="348139"/>
                  </a:lnTo>
                  <a:lnTo>
                    <a:pt x="69628" y="348139"/>
                  </a:lnTo>
                  <a:lnTo>
                    <a:pt x="69628" y="61127"/>
                  </a:lnTo>
                  <a:lnTo>
                    <a:pt x="187833" y="61127"/>
                  </a:lnTo>
                  <a:lnTo>
                    <a:pt x="187833" y="0"/>
                  </a:lnTo>
                  <a:lnTo>
                    <a:pt x="4048" y="0"/>
                  </a:lnTo>
                  <a:close/>
                </a:path>
              </a:pathLst>
            </a:custGeom>
            <a:solidFill>
              <a:srgbClr val="FFFFFF"/>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grpSp>
      <p:sp>
        <p:nvSpPr>
          <p:cNvPr id="1760" name="Google Shape;1760;p46"/>
          <p:cNvSpPr txBox="1">
            <a:spLocks noGrp="1"/>
          </p:cNvSpPr>
          <p:nvPr>
            <p:ph type="title"/>
          </p:nvPr>
        </p:nvSpPr>
        <p:spPr>
          <a:xfrm>
            <a:off x="481600" y="2309467"/>
            <a:ext cx="9514800" cy="1815600"/>
          </a:xfrm>
          <a:prstGeom prst="rect">
            <a:avLst/>
          </a:prstGeom>
        </p:spPr>
        <p:txBody>
          <a:bodyPr spcFirstLastPara="1" wrap="square" lIns="0" tIns="91425" rIns="91425" bIns="91425" anchor="t" anchorCtr="0">
            <a:noAutofit/>
          </a:bodyPr>
          <a:lstStyle>
            <a:lvl1pPr lvl="0" rtl="0">
              <a:lnSpc>
                <a:spcPct val="85000"/>
              </a:lnSpc>
              <a:spcBef>
                <a:spcPts val="0"/>
              </a:spcBef>
              <a:spcAft>
                <a:spcPts val="0"/>
              </a:spcAft>
              <a:buClr>
                <a:schemeClr val="lt1"/>
              </a:buClr>
              <a:buSzPts val="4600"/>
              <a:buFont typeface="Inter Medium"/>
              <a:buNone/>
              <a:defRPr sz="6133">
                <a:solidFill>
                  <a:schemeClr val="lt1"/>
                </a:solidFill>
                <a:latin typeface="Inter Medium"/>
                <a:ea typeface="Inter Medium"/>
                <a:cs typeface="Inter Medium"/>
                <a:sym typeface="Inter Medium"/>
              </a:defRPr>
            </a:lvl1pPr>
            <a:lvl2pPr lvl="1" rtl="0">
              <a:spcBef>
                <a:spcPts val="0"/>
              </a:spcBef>
              <a:spcAft>
                <a:spcPts val="0"/>
              </a:spcAft>
              <a:buSzPts val="1100"/>
              <a:buNone/>
              <a:defRPr/>
            </a:lvl2pPr>
            <a:lvl3pPr lvl="2" rtl="0">
              <a:spcBef>
                <a:spcPts val="0"/>
              </a:spcBef>
              <a:spcAft>
                <a:spcPts val="0"/>
              </a:spcAft>
              <a:buSzPts val="1100"/>
              <a:buNone/>
              <a:defRPr/>
            </a:lvl3pPr>
            <a:lvl4pPr lvl="3" rtl="0">
              <a:spcBef>
                <a:spcPts val="0"/>
              </a:spcBef>
              <a:spcAft>
                <a:spcPts val="0"/>
              </a:spcAft>
              <a:buSzPts val="1100"/>
              <a:buNone/>
              <a:defRPr/>
            </a:lvl4pPr>
            <a:lvl5pPr lvl="4" rtl="0">
              <a:spcBef>
                <a:spcPts val="0"/>
              </a:spcBef>
              <a:spcAft>
                <a:spcPts val="0"/>
              </a:spcAft>
              <a:buSzPts val="1100"/>
              <a:buNone/>
              <a:defRPr/>
            </a:lvl5pPr>
            <a:lvl6pPr lvl="5" rtl="0">
              <a:spcBef>
                <a:spcPts val="0"/>
              </a:spcBef>
              <a:spcAft>
                <a:spcPts val="0"/>
              </a:spcAft>
              <a:buSzPts val="1100"/>
              <a:buNone/>
              <a:defRPr/>
            </a:lvl6pPr>
            <a:lvl7pPr lvl="6" rtl="0">
              <a:spcBef>
                <a:spcPts val="0"/>
              </a:spcBef>
              <a:spcAft>
                <a:spcPts val="0"/>
              </a:spcAft>
              <a:buSzPts val="1100"/>
              <a:buNone/>
              <a:defRPr/>
            </a:lvl7pPr>
            <a:lvl8pPr lvl="7" rtl="0">
              <a:spcBef>
                <a:spcPts val="0"/>
              </a:spcBef>
              <a:spcAft>
                <a:spcPts val="0"/>
              </a:spcAft>
              <a:buSzPts val="1100"/>
              <a:buNone/>
              <a:defRPr/>
            </a:lvl8pPr>
            <a:lvl9pPr lvl="8" rtl="0">
              <a:spcBef>
                <a:spcPts val="0"/>
              </a:spcBef>
              <a:spcAft>
                <a:spcPts val="0"/>
              </a:spcAft>
              <a:buSzPts val="1100"/>
              <a:buNone/>
              <a:defRPr/>
            </a:lvl9pPr>
          </a:lstStyle>
          <a:p>
            <a:endParaRPr/>
          </a:p>
        </p:txBody>
      </p:sp>
      <p:sp>
        <p:nvSpPr>
          <p:cNvPr id="1761" name="Google Shape;1761;p46"/>
          <p:cNvSpPr txBox="1"/>
          <p:nvPr/>
        </p:nvSpPr>
        <p:spPr>
          <a:xfrm>
            <a:off x="5451800" y="6245247"/>
            <a:ext cx="1288400" cy="273200"/>
          </a:xfrm>
          <a:prstGeom prst="rect">
            <a:avLst/>
          </a:prstGeom>
          <a:noFill/>
          <a:ln>
            <a:noFill/>
          </a:ln>
        </p:spPr>
        <p:txBody>
          <a:bodyPr spcFirstLastPara="1" wrap="square" lIns="0" tIns="0" rIns="0" bIns="0" anchor="b" anchorCtr="0">
            <a:noAutofit/>
          </a:bodyPr>
          <a:lstStyle/>
          <a:p>
            <a:pPr marL="0" lvl="0" indent="0" algn="ctr" rtl="0">
              <a:spcBef>
                <a:spcPts val="0"/>
              </a:spcBef>
              <a:spcAft>
                <a:spcPts val="0"/>
              </a:spcAft>
              <a:buNone/>
            </a:pPr>
            <a:r>
              <a:rPr lang="en-GB" sz="667">
                <a:solidFill>
                  <a:schemeClr val="lt1"/>
                </a:solidFill>
                <a:latin typeface="Inter"/>
                <a:ea typeface="Inter"/>
                <a:cs typeface="Inter"/>
                <a:sym typeface="Inter"/>
              </a:rPr>
              <a:t>Private and Confidential</a:t>
            </a:r>
            <a:endParaRPr sz="667">
              <a:solidFill>
                <a:schemeClr val="lt1"/>
              </a:solidFill>
              <a:latin typeface="Inter"/>
              <a:ea typeface="Inter"/>
              <a:cs typeface="Inter"/>
              <a:sym typeface="Inter"/>
            </a:endParaRPr>
          </a:p>
        </p:txBody>
      </p:sp>
      <p:sp>
        <p:nvSpPr>
          <p:cNvPr id="1762" name="Google Shape;1762;p46"/>
          <p:cNvSpPr txBox="1">
            <a:spLocks noGrp="1"/>
          </p:cNvSpPr>
          <p:nvPr>
            <p:ph type="title" idx="2"/>
          </p:nvPr>
        </p:nvSpPr>
        <p:spPr>
          <a:xfrm>
            <a:off x="453200" y="4125200"/>
            <a:ext cx="4046800" cy="869200"/>
          </a:xfrm>
          <a:prstGeom prst="rect">
            <a:avLst/>
          </a:prstGeom>
        </p:spPr>
        <p:txBody>
          <a:bodyPr spcFirstLastPara="1" wrap="square" lIns="0" tIns="91425" rIns="91425" bIns="91425" anchor="t" anchorCtr="0">
            <a:noAutofit/>
          </a:bodyPr>
          <a:lstStyle>
            <a:lvl1pPr lvl="0" rtl="0">
              <a:lnSpc>
                <a:spcPct val="75000"/>
              </a:lnSpc>
              <a:spcBef>
                <a:spcPts val="0"/>
              </a:spcBef>
              <a:spcAft>
                <a:spcPts val="0"/>
              </a:spcAft>
              <a:buClr>
                <a:schemeClr val="lt1"/>
              </a:buClr>
              <a:buSzPts val="1200"/>
              <a:buFont typeface="Inter Medium"/>
              <a:buNone/>
              <a:defRPr sz="1600">
                <a:solidFill>
                  <a:schemeClr val="lt1"/>
                </a:solidFill>
                <a:latin typeface="Inter Medium"/>
                <a:ea typeface="Inter Medium"/>
                <a:cs typeface="Inter Medium"/>
                <a:sym typeface="Inter Medium"/>
              </a:defRPr>
            </a:lvl1pPr>
            <a:lvl2pPr lvl="1" rtl="0">
              <a:lnSpc>
                <a:spcPct val="75000"/>
              </a:lnSpc>
              <a:spcBef>
                <a:spcPts val="0"/>
              </a:spcBef>
              <a:spcAft>
                <a:spcPts val="0"/>
              </a:spcAft>
              <a:buClr>
                <a:schemeClr val="accent5"/>
              </a:buClr>
              <a:buSzPts val="1400"/>
              <a:buNone/>
              <a:defRPr>
                <a:solidFill>
                  <a:schemeClr val="accent5"/>
                </a:solidFill>
              </a:defRPr>
            </a:lvl2pPr>
            <a:lvl3pPr lvl="2" rtl="0">
              <a:lnSpc>
                <a:spcPct val="75000"/>
              </a:lnSpc>
              <a:spcBef>
                <a:spcPts val="0"/>
              </a:spcBef>
              <a:spcAft>
                <a:spcPts val="0"/>
              </a:spcAft>
              <a:buClr>
                <a:schemeClr val="accent5"/>
              </a:buClr>
              <a:buSzPts val="1400"/>
              <a:buNone/>
              <a:defRPr>
                <a:solidFill>
                  <a:schemeClr val="accent5"/>
                </a:solidFill>
              </a:defRPr>
            </a:lvl3pPr>
            <a:lvl4pPr lvl="3" rtl="0">
              <a:lnSpc>
                <a:spcPct val="75000"/>
              </a:lnSpc>
              <a:spcBef>
                <a:spcPts val="0"/>
              </a:spcBef>
              <a:spcAft>
                <a:spcPts val="0"/>
              </a:spcAft>
              <a:buClr>
                <a:schemeClr val="accent5"/>
              </a:buClr>
              <a:buSzPts val="1400"/>
              <a:buNone/>
              <a:defRPr>
                <a:solidFill>
                  <a:schemeClr val="accent5"/>
                </a:solidFill>
              </a:defRPr>
            </a:lvl4pPr>
            <a:lvl5pPr lvl="4" rtl="0">
              <a:lnSpc>
                <a:spcPct val="75000"/>
              </a:lnSpc>
              <a:spcBef>
                <a:spcPts val="0"/>
              </a:spcBef>
              <a:spcAft>
                <a:spcPts val="0"/>
              </a:spcAft>
              <a:buClr>
                <a:schemeClr val="accent5"/>
              </a:buClr>
              <a:buSzPts val="1400"/>
              <a:buNone/>
              <a:defRPr>
                <a:solidFill>
                  <a:schemeClr val="accent5"/>
                </a:solidFill>
              </a:defRPr>
            </a:lvl5pPr>
            <a:lvl6pPr lvl="5" rtl="0">
              <a:lnSpc>
                <a:spcPct val="75000"/>
              </a:lnSpc>
              <a:spcBef>
                <a:spcPts val="0"/>
              </a:spcBef>
              <a:spcAft>
                <a:spcPts val="0"/>
              </a:spcAft>
              <a:buClr>
                <a:schemeClr val="accent5"/>
              </a:buClr>
              <a:buSzPts val="1400"/>
              <a:buNone/>
              <a:defRPr>
                <a:solidFill>
                  <a:schemeClr val="accent5"/>
                </a:solidFill>
              </a:defRPr>
            </a:lvl6pPr>
            <a:lvl7pPr lvl="6" rtl="0">
              <a:lnSpc>
                <a:spcPct val="75000"/>
              </a:lnSpc>
              <a:spcBef>
                <a:spcPts val="0"/>
              </a:spcBef>
              <a:spcAft>
                <a:spcPts val="0"/>
              </a:spcAft>
              <a:buClr>
                <a:schemeClr val="accent5"/>
              </a:buClr>
              <a:buSzPts val="1400"/>
              <a:buNone/>
              <a:defRPr>
                <a:solidFill>
                  <a:schemeClr val="accent5"/>
                </a:solidFill>
              </a:defRPr>
            </a:lvl7pPr>
            <a:lvl8pPr lvl="7" rtl="0">
              <a:lnSpc>
                <a:spcPct val="75000"/>
              </a:lnSpc>
              <a:spcBef>
                <a:spcPts val="0"/>
              </a:spcBef>
              <a:spcAft>
                <a:spcPts val="0"/>
              </a:spcAft>
              <a:buClr>
                <a:schemeClr val="accent5"/>
              </a:buClr>
              <a:buSzPts val="1400"/>
              <a:buNone/>
              <a:defRPr>
                <a:solidFill>
                  <a:schemeClr val="accent5"/>
                </a:solidFill>
              </a:defRPr>
            </a:lvl8pPr>
            <a:lvl9pPr lvl="8" rtl="0">
              <a:lnSpc>
                <a:spcPct val="75000"/>
              </a:lnSpc>
              <a:spcBef>
                <a:spcPts val="0"/>
              </a:spcBef>
              <a:spcAft>
                <a:spcPts val="0"/>
              </a:spcAft>
              <a:buClr>
                <a:schemeClr val="accent5"/>
              </a:buClr>
              <a:buSzPts val="1400"/>
              <a:buNone/>
              <a:defRPr>
                <a:solidFill>
                  <a:schemeClr val="accent5"/>
                </a:solidFill>
              </a:defRPr>
            </a:lvl9pPr>
          </a:lstStyle>
          <a:p>
            <a:endParaRPr/>
          </a:p>
        </p:txBody>
      </p:sp>
      <p:grpSp>
        <p:nvGrpSpPr>
          <p:cNvPr id="1763" name="Google Shape;1763;p46"/>
          <p:cNvGrpSpPr/>
          <p:nvPr/>
        </p:nvGrpSpPr>
        <p:grpSpPr>
          <a:xfrm>
            <a:off x="9362005" y="87137"/>
            <a:ext cx="3466724" cy="6679348"/>
            <a:chOff x="3260725" y="2454275"/>
            <a:chExt cx="606424" cy="1168399"/>
          </a:xfrm>
        </p:grpSpPr>
        <p:sp>
          <p:nvSpPr>
            <p:cNvPr id="1764" name="Google Shape;1764;p46"/>
            <p:cNvSpPr/>
            <p:nvPr/>
          </p:nvSpPr>
          <p:spPr>
            <a:xfrm>
              <a:off x="3260725" y="3512184"/>
              <a:ext cx="123190" cy="110490"/>
            </a:xfrm>
            <a:custGeom>
              <a:avLst/>
              <a:gdLst/>
              <a:ahLst/>
              <a:cxnLst/>
              <a:rect l="l" t="t" r="r" b="b"/>
              <a:pathLst>
                <a:path w="123190" h="110490" extrusionOk="0">
                  <a:moveTo>
                    <a:pt x="32385" y="10160"/>
                  </a:moveTo>
                  <a:lnTo>
                    <a:pt x="20320" y="0"/>
                  </a:lnTo>
                  <a:lnTo>
                    <a:pt x="0" y="24130"/>
                  </a:lnTo>
                  <a:lnTo>
                    <a:pt x="12065" y="34290"/>
                  </a:lnTo>
                  <a:lnTo>
                    <a:pt x="90170" y="100330"/>
                  </a:lnTo>
                  <a:lnTo>
                    <a:pt x="102235" y="110490"/>
                  </a:lnTo>
                  <a:lnTo>
                    <a:pt x="123190" y="86360"/>
                  </a:lnTo>
                  <a:lnTo>
                    <a:pt x="110490" y="7620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rgbClr val="000000"/>
                </a:solidFill>
                <a:latin typeface="Calibri"/>
                <a:ea typeface="Calibri"/>
                <a:cs typeface="Calibri"/>
                <a:sym typeface="Calibri"/>
              </a:endParaRPr>
            </a:p>
          </p:txBody>
        </p:sp>
        <p:sp>
          <p:nvSpPr>
            <p:cNvPr id="1765" name="Google Shape;1765;p46"/>
            <p:cNvSpPr/>
            <p:nvPr/>
          </p:nvSpPr>
          <p:spPr>
            <a:xfrm>
              <a:off x="3495039" y="3517265"/>
              <a:ext cx="122555" cy="100329"/>
            </a:xfrm>
            <a:custGeom>
              <a:avLst/>
              <a:gdLst/>
              <a:ahLst/>
              <a:cxnLst/>
              <a:rect l="l" t="t" r="r" b="b"/>
              <a:pathLst>
                <a:path w="122555" h="100329" extrusionOk="0">
                  <a:moveTo>
                    <a:pt x="31115" y="9525"/>
                  </a:moveTo>
                  <a:lnTo>
                    <a:pt x="18415" y="0"/>
                  </a:lnTo>
                  <a:lnTo>
                    <a:pt x="0" y="26035"/>
                  </a:lnTo>
                  <a:lnTo>
                    <a:pt x="12700" y="34925"/>
                  </a:lnTo>
                  <a:lnTo>
                    <a:pt x="90805" y="91440"/>
                  </a:lnTo>
                  <a:lnTo>
                    <a:pt x="104140" y="100330"/>
                  </a:lnTo>
                  <a:lnTo>
                    <a:pt x="122555" y="74930"/>
                  </a:lnTo>
                  <a:lnTo>
                    <a:pt x="109220" y="6540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rgbClr val="000000"/>
                </a:solidFill>
                <a:latin typeface="Calibri"/>
                <a:ea typeface="Calibri"/>
                <a:cs typeface="Calibri"/>
                <a:sym typeface="Calibri"/>
              </a:endParaRPr>
            </a:p>
          </p:txBody>
        </p:sp>
        <p:sp>
          <p:nvSpPr>
            <p:cNvPr id="1766" name="Google Shape;1766;p46"/>
            <p:cNvSpPr/>
            <p:nvPr/>
          </p:nvSpPr>
          <p:spPr>
            <a:xfrm>
              <a:off x="3420109" y="3345179"/>
              <a:ext cx="121284" cy="87629"/>
            </a:xfrm>
            <a:custGeom>
              <a:avLst/>
              <a:gdLst/>
              <a:ahLst/>
              <a:cxnLst/>
              <a:rect l="l" t="t" r="r" b="b"/>
              <a:pathLst>
                <a:path w="121284" h="87629" extrusionOk="0">
                  <a:moveTo>
                    <a:pt x="105410" y="87630"/>
                  </a:moveTo>
                  <a:lnTo>
                    <a:pt x="121285" y="60325"/>
                  </a:lnTo>
                  <a:lnTo>
                    <a:pt x="107315" y="52705"/>
                  </a:lnTo>
                  <a:lnTo>
                    <a:pt x="29210" y="8255"/>
                  </a:lnTo>
                  <a:lnTo>
                    <a:pt x="15240" y="0"/>
                  </a:lnTo>
                  <a:lnTo>
                    <a:pt x="0" y="27940"/>
                  </a:lnTo>
                  <a:lnTo>
                    <a:pt x="13335" y="35560"/>
                  </a:lnTo>
                  <a:lnTo>
                    <a:pt x="91440" y="8001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rgbClr val="000000"/>
                </a:solidFill>
                <a:latin typeface="Calibri"/>
                <a:ea typeface="Calibri"/>
                <a:cs typeface="Calibri"/>
                <a:sym typeface="Calibri"/>
              </a:endParaRPr>
            </a:p>
          </p:txBody>
        </p:sp>
        <p:sp>
          <p:nvSpPr>
            <p:cNvPr id="1767" name="Google Shape;1767;p46"/>
            <p:cNvSpPr/>
            <p:nvPr/>
          </p:nvSpPr>
          <p:spPr>
            <a:xfrm>
              <a:off x="3745864" y="3523615"/>
              <a:ext cx="121285" cy="87629"/>
            </a:xfrm>
            <a:custGeom>
              <a:avLst/>
              <a:gdLst/>
              <a:ahLst/>
              <a:cxnLst/>
              <a:rect l="l" t="t" r="r" b="b"/>
              <a:pathLst>
                <a:path w="121285" h="87629" extrusionOk="0">
                  <a:moveTo>
                    <a:pt x="29210" y="8255"/>
                  </a:moveTo>
                  <a:lnTo>
                    <a:pt x="15240" y="0"/>
                  </a:lnTo>
                  <a:lnTo>
                    <a:pt x="0" y="27940"/>
                  </a:lnTo>
                  <a:lnTo>
                    <a:pt x="13335" y="35560"/>
                  </a:lnTo>
                  <a:lnTo>
                    <a:pt x="92075" y="80010"/>
                  </a:lnTo>
                  <a:lnTo>
                    <a:pt x="105410" y="87630"/>
                  </a:lnTo>
                  <a:lnTo>
                    <a:pt x="121285" y="60325"/>
                  </a:lnTo>
                  <a:lnTo>
                    <a:pt x="107315" y="5207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rgbClr val="000000"/>
                </a:solidFill>
                <a:latin typeface="Calibri"/>
                <a:ea typeface="Calibri"/>
                <a:cs typeface="Calibri"/>
                <a:sym typeface="Calibri"/>
              </a:endParaRPr>
            </a:p>
          </p:txBody>
        </p:sp>
        <p:sp>
          <p:nvSpPr>
            <p:cNvPr id="1768" name="Google Shape;1768;p46"/>
            <p:cNvSpPr/>
            <p:nvPr/>
          </p:nvSpPr>
          <p:spPr>
            <a:xfrm>
              <a:off x="3364230" y="3175000"/>
              <a:ext cx="119380" cy="71754"/>
            </a:xfrm>
            <a:custGeom>
              <a:avLst/>
              <a:gdLst/>
              <a:ahLst/>
              <a:cxnLst/>
              <a:rect l="l" t="t" r="r" b="b"/>
              <a:pathLst>
                <a:path w="119380" h="71754" extrusionOk="0">
                  <a:moveTo>
                    <a:pt x="93345" y="66040"/>
                  </a:moveTo>
                  <a:lnTo>
                    <a:pt x="107950" y="71755"/>
                  </a:lnTo>
                  <a:lnTo>
                    <a:pt x="119380" y="42545"/>
                  </a:lnTo>
                  <a:lnTo>
                    <a:pt x="104775" y="36195"/>
                  </a:lnTo>
                  <a:lnTo>
                    <a:pt x="26670" y="5715"/>
                  </a:lnTo>
                  <a:lnTo>
                    <a:pt x="12065" y="0"/>
                  </a:lnTo>
                  <a:lnTo>
                    <a:pt x="0" y="29845"/>
                  </a:lnTo>
                  <a:lnTo>
                    <a:pt x="15240" y="3556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rgbClr val="000000"/>
                </a:solidFill>
                <a:latin typeface="Calibri"/>
                <a:ea typeface="Calibri"/>
                <a:cs typeface="Calibri"/>
                <a:sym typeface="Calibri"/>
              </a:endParaRPr>
            </a:p>
          </p:txBody>
        </p:sp>
        <p:sp>
          <p:nvSpPr>
            <p:cNvPr id="1769" name="Google Shape;1769;p46"/>
            <p:cNvSpPr/>
            <p:nvPr/>
          </p:nvSpPr>
          <p:spPr>
            <a:xfrm>
              <a:off x="3690619" y="3353434"/>
              <a:ext cx="119380" cy="71755"/>
            </a:xfrm>
            <a:custGeom>
              <a:avLst/>
              <a:gdLst/>
              <a:ahLst/>
              <a:cxnLst/>
              <a:rect l="l" t="t" r="r" b="b"/>
              <a:pathLst>
                <a:path w="119380" h="71755" extrusionOk="0">
                  <a:moveTo>
                    <a:pt x="107315" y="71755"/>
                  </a:moveTo>
                  <a:lnTo>
                    <a:pt x="119380" y="41910"/>
                  </a:lnTo>
                  <a:lnTo>
                    <a:pt x="104140" y="36195"/>
                  </a:lnTo>
                  <a:lnTo>
                    <a:pt x="26035" y="5715"/>
                  </a:lnTo>
                  <a:lnTo>
                    <a:pt x="11430" y="0"/>
                  </a:lnTo>
                  <a:lnTo>
                    <a:pt x="0" y="29210"/>
                  </a:lnTo>
                  <a:lnTo>
                    <a:pt x="14605" y="35560"/>
                  </a:lnTo>
                  <a:lnTo>
                    <a:pt x="92710" y="660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rgbClr val="000000"/>
                </a:solidFill>
                <a:latin typeface="Calibri"/>
                <a:ea typeface="Calibri"/>
                <a:cs typeface="Calibri"/>
                <a:sym typeface="Calibri"/>
              </a:endParaRPr>
            </a:p>
          </p:txBody>
        </p:sp>
        <p:sp>
          <p:nvSpPr>
            <p:cNvPr id="1770" name="Google Shape;1770;p46"/>
            <p:cNvSpPr/>
            <p:nvPr/>
          </p:nvSpPr>
          <p:spPr>
            <a:xfrm>
              <a:off x="3331844" y="3006089"/>
              <a:ext cx="115570" cy="53339"/>
            </a:xfrm>
            <a:custGeom>
              <a:avLst/>
              <a:gdLst/>
              <a:ahLst/>
              <a:cxnLst/>
              <a:rect l="l" t="t" r="r" b="b"/>
              <a:pathLst>
                <a:path w="115570" h="53339" extrusionOk="0">
                  <a:moveTo>
                    <a:pt x="109220" y="53340"/>
                  </a:moveTo>
                  <a:lnTo>
                    <a:pt x="115570" y="22225"/>
                  </a:lnTo>
                  <a:lnTo>
                    <a:pt x="99695" y="19050"/>
                  </a:lnTo>
                  <a:lnTo>
                    <a:pt x="21590" y="3175"/>
                  </a:lnTo>
                  <a:lnTo>
                    <a:pt x="5715" y="0"/>
                  </a:lnTo>
                  <a:lnTo>
                    <a:pt x="0" y="31115"/>
                  </a:lnTo>
                  <a:lnTo>
                    <a:pt x="15240" y="34290"/>
                  </a:lnTo>
                  <a:lnTo>
                    <a:pt x="93345" y="5016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rgbClr val="000000"/>
                </a:solidFill>
                <a:latin typeface="Calibri"/>
                <a:ea typeface="Calibri"/>
                <a:cs typeface="Calibri"/>
                <a:sym typeface="Calibri"/>
              </a:endParaRPr>
            </a:p>
          </p:txBody>
        </p:sp>
        <p:sp>
          <p:nvSpPr>
            <p:cNvPr id="1771" name="Google Shape;1771;p46"/>
            <p:cNvSpPr/>
            <p:nvPr/>
          </p:nvSpPr>
          <p:spPr>
            <a:xfrm>
              <a:off x="3657600" y="3184525"/>
              <a:ext cx="115569" cy="52704"/>
            </a:xfrm>
            <a:custGeom>
              <a:avLst/>
              <a:gdLst/>
              <a:ahLst/>
              <a:cxnLst/>
              <a:rect l="l" t="t" r="r" b="b"/>
              <a:pathLst>
                <a:path w="115569" h="52704" extrusionOk="0">
                  <a:moveTo>
                    <a:pt x="109220" y="52705"/>
                  </a:moveTo>
                  <a:lnTo>
                    <a:pt x="115570" y="21590"/>
                  </a:lnTo>
                  <a:lnTo>
                    <a:pt x="99695" y="18415"/>
                  </a:lnTo>
                  <a:lnTo>
                    <a:pt x="21590" y="3175"/>
                  </a:lnTo>
                  <a:lnTo>
                    <a:pt x="6350" y="0"/>
                  </a:lnTo>
                  <a:lnTo>
                    <a:pt x="0" y="31115"/>
                  </a:lnTo>
                  <a:lnTo>
                    <a:pt x="15240" y="34290"/>
                  </a:lnTo>
                  <a:lnTo>
                    <a:pt x="93345" y="4953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rgbClr val="000000"/>
                </a:solidFill>
                <a:latin typeface="Calibri"/>
                <a:ea typeface="Calibri"/>
                <a:cs typeface="Calibri"/>
                <a:sym typeface="Calibri"/>
              </a:endParaRPr>
            </a:p>
          </p:txBody>
        </p:sp>
        <p:sp>
          <p:nvSpPr>
            <p:cNvPr id="1772" name="Google Shape;1772;p46"/>
            <p:cNvSpPr/>
            <p:nvPr/>
          </p:nvSpPr>
          <p:spPr>
            <a:xfrm>
              <a:off x="3322319" y="2838450"/>
              <a:ext cx="109855" cy="31750"/>
            </a:xfrm>
            <a:custGeom>
              <a:avLst/>
              <a:gdLst/>
              <a:ahLst/>
              <a:cxnLst/>
              <a:rect l="l" t="t" r="r" b="b"/>
              <a:pathLst>
                <a:path w="109855" h="31750" extrusionOk="0">
                  <a:moveTo>
                    <a:pt x="93980" y="31750"/>
                  </a:moveTo>
                  <a:lnTo>
                    <a:pt x="109855" y="31750"/>
                  </a:lnTo>
                  <a:lnTo>
                    <a:pt x="109855" y="0"/>
                  </a:lnTo>
                  <a:lnTo>
                    <a:pt x="93980" y="0"/>
                  </a:lnTo>
                  <a:lnTo>
                    <a:pt x="15875" y="0"/>
                  </a:lnTo>
                  <a:lnTo>
                    <a:pt x="0" y="0"/>
                  </a:lnTo>
                  <a:lnTo>
                    <a:pt x="0" y="31750"/>
                  </a:lnTo>
                  <a:lnTo>
                    <a:pt x="15875" y="3175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rgbClr val="000000"/>
                </a:solidFill>
                <a:latin typeface="Calibri"/>
                <a:ea typeface="Calibri"/>
                <a:cs typeface="Calibri"/>
                <a:sym typeface="Calibri"/>
              </a:endParaRPr>
            </a:p>
          </p:txBody>
        </p:sp>
        <p:sp>
          <p:nvSpPr>
            <p:cNvPr id="1773" name="Google Shape;1773;p46"/>
            <p:cNvSpPr/>
            <p:nvPr/>
          </p:nvSpPr>
          <p:spPr>
            <a:xfrm>
              <a:off x="3648075" y="3016885"/>
              <a:ext cx="110489" cy="31750"/>
            </a:xfrm>
            <a:custGeom>
              <a:avLst/>
              <a:gdLst/>
              <a:ahLst/>
              <a:cxnLst/>
              <a:rect l="l" t="t" r="r" b="b"/>
              <a:pathLst>
                <a:path w="110489" h="31750" extrusionOk="0">
                  <a:moveTo>
                    <a:pt x="94615" y="31750"/>
                  </a:moveTo>
                  <a:lnTo>
                    <a:pt x="110490" y="31750"/>
                  </a:lnTo>
                  <a:lnTo>
                    <a:pt x="110490" y="0"/>
                  </a:lnTo>
                  <a:lnTo>
                    <a:pt x="94615" y="0"/>
                  </a:lnTo>
                  <a:lnTo>
                    <a:pt x="15875" y="0"/>
                  </a:lnTo>
                  <a:lnTo>
                    <a:pt x="0" y="0"/>
                  </a:lnTo>
                  <a:lnTo>
                    <a:pt x="0" y="31750"/>
                  </a:lnTo>
                  <a:lnTo>
                    <a:pt x="15875" y="3175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rgbClr val="000000"/>
                </a:solidFill>
                <a:latin typeface="Calibri"/>
                <a:ea typeface="Calibri"/>
                <a:cs typeface="Calibri"/>
                <a:sym typeface="Calibri"/>
              </a:endParaRPr>
            </a:p>
          </p:txBody>
        </p:sp>
        <p:sp>
          <p:nvSpPr>
            <p:cNvPr id="1774" name="Google Shape;1774;p46"/>
            <p:cNvSpPr/>
            <p:nvPr/>
          </p:nvSpPr>
          <p:spPr>
            <a:xfrm>
              <a:off x="3331209" y="2649854"/>
              <a:ext cx="115570" cy="52705"/>
            </a:xfrm>
            <a:custGeom>
              <a:avLst/>
              <a:gdLst/>
              <a:ahLst/>
              <a:cxnLst/>
              <a:rect l="l" t="t" r="r" b="b"/>
              <a:pathLst>
                <a:path w="115570" h="52705" extrusionOk="0">
                  <a:moveTo>
                    <a:pt x="21590" y="49530"/>
                  </a:moveTo>
                  <a:lnTo>
                    <a:pt x="99695" y="34290"/>
                  </a:lnTo>
                  <a:lnTo>
                    <a:pt x="115570" y="31115"/>
                  </a:lnTo>
                  <a:lnTo>
                    <a:pt x="109220" y="0"/>
                  </a:lnTo>
                  <a:lnTo>
                    <a:pt x="93980" y="3175"/>
                  </a:lnTo>
                  <a:lnTo>
                    <a:pt x="15240" y="18415"/>
                  </a:lnTo>
                  <a:lnTo>
                    <a:pt x="0" y="21590"/>
                  </a:lnTo>
                  <a:lnTo>
                    <a:pt x="6350" y="5270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rgbClr val="000000"/>
                </a:solidFill>
                <a:latin typeface="Calibri"/>
                <a:ea typeface="Calibri"/>
                <a:cs typeface="Calibri"/>
                <a:sym typeface="Calibri"/>
              </a:endParaRPr>
            </a:p>
          </p:txBody>
        </p:sp>
        <p:sp>
          <p:nvSpPr>
            <p:cNvPr id="1775" name="Google Shape;1775;p46"/>
            <p:cNvSpPr/>
            <p:nvPr/>
          </p:nvSpPr>
          <p:spPr>
            <a:xfrm>
              <a:off x="3656964" y="2828289"/>
              <a:ext cx="115570" cy="52070"/>
            </a:xfrm>
            <a:custGeom>
              <a:avLst/>
              <a:gdLst/>
              <a:ahLst/>
              <a:cxnLst/>
              <a:rect l="l" t="t" r="r" b="b"/>
              <a:pathLst>
                <a:path w="115570" h="52070" extrusionOk="0">
                  <a:moveTo>
                    <a:pt x="21590" y="49530"/>
                  </a:moveTo>
                  <a:lnTo>
                    <a:pt x="100330" y="33655"/>
                  </a:lnTo>
                  <a:lnTo>
                    <a:pt x="115570" y="31115"/>
                  </a:lnTo>
                  <a:lnTo>
                    <a:pt x="109220" y="0"/>
                  </a:lnTo>
                  <a:lnTo>
                    <a:pt x="93980" y="2540"/>
                  </a:lnTo>
                  <a:lnTo>
                    <a:pt x="15875" y="18415"/>
                  </a:lnTo>
                  <a:lnTo>
                    <a:pt x="0" y="20955"/>
                  </a:lnTo>
                  <a:lnTo>
                    <a:pt x="6350" y="5207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rgbClr val="000000"/>
                </a:solidFill>
                <a:latin typeface="Calibri"/>
                <a:ea typeface="Calibri"/>
                <a:cs typeface="Calibri"/>
                <a:sym typeface="Calibri"/>
              </a:endParaRPr>
            </a:p>
          </p:txBody>
        </p:sp>
        <p:sp>
          <p:nvSpPr>
            <p:cNvPr id="1776" name="Google Shape;1776;p46"/>
            <p:cNvSpPr/>
            <p:nvPr/>
          </p:nvSpPr>
          <p:spPr>
            <a:xfrm>
              <a:off x="3363594" y="2461895"/>
              <a:ext cx="119380" cy="71754"/>
            </a:xfrm>
            <a:custGeom>
              <a:avLst/>
              <a:gdLst/>
              <a:ahLst/>
              <a:cxnLst/>
              <a:rect l="l" t="t" r="r" b="b"/>
              <a:pathLst>
                <a:path w="119380" h="71754" extrusionOk="0">
                  <a:moveTo>
                    <a:pt x="26035" y="66040"/>
                  </a:moveTo>
                  <a:lnTo>
                    <a:pt x="104775" y="35560"/>
                  </a:lnTo>
                  <a:lnTo>
                    <a:pt x="119380" y="29845"/>
                  </a:lnTo>
                  <a:lnTo>
                    <a:pt x="107950" y="0"/>
                  </a:lnTo>
                  <a:lnTo>
                    <a:pt x="93345" y="5715"/>
                  </a:lnTo>
                  <a:lnTo>
                    <a:pt x="14605" y="36195"/>
                  </a:lnTo>
                  <a:lnTo>
                    <a:pt x="0" y="41910"/>
                  </a:lnTo>
                  <a:lnTo>
                    <a:pt x="11430" y="7175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rgbClr val="000000"/>
                </a:solidFill>
                <a:latin typeface="Calibri"/>
                <a:ea typeface="Calibri"/>
                <a:cs typeface="Calibri"/>
                <a:sym typeface="Calibri"/>
              </a:endParaRPr>
            </a:p>
          </p:txBody>
        </p:sp>
        <p:sp>
          <p:nvSpPr>
            <p:cNvPr id="1777" name="Google Shape;1777;p46"/>
            <p:cNvSpPr/>
            <p:nvPr/>
          </p:nvSpPr>
          <p:spPr>
            <a:xfrm>
              <a:off x="3689350" y="2640329"/>
              <a:ext cx="119380" cy="71120"/>
            </a:xfrm>
            <a:custGeom>
              <a:avLst/>
              <a:gdLst/>
              <a:ahLst/>
              <a:cxnLst/>
              <a:rect l="l" t="t" r="r" b="b"/>
              <a:pathLst>
                <a:path w="119380" h="71120" extrusionOk="0">
                  <a:moveTo>
                    <a:pt x="26670" y="65405"/>
                  </a:moveTo>
                  <a:lnTo>
                    <a:pt x="104775" y="35560"/>
                  </a:lnTo>
                  <a:lnTo>
                    <a:pt x="119380" y="29845"/>
                  </a:lnTo>
                  <a:lnTo>
                    <a:pt x="107950" y="0"/>
                  </a:lnTo>
                  <a:lnTo>
                    <a:pt x="93345" y="5715"/>
                  </a:lnTo>
                  <a:lnTo>
                    <a:pt x="15240" y="36195"/>
                  </a:lnTo>
                  <a:lnTo>
                    <a:pt x="0" y="41910"/>
                  </a:lnTo>
                  <a:lnTo>
                    <a:pt x="11430" y="7112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rgbClr val="000000"/>
                </a:solidFill>
                <a:latin typeface="Calibri"/>
                <a:ea typeface="Calibri"/>
                <a:cs typeface="Calibri"/>
                <a:sym typeface="Calibri"/>
              </a:endParaRPr>
            </a:p>
          </p:txBody>
        </p:sp>
        <p:sp>
          <p:nvSpPr>
            <p:cNvPr id="1778" name="Google Shape;1778;p46"/>
            <p:cNvSpPr/>
            <p:nvPr/>
          </p:nvSpPr>
          <p:spPr>
            <a:xfrm>
              <a:off x="3744594" y="2454275"/>
              <a:ext cx="121285" cy="86995"/>
            </a:xfrm>
            <a:custGeom>
              <a:avLst/>
              <a:gdLst/>
              <a:ahLst/>
              <a:cxnLst/>
              <a:rect l="l" t="t" r="r" b="b"/>
              <a:pathLst>
                <a:path w="121285" h="86995" extrusionOk="0">
                  <a:moveTo>
                    <a:pt x="29210" y="79375"/>
                  </a:moveTo>
                  <a:lnTo>
                    <a:pt x="107315" y="34925"/>
                  </a:lnTo>
                  <a:lnTo>
                    <a:pt x="121285" y="27305"/>
                  </a:lnTo>
                  <a:lnTo>
                    <a:pt x="105410" y="0"/>
                  </a:lnTo>
                  <a:lnTo>
                    <a:pt x="92075" y="7620"/>
                  </a:lnTo>
                  <a:lnTo>
                    <a:pt x="13970" y="51435"/>
                  </a:lnTo>
                  <a:lnTo>
                    <a:pt x="0" y="59690"/>
                  </a:lnTo>
                  <a:lnTo>
                    <a:pt x="15240" y="8699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rgbClr val="000000"/>
                </a:solidFill>
                <a:latin typeface="Calibri"/>
                <a:ea typeface="Calibri"/>
                <a:cs typeface="Calibri"/>
                <a:sym typeface="Calibri"/>
              </a:endParaRPr>
            </a:p>
          </p:txBody>
        </p:sp>
      </p:grpSp>
      <p:sp>
        <p:nvSpPr>
          <p:cNvPr id="1779" name="Google Shape;1779;p46"/>
          <p:cNvSpPr txBox="1">
            <a:spLocks noGrp="1"/>
          </p:cNvSpPr>
          <p:nvPr>
            <p:ph type="sldNum" idx="12"/>
          </p:nvPr>
        </p:nvSpPr>
        <p:spPr>
          <a:xfrm>
            <a:off x="11409045" y="6333135"/>
            <a:ext cx="731600" cy="524800"/>
          </a:xfrm>
          <a:prstGeom prst="rect">
            <a:avLst/>
          </a:prstGeom>
        </p:spPr>
        <p:txBody>
          <a:bodyPr spcFirstLastPara="1" wrap="square" lIns="91425" tIns="91425" rIns="0" bIns="0" anchor="t" anchorCtr="0">
            <a:noAutofit/>
          </a:bodyPr>
          <a:lstStyle>
            <a:lvl1pPr lvl="0" rtl="0">
              <a:buNone/>
              <a:defRPr sz="1733">
                <a:solidFill>
                  <a:schemeClr val="dk1"/>
                </a:solidFill>
              </a:defRPr>
            </a:lvl1pPr>
            <a:lvl2pPr lvl="1" rtl="0">
              <a:buNone/>
              <a:defRPr sz="1733">
                <a:solidFill>
                  <a:schemeClr val="dk1"/>
                </a:solidFill>
              </a:defRPr>
            </a:lvl2pPr>
            <a:lvl3pPr lvl="2" rtl="0">
              <a:buNone/>
              <a:defRPr sz="1733">
                <a:solidFill>
                  <a:schemeClr val="dk1"/>
                </a:solidFill>
              </a:defRPr>
            </a:lvl3pPr>
            <a:lvl4pPr lvl="3" rtl="0">
              <a:buNone/>
              <a:defRPr sz="1733">
                <a:solidFill>
                  <a:schemeClr val="dk1"/>
                </a:solidFill>
              </a:defRPr>
            </a:lvl4pPr>
            <a:lvl5pPr lvl="4" rtl="0">
              <a:buNone/>
              <a:defRPr sz="1733">
                <a:solidFill>
                  <a:schemeClr val="dk1"/>
                </a:solidFill>
              </a:defRPr>
            </a:lvl5pPr>
            <a:lvl6pPr lvl="5" rtl="0">
              <a:buNone/>
              <a:defRPr sz="1733">
                <a:solidFill>
                  <a:schemeClr val="dk1"/>
                </a:solidFill>
              </a:defRPr>
            </a:lvl6pPr>
            <a:lvl7pPr lvl="6" rtl="0">
              <a:buNone/>
              <a:defRPr sz="1733">
                <a:solidFill>
                  <a:schemeClr val="dk1"/>
                </a:solidFill>
              </a:defRPr>
            </a:lvl7pPr>
            <a:lvl8pPr lvl="7" rtl="0">
              <a:buNone/>
              <a:defRPr sz="1733">
                <a:solidFill>
                  <a:schemeClr val="dk1"/>
                </a:solidFill>
              </a:defRPr>
            </a:lvl8pPr>
            <a:lvl9pPr lvl="8" rtl="0">
              <a:buNone/>
              <a:defRPr sz="1733">
                <a:solidFill>
                  <a:schemeClr val="dk1"/>
                </a:solidFill>
              </a:defRPr>
            </a:lvl9pPr>
          </a:lstStyle>
          <a:p>
            <a:fld id="{00000000-1234-1234-1234-123412341234}" type="slidenum">
              <a:rPr lang="en-GB" smtClean="0"/>
              <a:pPr/>
              <a:t>‹#›</a:t>
            </a:fld>
            <a:endParaRPr lang="en-GB"/>
          </a:p>
        </p:txBody>
      </p:sp>
    </p:spTree>
    <p:extLst>
      <p:ext uri="{BB962C8B-B14F-4D97-AF65-F5344CB8AC3E}">
        <p14:creationId xmlns:p14="http://schemas.microsoft.com/office/powerpoint/2010/main" val="175108004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matchingName="Thank You 2">
  <p:cSld name="Thank You 2">
    <p:bg>
      <p:bgPr>
        <a:solidFill>
          <a:schemeClr val="dk2"/>
        </a:solidFill>
        <a:effectLst/>
      </p:bgPr>
    </p:bg>
    <p:spTree>
      <p:nvGrpSpPr>
        <p:cNvPr id="1" name="Shape 1780"/>
        <p:cNvGrpSpPr/>
        <p:nvPr/>
      </p:nvGrpSpPr>
      <p:grpSpPr>
        <a:xfrm>
          <a:off x="0" y="0"/>
          <a:ext cx="0" cy="0"/>
          <a:chOff x="0" y="0"/>
          <a:chExt cx="0" cy="0"/>
        </a:xfrm>
      </p:grpSpPr>
      <p:sp>
        <p:nvSpPr>
          <p:cNvPr id="1781" name="Google Shape;1781;p47"/>
          <p:cNvSpPr txBox="1">
            <a:spLocks noGrp="1"/>
          </p:cNvSpPr>
          <p:nvPr>
            <p:ph type="title"/>
          </p:nvPr>
        </p:nvSpPr>
        <p:spPr>
          <a:xfrm>
            <a:off x="2487000" y="3046067"/>
            <a:ext cx="7218000" cy="1815600"/>
          </a:xfrm>
          <a:prstGeom prst="rect">
            <a:avLst/>
          </a:prstGeom>
        </p:spPr>
        <p:txBody>
          <a:bodyPr spcFirstLastPara="1" wrap="square" lIns="0" tIns="91425" rIns="91425" bIns="91425" anchor="t" anchorCtr="0">
            <a:noAutofit/>
          </a:bodyPr>
          <a:lstStyle>
            <a:lvl1pPr lvl="0" algn="ctr" rtl="0">
              <a:lnSpc>
                <a:spcPct val="85000"/>
              </a:lnSpc>
              <a:spcBef>
                <a:spcPts val="0"/>
              </a:spcBef>
              <a:spcAft>
                <a:spcPts val="0"/>
              </a:spcAft>
              <a:buClr>
                <a:schemeClr val="lt1"/>
              </a:buClr>
              <a:buSzPts val="4600"/>
              <a:buFont typeface="Inter Medium"/>
              <a:buNone/>
              <a:defRPr sz="6133">
                <a:solidFill>
                  <a:schemeClr val="lt1"/>
                </a:solidFill>
                <a:latin typeface="Inter Medium"/>
                <a:ea typeface="Inter Medium"/>
                <a:cs typeface="Inter Medium"/>
                <a:sym typeface="Inter Medium"/>
              </a:defRPr>
            </a:lvl1pPr>
            <a:lvl2pPr lvl="1" algn="ctr" rtl="0">
              <a:spcBef>
                <a:spcPts val="0"/>
              </a:spcBef>
              <a:spcAft>
                <a:spcPts val="0"/>
              </a:spcAft>
              <a:buSzPts val="1100"/>
              <a:buNone/>
              <a:defRPr/>
            </a:lvl2pPr>
            <a:lvl3pPr lvl="2" algn="ctr" rtl="0">
              <a:spcBef>
                <a:spcPts val="0"/>
              </a:spcBef>
              <a:spcAft>
                <a:spcPts val="0"/>
              </a:spcAft>
              <a:buSzPts val="1100"/>
              <a:buNone/>
              <a:defRPr/>
            </a:lvl3pPr>
            <a:lvl4pPr lvl="3" algn="ctr" rtl="0">
              <a:spcBef>
                <a:spcPts val="0"/>
              </a:spcBef>
              <a:spcAft>
                <a:spcPts val="0"/>
              </a:spcAft>
              <a:buSzPts val="1100"/>
              <a:buNone/>
              <a:defRPr/>
            </a:lvl4pPr>
            <a:lvl5pPr lvl="4" algn="ctr" rtl="0">
              <a:spcBef>
                <a:spcPts val="0"/>
              </a:spcBef>
              <a:spcAft>
                <a:spcPts val="0"/>
              </a:spcAft>
              <a:buSzPts val="1100"/>
              <a:buNone/>
              <a:defRPr/>
            </a:lvl5pPr>
            <a:lvl6pPr lvl="5" algn="ctr" rtl="0">
              <a:spcBef>
                <a:spcPts val="0"/>
              </a:spcBef>
              <a:spcAft>
                <a:spcPts val="0"/>
              </a:spcAft>
              <a:buSzPts val="1100"/>
              <a:buNone/>
              <a:defRPr/>
            </a:lvl6pPr>
            <a:lvl7pPr lvl="6" algn="ctr" rtl="0">
              <a:spcBef>
                <a:spcPts val="0"/>
              </a:spcBef>
              <a:spcAft>
                <a:spcPts val="0"/>
              </a:spcAft>
              <a:buSzPts val="1100"/>
              <a:buNone/>
              <a:defRPr/>
            </a:lvl7pPr>
            <a:lvl8pPr lvl="7" algn="ctr" rtl="0">
              <a:spcBef>
                <a:spcPts val="0"/>
              </a:spcBef>
              <a:spcAft>
                <a:spcPts val="0"/>
              </a:spcAft>
              <a:buSzPts val="1100"/>
              <a:buNone/>
              <a:defRPr/>
            </a:lvl8pPr>
            <a:lvl9pPr lvl="8" algn="ctr" rtl="0">
              <a:spcBef>
                <a:spcPts val="0"/>
              </a:spcBef>
              <a:spcAft>
                <a:spcPts val="0"/>
              </a:spcAft>
              <a:buSzPts val="1100"/>
              <a:buNone/>
              <a:defRPr/>
            </a:lvl9pPr>
          </a:lstStyle>
          <a:p>
            <a:endParaRPr/>
          </a:p>
        </p:txBody>
      </p:sp>
      <p:sp>
        <p:nvSpPr>
          <p:cNvPr id="1782" name="Google Shape;1782;p47"/>
          <p:cNvSpPr txBox="1"/>
          <p:nvPr/>
        </p:nvSpPr>
        <p:spPr>
          <a:xfrm>
            <a:off x="5451800" y="6245247"/>
            <a:ext cx="1288400" cy="273200"/>
          </a:xfrm>
          <a:prstGeom prst="rect">
            <a:avLst/>
          </a:prstGeom>
          <a:noFill/>
          <a:ln>
            <a:noFill/>
          </a:ln>
        </p:spPr>
        <p:txBody>
          <a:bodyPr spcFirstLastPara="1" wrap="square" lIns="0" tIns="0" rIns="0" bIns="0" anchor="b" anchorCtr="0">
            <a:noAutofit/>
          </a:bodyPr>
          <a:lstStyle/>
          <a:p>
            <a:pPr marL="0" lvl="0" indent="0" algn="ctr" rtl="0">
              <a:spcBef>
                <a:spcPts val="0"/>
              </a:spcBef>
              <a:spcAft>
                <a:spcPts val="0"/>
              </a:spcAft>
              <a:buNone/>
            </a:pPr>
            <a:r>
              <a:rPr lang="en-GB" sz="667">
                <a:solidFill>
                  <a:schemeClr val="lt1"/>
                </a:solidFill>
                <a:latin typeface="Inter"/>
                <a:ea typeface="Inter"/>
                <a:cs typeface="Inter"/>
                <a:sym typeface="Inter"/>
              </a:rPr>
              <a:t>Private and Confidential</a:t>
            </a:r>
            <a:endParaRPr sz="667">
              <a:solidFill>
                <a:schemeClr val="lt1"/>
              </a:solidFill>
              <a:latin typeface="Inter"/>
              <a:ea typeface="Inter"/>
              <a:cs typeface="Inter"/>
              <a:sym typeface="Inter"/>
            </a:endParaRPr>
          </a:p>
        </p:txBody>
      </p:sp>
      <p:grpSp>
        <p:nvGrpSpPr>
          <p:cNvPr id="1783" name="Google Shape;1783;p47"/>
          <p:cNvGrpSpPr/>
          <p:nvPr/>
        </p:nvGrpSpPr>
        <p:grpSpPr>
          <a:xfrm>
            <a:off x="9362005" y="87137"/>
            <a:ext cx="3466724" cy="6679348"/>
            <a:chOff x="3260725" y="2454275"/>
            <a:chExt cx="606424" cy="1168399"/>
          </a:xfrm>
        </p:grpSpPr>
        <p:sp>
          <p:nvSpPr>
            <p:cNvPr id="1784" name="Google Shape;1784;p47"/>
            <p:cNvSpPr/>
            <p:nvPr/>
          </p:nvSpPr>
          <p:spPr>
            <a:xfrm>
              <a:off x="3260725" y="3512184"/>
              <a:ext cx="123190" cy="110490"/>
            </a:xfrm>
            <a:custGeom>
              <a:avLst/>
              <a:gdLst/>
              <a:ahLst/>
              <a:cxnLst/>
              <a:rect l="l" t="t" r="r" b="b"/>
              <a:pathLst>
                <a:path w="123190" h="110490" extrusionOk="0">
                  <a:moveTo>
                    <a:pt x="32385" y="10160"/>
                  </a:moveTo>
                  <a:lnTo>
                    <a:pt x="20320" y="0"/>
                  </a:lnTo>
                  <a:lnTo>
                    <a:pt x="0" y="24130"/>
                  </a:lnTo>
                  <a:lnTo>
                    <a:pt x="12065" y="34290"/>
                  </a:lnTo>
                  <a:lnTo>
                    <a:pt x="90170" y="100330"/>
                  </a:lnTo>
                  <a:lnTo>
                    <a:pt x="102235" y="110490"/>
                  </a:lnTo>
                  <a:lnTo>
                    <a:pt x="123190" y="86360"/>
                  </a:lnTo>
                  <a:lnTo>
                    <a:pt x="110490" y="7620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rgbClr val="000000"/>
                </a:solidFill>
                <a:latin typeface="Calibri"/>
                <a:ea typeface="Calibri"/>
                <a:cs typeface="Calibri"/>
                <a:sym typeface="Calibri"/>
              </a:endParaRPr>
            </a:p>
          </p:txBody>
        </p:sp>
        <p:sp>
          <p:nvSpPr>
            <p:cNvPr id="1785" name="Google Shape;1785;p47"/>
            <p:cNvSpPr/>
            <p:nvPr/>
          </p:nvSpPr>
          <p:spPr>
            <a:xfrm>
              <a:off x="3495039" y="3517265"/>
              <a:ext cx="122555" cy="100329"/>
            </a:xfrm>
            <a:custGeom>
              <a:avLst/>
              <a:gdLst/>
              <a:ahLst/>
              <a:cxnLst/>
              <a:rect l="l" t="t" r="r" b="b"/>
              <a:pathLst>
                <a:path w="122555" h="100329" extrusionOk="0">
                  <a:moveTo>
                    <a:pt x="31115" y="9525"/>
                  </a:moveTo>
                  <a:lnTo>
                    <a:pt x="18415" y="0"/>
                  </a:lnTo>
                  <a:lnTo>
                    <a:pt x="0" y="26035"/>
                  </a:lnTo>
                  <a:lnTo>
                    <a:pt x="12700" y="34925"/>
                  </a:lnTo>
                  <a:lnTo>
                    <a:pt x="90805" y="91440"/>
                  </a:lnTo>
                  <a:lnTo>
                    <a:pt x="104140" y="100330"/>
                  </a:lnTo>
                  <a:lnTo>
                    <a:pt x="122555" y="74930"/>
                  </a:lnTo>
                  <a:lnTo>
                    <a:pt x="109220" y="6540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rgbClr val="000000"/>
                </a:solidFill>
                <a:latin typeface="Calibri"/>
                <a:ea typeface="Calibri"/>
                <a:cs typeface="Calibri"/>
                <a:sym typeface="Calibri"/>
              </a:endParaRPr>
            </a:p>
          </p:txBody>
        </p:sp>
        <p:sp>
          <p:nvSpPr>
            <p:cNvPr id="1786" name="Google Shape;1786;p47"/>
            <p:cNvSpPr/>
            <p:nvPr/>
          </p:nvSpPr>
          <p:spPr>
            <a:xfrm>
              <a:off x="3420109" y="3345179"/>
              <a:ext cx="121284" cy="87629"/>
            </a:xfrm>
            <a:custGeom>
              <a:avLst/>
              <a:gdLst/>
              <a:ahLst/>
              <a:cxnLst/>
              <a:rect l="l" t="t" r="r" b="b"/>
              <a:pathLst>
                <a:path w="121284" h="87629" extrusionOk="0">
                  <a:moveTo>
                    <a:pt x="105410" y="87630"/>
                  </a:moveTo>
                  <a:lnTo>
                    <a:pt x="121285" y="60325"/>
                  </a:lnTo>
                  <a:lnTo>
                    <a:pt x="107315" y="52705"/>
                  </a:lnTo>
                  <a:lnTo>
                    <a:pt x="29210" y="8255"/>
                  </a:lnTo>
                  <a:lnTo>
                    <a:pt x="15240" y="0"/>
                  </a:lnTo>
                  <a:lnTo>
                    <a:pt x="0" y="27940"/>
                  </a:lnTo>
                  <a:lnTo>
                    <a:pt x="13335" y="35560"/>
                  </a:lnTo>
                  <a:lnTo>
                    <a:pt x="91440" y="8001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rgbClr val="000000"/>
                </a:solidFill>
                <a:latin typeface="Calibri"/>
                <a:ea typeface="Calibri"/>
                <a:cs typeface="Calibri"/>
                <a:sym typeface="Calibri"/>
              </a:endParaRPr>
            </a:p>
          </p:txBody>
        </p:sp>
        <p:sp>
          <p:nvSpPr>
            <p:cNvPr id="1787" name="Google Shape;1787;p47"/>
            <p:cNvSpPr/>
            <p:nvPr/>
          </p:nvSpPr>
          <p:spPr>
            <a:xfrm>
              <a:off x="3745864" y="3523615"/>
              <a:ext cx="121285" cy="87629"/>
            </a:xfrm>
            <a:custGeom>
              <a:avLst/>
              <a:gdLst/>
              <a:ahLst/>
              <a:cxnLst/>
              <a:rect l="l" t="t" r="r" b="b"/>
              <a:pathLst>
                <a:path w="121285" h="87629" extrusionOk="0">
                  <a:moveTo>
                    <a:pt x="29210" y="8255"/>
                  </a:moveTo>
                  <a:lnTo>
                    <a:pt x="15240" y="0"/>
                  </a:lnTo>
                  <a:lnTo>
                    <a:pt x="0" y="27940"/>
                  </a:lnTo>
                  <a:lnTo>
                    <a:pt x="13335" y="35560"/>
                  </a:lnTo>
                  <a:lnTo>
                    <a:pt x="92075" y="80010"/>
                  </a:lnTo>
                  <a:lnTo>
                    <a:pt x="105410" y="87630"/>
                  </a:lnTo>
                  <a:lnTo>
                    <a:pt x="121285" y="60325"/>
                  </a:lnTo>
                  <a:lnTo>
                    <a:pt x="107315" y="5207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rgbClr val="000000"/>
                </a:solidFill>
                <a:latin typeface="Calibri"/>
                <a:ea typeface="Calibri"/>
                <a:cs typeface="Calibri"/>
                <a:sym typeface="Calibri"/>
              </a:endParaRPr>
            </a:p>
          </p:txBody>
        </p:sp>
        <p:sp>
          <p:nvSpPr>
            <p:cNvPr id="1788" name="Google Shape;1788;p47"/>
            <p:cNvSpPr/>
            <p:nvPr/>
          </p:nvSpPr>
          <p:spPr>
            <a:xfrm>
              <a:off x="3364230" y="3175000"/>
              <a:ext cx="119380" cy="71754"/>
            </a:xfrm>
            <a:custGeom>
              <a:avLst/>
              <a:gdLst/>
              <a:ahLst/>
              <a:cxnLst/>
              <a:rect l="l" t="t" r="r" b="b"/>
              <a:pathLst>
                <a:path w="119380" h="71754" extrusionOk="0">
                  <a:moveTo>
                    <a:pt x="93345" y="66040"/>
                  </a:moveTo>
                  <a:lnTo>
                    <a:pt x="107950" y="71755"/>
                  </a:lnTo>
                  <a:lnTo>
                    <a:pt x="119380" y="42545"/>
                  </a:lnTo>
                  <a:lnTo>
                    <a:pt x="104775" y="36195"/>
                  </a:lnTo>
                  <a:lnTo>
                    <a:pt x="26670" y="5715"/>
                  </a:lnTo>
                  <a:lnTo>
                    <a:pt x="12065" y="0"/>
                  </a:lnTo>
                  <a:lnTo>
                    <a:pt x="0" y="29845"/>
                  </a:lnTo>
                  <a:lnTo>
                    <a:pt x="15240" y="3556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rgbClr val="000000"/>
                </a:solidFill>
                <a:latin typeface="Calibri"/>
                <a:ea typeface="Calibri"/>
                <a:cs typeface="Calibri"/>
                <a:sym typeface="Calibri"/>
              </a:endParaRPr>
            </a:p>
          </p:txBody>
        </p:sp>
        <p:sp>
          <p:nvSpPr>
            <p:cNvPr id="1789" name="Google Shape;1789;p47"/>
            <p:cNvSpPr/>
            <p:nvPr/>
          </p:nvSpPr>
          <p:spPr>
            <a:xfrm>
              <a:off x="3690619" y="3353434"/>
              <a:ext cx="119380" cy="71755"/>
            </a:xfrm>
            <a:custGeom>
              <a:avLst/>
              <a:gdLst/>
              <a:ahLst/>
              <a:cxnLst/>
              <a:rect l="l" t="t" r="r" b="b"/>
              <a:pathLst>
                <a:path w="119380" h="71755" extrusionOk="0">
                  <a:moveTo>
                    <a:pt x="107315" y="71755"/>
                  </a:moveTo>
                  <a:lnTo>
                    <a:pt x="119380" y="41910"/>
                  </a:lnTo>
                  <a:lnTo>
                    <a:pt x="104140" y="36195"/>
                  </a:lnTo>
                  <a:lnTo>
                    <a:pt x="26035" y="5715"/>
                  </a:lnTo>
                  <a:lnTo>
                    <a:pt x="11430" y="0"/>
                  </a:lnTo>
                  <a:lnTo>
                    <a:pt x="0" y="29210"/>
                  </a:lnTo>
                  <a:lnTo>
                    <a:pt x="14605" y="35560"/>
                  </a:lnTo>
                  <a:lnTo>
                    <a:pt x="92710" y="660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rgbClr val="000000"/>
                </a:solidFill>
                <a:latin typeface="Calibri"/>
                <a:ea typeface="Calibri"/>
                <a:cs typeface="Calibri"/>
                <a:sym typeface="Calibri"/>
              </a:endParaRPr>
            </a:p>
          </p:txBody>
        </p:sp>
        <p:sp>
          <p:nvSpPr>
            <p:cNvPr id="1790" name="Google Shape;1790;p47"/>
            <p:cNvSpPr/>
            <p:nvPr/>
          </p:nvSpPr>
          <p:spPr>
            <a:xfrm>
              <a:off x="3331844" y="3006089"/>
              <a:ext cx="115570" cy="53339"/>
            </a:xfrm>
            <a:custGeom>
              <a:avLst/>
              <a:gdLst/>
              <a:ahLst/>
              <a:cxnLst/>
              <a:rect l="l" t="t" r="r" b="b"/>
              <a:pathLst>
                <a:path w="115570" h="53339" extrusionOk="0">
                  <a:moveTo>
                    <a:pt x="109220" y="53340"/>
                  </a:moveTo>
                  <a:lnTo>
                    <a:pt x="115570" y="22225"/>
                  </a:lnTo>
                  <a:lnTo>
                    <a:pt x="99695" y="19050"/>
                  </a:lnTo>
                  <a:lnTo>
                    <a:pt x="21590" y="3175"/>
                  </a:lnTo>
                  <a:lnTo>
                    <a:pt x="5715" y="0"/>
                  </a:lnTo>
                  <a:lnTo>
                    <a:pt x="0" y="31115"/>
                  </a:lnTo>
                  <a:lnTo>
                    <a:pt x="15240" y="34290"/>
                  </a:lnTo>
                  <a:lnTo>
                    <a:pt x="93345" y="5016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rgbClr val="000000"/>
                </a:solidFill>
                <a:latin typeface="Calibri"/>
                <a:ea typeface="Calibri"/>
                <a:cs typeface="Calibri"/>
                <a:sym typeface="Calibri"/>
              </a:endParaRPr>
            </a:p>
          </p:txBody>
        </p:sp>
        <p:sp>
          <p:nvSpPr>
            <p:cNvPr id="1791" name="Google Shape;1791;p47"/>
            <p:cNvSpPr/>
            <p:nvPr/>
          </p:nvSpPr>
          <p:spPr>
            <a:xfrm>
              <a:off x="3657600" y="3184525"/>
              <a:ext cx="115569" cy="52704"/>
            </a:xfrm>
            <a:custGeom>
              <a:avLst/>
              <a:gdLst/>
              <a:ahLst/>
              <a:cxnLst/>
              <a:rect l="l" t="t" r="r" b="b"/>
              <a:pathLst>
                <a:path w="115569" h="52704" extrusionOk="0">
                  <a:moveTo>
                    <a:pt x="109220" y="52705"/>
                  </a:moveTo>
                  <a:lnTo>
                    <a:pt x="115570" y="21590"/>
                  </a:lnTo>
                  <a:lnTo>
                    <a:pt x="99695" y="18415"/>
                  </a:lnTo>
                  <a:lnTo>
                    <a:pt x="21590" y="3175"/>
                  </a:lnTo>
                  <a:lnTo>
                    <a:pt x="6350" y="0"/>
                  </a:lnTo>
                  <a:lnTo>
                    <a:pt x="0" y="31115"/>
                  </a:lnTo>
                  <a:lnTo>
                    <a:pt x="15240" y="34290"/>
                  </a:lnTo>
                  <a:lnTo>
                    <a:pt x="93345" y="4953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rgbClr val="000000"/>
                </a:solidFill>
                <a:latin typeface="Calibri"/>
                <a:ea typeface="Calibri"/>
                <a:cs typeface="Calibri"/>
                <a:sym typeface="Calibri"/>
              </a:endParaRPr>
            </a:p>
          </p:txBody>
        </p:sp>
        <p:sp>
          <p:nvSpPr>
            <p:cNvPr id="1792" name="Google Shape;1792;p47"/>
            <p:cNvSpPr/>
            <p:nvPr/>
          </p:nvSpPr>
          <p:spPr>
            <a:xfrm>
              <a:off x="3322319" y="2838450"/>
              <a:ext cx="109855" cy="31750"/>
            </a:xfrm>
            <a:custGeom>
              <a:avLst/>
              <a:gdLst/>
              <a:ahLst/>
              <a:cxnLst/>
              <a:rect l="l" t="t" r="r" b="b"/>
              <a:pathLst>
                <a:path w="109855" h="31750" extrusionOk="0">
                  <a:moveTo>
                    <a:pt x="93980" y="31750"/>
                  </a:moveTo>
                  <a:lnTo>
                    <a:pt x="109855" y="31750"/>
                  </a:lnTo>
                  <a:lnTo>
                    <a:pt x="109855" y="0"/>
                  </a:lnTo>
                  <a:lnTo>
                    <a:pt x="93980" y="0"/>
                  </a:lnTo>
                  <a:lnTo>
                    <a:pt x="15875" y="0"/>
                  </a:lnTo>
                  <a:lnTo>
                    <a:pt x="0" y="0"/>
                  </a:lnTo>
                  <a:lnTo>
                    <a:pt x="0" y="31750"/>
                  </a:lnTo>
                  <a:lnTo>
                    <a:pt x="15875" y="3175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rgbClr val="000000"/>
                </a:solidFill>
                <a:latin typeface="Calibri"/>
                <a:ea typeface="Calibri"/>
                <a:cs typeface="Calibri"/>
                <a:sym typeface="Calibri"/>
              </a:endParaRPr>
            </a:p>
          </p:txBody>
        </p:sp>
        <p:sp>
          <p:nvSpPr>
            <p:cNvPr id="1793" name="Google Shape;1793;p47"/>
            <p:cNvSpPr/>
            <p:nvPr/>
          </p:nvSpPr>
          <p:spPr>
            <a:xfrm>
              <a:off x="3648075" y="3016885"/>
              <a:ext cx="110489" cy="31750"/>
            </a:xfrm>
            <a:custGeom>
              <a:avLst/>
              <a:gdLst/>
              <a:ahLst/>
              <a:cxnLst/>
              <a:rect l="l" t="t" r="r" b="b"/>
              <a:pathLst>
                <a:path w="110489" h="31750" extrusionOk="0">
                  <a:moveTo>
                    <a:pt x="94615" y="31750"/>
                  </a:moveTo>
                  <a:lnTo>
                    <a:pt x="110490" y="31750"/>
                  </a:lnTo>
                  <a:lnTo>
                    <a:pt x="110490" y="0"/>
                  </a:lnTo>
                  <a:lnTo>
                    <a:pt x="94615" y="0"/>
                  </a:lnTo>
                  <a:lnTo>
                    <a:pt x="15875" y="0"/>
                  </a:lnTo>
                  <a:lnTo>
                    <a:pt x="0" y="0"/>
                  </a:lnTo>
                  <a:lnTo>
                    <a:pt x="0" y="31750"/>
                  </a:lnTo>
                  <a:lnTo>
                    <a:pt x="15875" y="3175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rgbClr val="000000"/>
                </a:solidFill>
                <a:latin typeface="Calibri"/>
                <a:ea typeface="Calibri"/>
                <a:cs typeface="Calibri"/>
                <a:sym typeface="Calibri"/>
              </a:endParaRPr>
            </a:p>
          </p:txBody>
        </p:sp>
        <p:sp>
          <p:nvSpPr>
            <p:cNvPr id="1794" name="Google Shape;1794;p47"/>
            <p:cNvSpPr/>
            <p:nvPr/>
          </p:nvSpPr>
          <p:spPr>
            <a:xfrm>
              <a:off x="3331209" y="2649854"/>
              <a:ext cx="115570" cy="52705"/>
            </a:xfrm>
            <a:custGeom>
              <a:avLst/>
              <a:gdLst/>
              <a:ahLst/>
              <a:cxnLst/>
              <a:rect l="l" t="t" r="r" b="b"/>
              <a:pathLst>
                <a:path w="115570" h="52705" extrusionOk="0">
                  <a:moveTo>
                    <a:pt x="21590" y="49530"/>
                  </a:moveTo>
                  <a:lnTo>
                    <a:pt x="99695" y="34290"/>
                  </a:lnTo>
                  <a:lnTo>
                    <a:pt x="115570" y="31115"/>
                  </a:lnTo>
                  <a:lnTo>
                    <a:pt x="109220" y="0"/>
                  </a:lnTo>
                  <a:lnTo>
                    <a:pt x="93980" y="3175"/>
                  </a:lnTo>
                  <a:lnTo>
                    <a:pt x="15240" y="18415"/>
                  </a:lnTo>
                  <a:lnTo>
                    <a:pt x="0" y="21590"/>
                  </a:lnTo>
                  <a:lnTo>
                    <a:pt x="6350" y="5270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rgbClr val="000000"/>
                </a:solidFill>
                <a:latin typeface="Calibri"/>
                <a:ea typeface="Calibri"/>
                <a:cs typeface="Calibri"/>
                <a:sym typeface="Calibri"/>
              </a:endParaRPr>
            </a:p>
          </p:txBody>
        </p:sp>
        <p:sp>
          <p:nvSpPr>
            <p:cNvPr id="1795" name="Google Shape;1795;p47"/>
            <p:cNvSpPr/>
            <p:nvPr/>
          </p:nvSpPr>
          <p:spPr>
            <a:xfrm>
              <a:off x="3656964" y="2828289"/>
              <a:ext cx="115570" cy="52070"/>
            </a:xfrm>
            <a:custGeom>
              <a:avLst/>
              <a:gdLst/>
              <a:ahLst/>
              <a:cxnLst/>
              <a:rect l="l" t="t" r="r" b="b"/>
              <a:pathLst>
                <a:path w="115570" h="52070" extrusionOk="0">
                  <a:moveTo>
                    <a:pt x="21590" y="49530"/>
                  </a:moveTo>
                  <a:lnTo>
                    <a:pt x="100330" y="33655"/>
                  </a:lnTo>
                  <a:lnTo>
                    <a:pt x="115570" y="31115"/>
                  </a:lnTo>
                  <a:lnTo>
                    <a:pt x="109220" y="0"/>
                  </a:lnTo>
                  <a:lnTo>
                    <a:pt x="93980" y="2540"/>
                  </a:lnTo>
                  <a:lnTo>
                    <a:pt x="15875" y="18415"/>
                  </a:lnTo>
                  <a:lnTo>
                    <a:pt x="0" y="20955"/>
                  </a:lnTo>
                  <a:lnTo>
                    <a:pt x="6350" y="5207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rgbClr val="000000"/>
                </a:solidFill>
                <a:latin typeface="Calibri"/>
                <a:ea typeface="Calibri"/>
                <a:cs typeface="Calibri"/>
                <a:sym typeface="Calibri"/>
              </a:endParaRPr>
            </a:p>
          </p:txBody>
        </p:sp>
        <p:sp>
          <p:nvSpPr>
            <p:cNvPr id="1796" name="Google Shape;1796;p47"/>
            <p:cNvSpPr/>
            <p:nvPr/>
          </p:nvSpPr>
          <p:spPr>
            <a:xfrm>
              <a:off x="3363594" y="2461895"/>
              <a:ext cx="119380" cy="71754"/>
            </a:xfrm>
            <a:custGeom>
              <a:avLst/>
              <a:gdLst/>
              <a:ahLst/>
              <a:cxnLst/>
              <a:rect l="l" t="t" r="r" b="b"/>
              <a:pathLst>
                <a:path w="119380" h="71754" extrusionOk="0">
                  <a:moveTo>
                    <a:pt x="26035" y="66040"/>
                  </a:moveTo>
                  <a:lnTo>
                    <a:pt x="104775" y="35560"/>
                  </a:lnTo>
                  <a:lnTo>
                    <a:pt x="119380" y="29845"/>
                  </a:lnTo>
                  <a:lnTo>
                    <a:pt x="107950" y="0"/>
                  </a:lnTo>
                  <a:lnTo>
                    <a:pt x="93345" y="5715"/>
                  </a:lnTo>
                  <a:lnTo>
                    <a:pt x="14605" y="36195"/>
                  </a:lnTo>
                  <a:lnTo>
                    <a:pt x="0" y="41910"/>
                  </a:lnTo>
                  <a:lnTo>
                    <a:pt x="11430" y="7175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rgbClr val="000000"/>
                </a:solidFill>
                <a:latin typeface="Calibri"/>
                <a:ea typeface="Calibri"/>
                <a:cs typeface="Calibri"/>
                <a:sym typeface="Calibri"/>
              </a:endParaRPr>
            </a:p>
          </p:txBody>
        </p:sp>
        <p:sp>
          <p:nvSpPr>
            <p:cNvPr id="1797" name="Google Shape;1797;p47"/>
            <p:cNvSpPr/>
            <p:nvPr/>
          </p:nvSpPr>
          <p:spPr>
            <a:xfrm>
              <a:off x="3689350" y="2640329"/>
              <a:ext cx="119380" cy="71120"/>
            </a:xfrm>
            <a:custGeom>
              <a:avLst/>
              <a:gdLst/>
              <a:ahLst/>
              <a:cxnLst/>
              <a:rect l="l" t="t" r="r" b="b"/>
              <a:pathLst>
                <a:path w="119380" h="71120" extrusionOk="0">
                  <a:moveTo>
                    <a:pt x="26670" y="65405"/>
                  </a:moveTo>
                  <a:lnTo>
                    <a:pt x="104775" y="35560"/>
                  </a:lnTo>
                  <a:lnTo>
                    <a:pt x="119380" y="29845"/>
                  </a:lnTo>
                  <a:lnTo>
                    <a:pt x="107950" y="0"/>
                  </a:lnTo>
                  <a:lnTo>
                    <a:pt x="93345" y="5715"/>
                  </a:lnTo>
                  <a:lnTo>
                    <a:pt x="15240" y="36195"/>
                  </a:lnTo>
                  <a:lnTo>
                    <a:pt x="0" y="41910"/>
                  </a:lnTo>
                  <a:lnTo>
                    <a:pt x="11430" y="7112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rgbClr val="000000"/>
                </a:solidFill>
                <a:latin typeface="Calibri"/>
                <a:ea typeface="Calibri"/>
                <a:cs typeface="Calibri"/>
                <a:sym typeface="Calibri"/>
              </a:endParaRPr>
            </a:p>
          </p:txBody>
        </p:sp>
        <p:sp>
          <p:nvSpPr>
            <p:cNvPr id="1798" name="Google Shape;1798;p47"/>
            <p:cNvSpPr/>
            <p:nvPr/>
          </p:nvSpPr>
          <p:spPr>
            <a:xfrm>
              <a:off x="3744594" y="2454275"/>
              <a:ext cx="121285" cy="86995"/>
            </a:xfrm>
            <a:custGeom>
              <a:avLst/>
              <a:gdLst/>
              <a:ahLst/>
              <a:cxnLst/>
              <a:rect l="l" t="t" r="r" b="b"/>
              <a:pathLst>
                <a:path w="121285" h="86995" extrusionOk="0">
                  <a:moveTo>
                    <a:pt x="29210" y="79375"/>
                  </a:moveTo>
                  <a:lnTo>
                    <a:pt x="107315" y="34925"/>
                  </a:lnTo>
                  <a:lnTo>
                    <a:pt x="121285" y="27305"/>
                  </a:lnTo>
                  <a:lnTo>
                    <a:pt x="105410" y="0"/>
                  </a:lnTo>
                  <a:lnTo>
                    <a:pt x="92075" y="7620"/>
                  </a:lnTo>
                  <a:lnTo>
                    <a:pt x="13970" y="51435"/>
                  </a:lnTo>
                  <a:lnTo>
                    <a:pt x="0" y="59690"/>
                  </a:lnTo>
                  <a:lnTo>
                    <a:pt x="15240" y="8699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rgbClr val="000000"/>
                </a:solidFill>
                <a:latin typeface="Calibri"/>
                <a:ea typeface="Calibri"/>
                <a:cs typeface="Calibri"/>
                <a:sym typeface="Calibri"/>
              </a:endParaRPr>
            </a:p>
          </p:txBody>
        </p:sp>
      </p:grpSp>
      <p:grpSp>
        <p:nvGrpSpPr>
          <p:cNvPr id="1799" name="Google Shape;1799;p47"/>
          <p:cNvGrpSpPr/>
          <p:nvPr/>
        </p:nvGrpSpPr>
        <p:grpSpPr>
          <a:xfrm>
            <a:off x="5375555" y="2592515"/>
            <a:ext cx="1440892" cy="241503"/>
            <a:chOff x="2455289" y="1451556"/>
            <a:chExt cx="2208151" cy="370100"/>
          </a:xfrm>
        </p:grpSpPr>
        <p:sp>
          <p:nvSpPr>
            <p:cNvPr id="1800" name="Google Shape;1800;p47"/>
            <p:cNvSpPr/>
            <p:nvPr/>
          </p:nvSpPr>
          <p:spPr>
            <a:xfrm>
              <a:off x="2876395" y="1554783"/>
              <a:ext cx="221938" cy="264747"/>
            </a:xfrm>
            <a:custGeom>
              <a:avLst/>
              <a:gdLst/>
              <a:ahLst/>
              <a:cxnLst/>
              <a:rect l="l" t="t" r="r" b="b"/>
              <a:pathLst>
                <a:path w="295917" h="352996" extrusionOk="0">
                  <a:moveTo>
                    <a:pt x="225076" y="193096"/>
                  </a:moveTo>
                  <a:cubicBezTo>
                    <a:pt x="225076" y="250174"/>
                    <a:pt x="194310" y="284988"/>
                    <a:pt x="148566" y="284988"/>
                  </a:cubicBezTo>
                  <a:cubicBezTo>
                    <a:pt x="101608" y="284988"/>
                    <a:pt x="70842" y="250174"/>
                    <a:pt x="70842" y="193096"/>
                  </a:cubicBezTo>
                  <a:lnTo>
                    <a:pt x="70842" y="0"/>
                  </a:lnTo>
                  <a:lnTo>
                    <a:pt x="0" y="0"/>
                  </a:lnTo>
                  <a:lnTo>
                    <a:pt x="0" y="191477"/>
                  </a:lnTo>
                  <a:cubicBezTo>
                    <a:pt x="0" y="289441"/>
                    <a:pt x="54245" y="352997"/>
                    <a:pt x="146542" y="352997"/>
                  </a:cubicBezTo>
                  <a:cubicBezTo>
                    <a:pt x="238030" y="352997"/>
                    <a:pt x="295918" y="288227"/>
                    <a:pt x="295918" y="191477"/>
                  </a:cubicBezTo>
                  <a:lnTo>
                    <a:pt x="295918" y="0"/>
                  </a:lnTo>
                  <a:lnTo>
                    <a:pt x="225076" y="0"/>
                  </a:lnTo>
                  <a:lnTo>
                    <a:pt x="225076" y="193096"/>
                  </a:lnTo>
                  <a:close/>
                </a:path>
              </a:pathLst>
            </a:custGeom>
            <a:solidFill>
              <a:schemeClr val="lt1"/>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lt1"/>
                </a:solidFill>
                <a:latin typeface="Calibri"/>
                <a:ea typeface="Calibri"/>
                <a:cs typeface="Calibri"/>
                <a:sym typeface="Calibri"/>
              </a:endParaRPr>
            </a:p>
          </p:txBody>
        </p:sp>
        <p:sp>
          <p:nvSpPr>
            <p:cNvPr id="1801" name="Google Shape;1801;p47"/>
            <p:cNvSpPr/>
            <p:nvPr/>
          </p:nvSpPr>
          <p:spPr>
            <a:xfrm>
              <a:off x="3150858" y="1452164"/>
              <a:ext cx="52220" cy="364027"/>
            </a:xfrm>
            <a:custGeom>
              <a:avLst/>
              <a:gdLst/>
              <a:ahLst/>
              <a:cxnLst/>
              <a:rect l="l" t="t" r="r" b="b"/>
              <a:pathLst>
                <a:path w="69627" h="485370" extrusionOk="0">
                  <a:moveTo>
                    <a:pt x="0" y="0"/>
                  </a:moveTo>
                  <a:lnTo>
                    <a:pt x="69628" y="0"/>
                  </a:lnTo>
                  <a:lnTo>
                    <a:pt x="69628" y="485370"/>
                  </a:lnTo>
                  <a:lnTo>
                    <a:pt x="0" y="485370"/>
                  </a:lnTo>
                  <a:close/>
                </a:path>
              </a:pathLst>
            </a:custGeom>
            <a:solidFill>
              <a:schemeClr val="lt1"/>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lt1"/>
                </a:solidFill>
                <a:latin typeface="Calibri"/>
                <a:ea typeface="Calibri"/>
                <a:cs typeface="Calibri"/>
                <a:sym typeface="Calibri"/>
              </a:endParaRPr>
            </a:p>
          </p:txBody>
        </p:sp>
        <p:sp>
          <p:nvSpPr>
            <p:cNvPr id="1802" name="Google Shape;1802;p47"/>
            <p:cNvSpPr/>
            <p:nvPr/>
          </p:nvSpPr>
          <p:spPr>
            <a:xfrm>
              <a:off x="3440501" y="1555087"/>
              <a:ext cx="52220" cy="260800"/>
            </a:xfrm>
            <a:custGeom>
              <a:avLst/>
              <a:gdLst/>
              <a:ahLst/>
              <a:cxnLst/>
              <a:rect l="l" t="t" r="r" b="b"/>
              <a:pathLst>
                <a:path w="69627" h="347733" extrusionOk="0">
                  <a:moveTo>
                    <a:pt x="0" y="0"/>
                  </a:moveTo>
                  <a:lnTo>
                    <a:pt x="69627" y="0"/>
                  </a:lnTo>
                  <a:lnTo>
                    <a:pt x="69627" y="347734"/>
                  </a:lnTo>
                  <a:lnTo>
                    <a:pt x="0" y="347734"/>
                  </a:lnTo>
                  <a:close/>
                </a:path>
              </a:pathLst>
            </a:custGeom>
            <a:solidFill>
              <a:schemeClr val="lt1"/>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lt1"/>
                </a:solidFill>
                <a:latin typeface="Calibri"/>
                <a:ea typeface="Calibri"/>
                <a:cs typeface="Calibri"/>
                <a:sym typeface="Calibri"/>
              </a:endParaRPr>
            </a:p>
          </p:txBody>
        </p:sp>
        <p:sp>
          <p:nvSpPr>
            <p:cNvPr id="1803" name="Google Shape;1803;p47"/>
            <p:cNvSpPr/>
            <p:nvPr/>
          </p:nvSpPr>
          <p:spPr>
            <a:xfrm>
              <a:off x="3517618" y="1555087"/>
              <a:ext cx="257764" cy="261104"/>
            </a:xfrm>
            <a:custGeom>
              <a:avLst/>
              <a:gdLst/>
              <a:ahLst/>
              <a:cxnLst/>
              <a:rect l="l" t="t" r="r" b="b"/>
              <a:pathLst>
                <a:path w="343685" h="348138" extrusionOk="0">
                  <a:moveTo>
                    <a:pt x="269200" y="0"/>
                  </a:moveTo>
                  <a:lnTo>
                    <a:pt x="172045" y="255842"/>
                  </a:lnTo>
                  <a:lnTo>
                    <a:pt x="74081" y="0"/>
                  </a:lnTo>
                  <a:lnTo>
                    <a:pt x="0" y="0"/>
                  </a:lnTo>
                  <a:lnTo>
                    <a:pt x="136422" y="348139"/>
                  </a:lnTo>
                  <a:lnTo>
                    <a:pt x="207264" y="348139"/>
                  </a:lnTo>
                  <a:lnTo>
                    <a:pt x="343686" y="0"/>
                  </a:lnTo>
                  <a:close/>
                </a:path>
              </a:pathLst>
            </a:custGeom>
            <a:solidFill>
              <a:schemeClr val="lt1"/>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lt1"/>
                </a:solidFill>
                <a:latin typeface="Calibri"/>
                <a:ea typeface="Calibri"/>
                <a:cs typeface="Calibri"/>
                <a:sym typeface="Calibri"/>
              </a:endParaRPr>
            </a:p>
          </p:txBody>
        </p:sp>
        <p:sp>
          <p:nvSpPr>
            <p:cNvPr id="1804" name="Google Shape;1804;p47"/>
            <p:cNvSpPr/>
            <p:nvPr/>
          </p:nvSpPr>
          <p:spPr>
            <a:xfrm>
              <a:off x="4209848" y="1549621"/>
              <a:ext cx="188541" cy="272034"/>
            </a:xfrm>
            <a:custGeom>
              <a:avLst/>
              <a:gdLst/>
              <a:ahLst/>
              <a:cxnLst/>
              <a:rect l="l" t="t" r="r" b="b"/>
              <a:pathLst>
                <a:path w="251388" h="362712" extrusionOk="0">
                  <a:moveTo>
                    <a:pt x="150591" y="148971"/>
                  </a:moveTo>
                  <a:lnTo>
                    <a:pt x="109704" y="139660"/>
                  </a:lnTo>
                  <a:cubicBezTo>
                    <a:pt x="84606" y="133588"/>
                    <a:pt x="72057" y="120229"/>
                    <a:pt x="72057" y="102013"/>
                  </a:cubicBezTo>
                  <a:cubicBezTo>
                    <a:pt x="72057" y="76915"/>
                    <a:pt x="95131" y="61531"/>
                    <a:pt x="126302" y="62341"/>
                  </a:cubicBezTo>
                  <a:cubicBezTo>
                    <a:pt x="145328" y="62341"/>
                    <a:pt x="164759" y="68413"/>
                    <a:pt x="183380" y="77724"/>
                  </a:cubicBezTo>
                  <a:cubicBezTo>
                    <a:pt x="206454" y="88654"/>
                    <a:pt x="225886" y="104037"/>
                    <a:pt x="233577" y="111324"/>
                  </a:cubicBezTo>
                  <a:lnTo>
                    <a:pt x="233577" y="38457"/>
                  </a:lnTo>
                  <a:cubicBezTo>
                    <a:pt x="221837" y="29551"/>
                    <a:pt x="178522" y="0"/>
                    <a:pt x="123063" y="0"/>
                  </a:cubicBezTo>
                  <a:cubicBezTo>
                    <a:pt x="46149" y="0"/>
                    <a:pt x="0" y="51411"/>
                    <a:pt x="0" y="107680"/>
                  </a:cubicBezTo>
                  <a:cubicBezTo>
                    <a:pt x="0" y="161115"/>
                    <a:pt x="37648" y="187428"/>
                    <a:pt x="87439" y="199573"/>
                  </a:cubicBezTo>
                  <a:lnTo>
                    <a:pt x="127111" y="208883"/>
                  </a:lnTo>
                  <a:cubicBezTo>
                    <a:pt x="162330" y="216980"/>
                    <a:pt x="179332" y="229934"/>
                    <a:pt x="179332" y="254222"/>
                  </a:cubicBezTo>
                  <a:cubicBezTo>
                    <a:pt x="179332" y="278511"/>
                    <a:pt x="158687" y="301585"/>
                    <a:pt x="121039" y="301585"/>
                  </a:cubicBezTo>
                  <a:cubicBezTo>
                    <a:pt x="97155" y="301585"/>
                    <a:pt x="73271" y="293489"/>
                    <a:pt x="54245" y="282559"/>
                  </a:cubicBezTo>
                  <a:cubicBezTo>
                    <a:pt x="31171" y="270415"/>
                    <a:pt x="13764" y="255437"/>
                    <a:pt x="9311" y="250984"/>
                  </a:cubicBezTo>
                  <a:lnTo>
                    <a:pt x="8096" y="325065"/>
                  </a:lnTo>
                  <a:cubicBezTo>
                    <a:pt x="12549" y="329922"/>
                    <a:pt x="52626" y="362712"/>
                    <a:pt x="123468" y="362712"/>
                  </a:cubicBezTo>
                  <a:cubicBezTo>
                    <a:pt x="202406" y="362712"/>
                    <a:pt x="251388" y="307253"/>
                    <a:pt x="251388" y="250984"/>
                  </a:cubicBezTo>
                  <a:cubicBezTo>
                    <a:pt x="250579" y="201597"/>
                    <a:pt x="216979" y="163949"/>
                    <a:pt x="150591" y="148971"/>
                  </a:cubicBezTo>
                  <a:close/>
                </a:path>
              </a:pathLst>
            </a:custGeom>
            <a:solidFill>
              <a:schemeClr val="lt1"/>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lt1"/>
                </a:solidFill>
                <a:latin typeface="Calibri"/>
                <a:ea typeface="Calibri"/>
                <a:cs typeface="Calibri"/>
                <a:sym typeface="Calibri"/>
              </a:endParaRPr>
            </a:p>
          </p:txBody>
        </p:sp>
        <p:sp>
          <p:nvSpPr>
            <p:cNvPr id="1805" name="Google Shape;1805;p47"/>
            <p:cNvSpPr/>
            <p:nvPr/>
          </p:nvSpPr>
          <p:spPr>
            <a:xfrm>
              <a:off x="3775382" y="1552051"/>
              <a:ext cx="242584" cy="267176"/>
            </a:xfrm>
            <a:custGeom>
              <a:avLst/>
              <a:gdLst/>
              <a:ahLst/>
              <a:cxnLst/>
              <a:rect l="l" t="t" r="r" b="b"/>
              <a:pathLst>
                <a:path w="323445" h="356235" extrusionOk="0">
                  <a:moveTo>
                    <a:pt x="70842" y="150995"/>
                  </a:moveTo>
                  <a:cubicBezTo>
                    <a:pt x="79343" y="101203"/>
                    <a:pt x="112538" y="64770"/>
                    <a:pt x="164758" y="64770"/>
                  </a:cubicBezTo>
                  <a:cubicBezTo>
                    <a:pt x="216575" y="64770"/>
                    <a:pt x="247340" y="101203"/>
                    <a:pt x="255437" y="150995"/>
                  </a:cubicBezTo>
                  <a:lnTo>
                    <a:pt x="70842" y="150995"/>
                  </a:lnTo>
                  <a:close/>
                  <a:moveTo>
                    <a:pt x="164758" y="0"/>
                  </a:moveTo>
                  <a:cubicBezTo>
                    <a:pt x="70842" y="0"/>
                    <a:pt x="0" y="79748"/>
                    <a:pt x="0" y="178118"/>
                  </a:cubicBezTo>
                  <a:cubicBezTo>
                    <a:pt x="0" y="276487"/>
                    <a:pt x="76914" y="356235"/>
                    <a:pt x="180546" y="356235"/>
                  </a:cubicBezTo>
                  <a:cubicBezTo>
                    <a:pt x="259889" y="356235"/>
                    <a:pt x="303609" y="317778"/>
                    <a:pt x="303609" y="317778"/>
                  </a:cubicBezTo>
                  <a:lnTo>
                    <a:pt x="303609" y="246936"/>
                  </a:lnTo>
                  <a:cubicBezTo>
                    <a:pt x="303609" y="246936"/>
                    <a:pt x="255437" y="290655"/>
                    <a:pt x="185809" y="290655"/>
                  </a:cubicBezTo>
                  <a:cubicBezTo>
                    <a:pt x="123063" y="290655"/>
                    <a:pt x="81772" y="255032"/>
                    <a:pt x="71247" y="204835"/>
                  </a:cubicBezTo>
                  <a:lnTo>
                    <a:pt x="322231" y="204835"/>
                  </a:lnTo>
                  <a:cubicBezTo>
                    <a:pt x="323041" y="195929"/>
                    <a:pt x="323445" y="186618"/>
                    <a:pt x="323445" y="177713"/>
                  </a:cubicBezTo>
                  <a:cubicBezTo>
                    <a:pt x="323445" y="79748"/>
                    <a:pt x="256247" y="0"/>
                    <a:pt x="164758" y="0"/>
                  </a:cubicBezTo>
                  <a:close/>
                </a:path>
              </a:pathLst>
            </a:custGeom>
            <a:solidFill>
              <a:schemeClr val="lt1"/>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lt1"/>
                </a:solidFill>
                <a:latin typeface="Calibri"/>
                <a:ea typeface="Calibri"/>
                <a:cs typeface="Calibri"/>
                <a:sym typeface="Calibri"/>
              </a:endParaRPr>
            </a:p>
          </p:txBody>
        </p:sp>
        <p:sp>
          <p:nvSpPr>
            <p:cNvPr id="1806" name="Google Shape;1806;p47"/>
            <p:cNvSpPr/>
            <p:nvPr/>
          </p:nvSpPr>
          <p:spPr>
            <a:xfrm>
              <a:off x="3429268" y="1451556"/>
              <a:ext cx="74687" cy="65883"/>
            </a:xfrm>
            <a:custGeom>
              <a:avLst/>
              <a:gdLst/>
              <a:ahLst/>
              <a:cxnLst/>
              <a:rect l="l" t="t" r="r" b="b"/>
              <a:pathLst>
                <a:path w="99583" h="87844" extrusionOk="0">
                  <a:moveTo>
                    <a:pt x="24693" y="0"/>
                  </a:moveTo>
                  <a:lnTo>
                    <a:pt x="0" y="43720"/>
                  </a:lnTo>
                  <a:lnTo>
                    <a:pt x="24693" y="87844"/>
                  </a:lnTo>
                  <a:lnTo>
                    <a:pt x="74890" y="87844"/>
                  </a:lnTo>
                  <a:lnTo>
                    <a:pt x="99584" y="43720"/>
                  </a:lnTo>
                  <a:lnTo>
                    <a:pt x="74890" y="0"/>
                  </a:lnTo>
                  <a:close/>
                </a:path>
              </a:pathLst>
            </a:custGeom>
            <a:solidFill>
              <a:schemeClr val="lt1"/>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lt1"/>
                </a:solidFill>
                <a:latin typeface="Calibri"/>
                <a:ea typeface="Calibri"/>
                <a:cs typeface="Calibri"/>
                <a:sym typeface="Calibri"/>
              </a:endParaRPr>
            </a:p>
          </p:txBody>
        </p:sp>
        <p:sp>
          <p:nvSpPr>
            <p:cNvPr id="1807" name="Google Shape;1807;p47"/>
            <p:cNvSpPr/>
            <p:nvPr/>
          </p:nvSpPr>
          <p:spPr>
            <a:xfrm>
              <a:off x="2455288" y="1554783"/>
              <a:ext cx="375868" cy="261103"/>
            </a:xfrm>
            <a:custGeom>
              <a:avLst/>
              <a:gdLst/>
              <a:ahLst/>
              <a:cxnLst/>
              <a:rect l="l" t="t" r="r" b="b"/>
              <a:pathLst>
                <a:path w="501157" h="348138" extrusionOk="0">
                  <a:moveTo>
                    <a:pt x="433149" y="405"/>
                  </a:moveTo>
                  <a:lnTo>
                    <a:pt x="422219" y="405"/>
                  </a:lnTo>
                  <a:lnTo>
                    <a:pt x="422219" y="405"/>
                  </a:lnTo>
                  <a:lnTo>
                    <a:pt x="422219" y="405"/>
                  </a:lnTo>
                  <a:lnTo>
                    <a:pt x="284988" y="230338"/>
                  </a:lnTo>
                  <a:cubicBezTo>
                    <a:pt x="284988" y="192286"/>
                    <a:pt x="284178" y="405"/>
                    <a:pt x="284178" y="405"/>
                  </a:cubicBezTo>
                  <a:lnTo>
                    <a:pt x="216575" y="405"/>
                  </a:lnTo>
                  <a:lnTo>
                    <a:pt x="205645" y="405"/>
                  </a:lnTo>
                  <a:lnTo>
                    <a:pt x="205645" y="405"/>
                  </a:lnTo>
                  <a:lnTo>
                    <a:pt x="205645" y="405"/>
                  </a:lnTo>
                  <a:lnTo>
                    <a:pt x="69223" y="229529"/>
                  </a:lnTo>
                  <a:lnTo>
                    <a:pt x="68818" y="216170"/>
                  </a:lnTo>
                  <a:lnTo>
                    <a:pt x="69628" y="405"/>
                  </a:lnTo>
                  <a:lnTo>
                    <a:pt x="0" y="405"/>
                  </a:lnTo>
                  <a:lnTo>
                    <a:pt x="0" y="348139"/>
                  </a:lnTo>
                  <a:lnTo>
                    <a:pt x="69628" y="348139"/>
                  </a:lnTo>
                  <a:cubicBezTo>
                    <a:pt x="74081" y="340852"/>
                    <a:pt x="84606" y="322636"/>
                    <a:pt x="98369" y="299157"/>
                  </a:cubicBezTo>
                  <a:lnTo>
                    <a:pt x="216575" y="100394"/>
                  </a:lnTo>
                  <a:lnTo>
                    <a:pt x="216575" y="347734"/>
                  </a:lnTo>
                  <a:lnTo>
                    <a:pt x="285393" y="347734"/>
                  </a:lnTo>
                  <a:cubicBezTo>
                    <a:pt x="285393" y="347734"/>
                    <a:pt x="285393" y="347734"/>
                    <a:pt x="285393" y="347734"/>
                  </a:cubicBezTo>
                  <a:lnTo>
                    <a:pt x="285393" y="347734"/>
                  </a:lnTo>
                  <a:lnTo>
                    <a:pt x="432340" y="101608"/>
                  </a:lnTo>
                  <a:lnTo>
                    <a:pt x="432340" y="347734"/>
                  </a:lnTo>
                  <a:lnTo>
                    <a:pt x="501158" y="347734"/>
                  </a:lnTo>
                  <a:lnTo>
                    <a:pt x="501158" y="0"/>
                  </a:lnTo>
                  <a:lnTo>
                    <a:pt x="433149" y="0"/>
                  </a:lnTo>
                  <a:close/>
                </a:path>
              </a:pathLst>
            </a:custGeom>
            <a:solidFill>
              <a:schemeClr val="lt1"/>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lt1"/>
                </a:solidFill>
                <a:latin typeface="Calibri"/>
                <a:ea typeface="Calibri"/>
                <a:cs typeface="Calibri"/>
                <a:sym typeface="Calibri"/>
              </a:endParaRPr>
            </a:p>
          </p:txBody>
        </p:sp>
        <p:sp>
          <p:nvSpPr>
            <p:cNvPr id="1808" name="Google Shape;1808;p47"/>
            <p:cNvSpPr/>
            <p:nvPr/>
          </p:nvSpPr>
          <p:spPr>
            <a:xfrm>
              <a:off x="4428749" y="1553569"/>
              <a:ext cx="234690" cy="263229"/>
            </a:xfrm>
            <a:custGeom>
              <a:avLst/>
              <a:gdLst/>
              <a:ahLst/>
              <a:cxnLst/>
              <a:rect l="l" t="t" r="r" b="b"/>
              <a:pathLst>
                <a:path w="312920" h="350972" extrusionOk="0">
                  <a:moveTo>
                    <a:pt x="68009" y="136017"/>
                  </a:moveTo>
                  <a:cubicBezTo>
                    <a:pt x="72057" y="123468"/>
                    <a:pt x="78129" y="112538"/>
                    <a:pt x="85821" y="103227"/>
                  </a:cubicBezTo>
                  <a:cubicBezTo>
                    <a:pt x="97155" y="89059"/>
                    <a:pt x="110514" y="78533"/>
                    <a:pt x="125492" y="71247"/>
                  </a:cubicBezTo>
                  <a:cubicBezTo>
                    <a:pt x="140470" y="63960"/>
                    <a:pt x="155853" y="60317"/>
                    <a:pt x="171236" y="60317"/>
                  </a:cubicBezTo>
                  <a:cubicBezTo>
                    <a:pt x="194310" y="60317"/>
                    <a:pt x="212932" y="65580"/>
                    <a:pt x="226290" y="75700"/>
                  </a:cubicBezTo>
                  <a:cubicBezTo>
                    <a:pt x="238435" y="84606"/>
                    <a:pt x="244102" y="95941"/>
                    <a:pt x="244102" y="110918"/>
                  </a:cubicBezTo>
                  <a:cubicBezTo>
                    <a:pt x="244102" y="119420"/>
                    <a:pt x="242078" y="130350"/>
                    <a:pt x="225481" y="140065"/>
                  </a:cubicBezTo>
                  <a:cubicBezTo>
                    <a:pt x="209693" y="149376"/>
                    <a:pt x="190667" y="153829"/>
                    <a:pt x="169212" y="153829"/>
                  </a:cubicBezTo>
                  <a:cubicBezTo>
                    <a:pt x="139256" y="153424"/>
                    <a:pt x="104847" y="147757"/>
                    <a:pt x="68009" y="136017"/>
                  </a:cubicBezTo>
                  <a:close/>
                  <a:moveTo>
                    <a:pt x="277297" y="238030"/>
                  </a:moveTo>
                  <a:lnTo>
                    <a:pt x="261509" y="252603"/>
                  </a:lnTo>
                  <a:cubicBezTo>
                    <a:pt x="247746" y="265152"/>
                    <a:pt x="232767" y="274868"/>
                    <a:pt x="217789" y="281749"/>
                  </a:cubicBezTo>
                  <a:cubicBezTo>
                    <a:pt x="203216" y="288227"/>
                    <a:pt x="185809" y="291465"/>
                    <a:pt x="165164" y="291465"/>
                  </a:cubicBezTo>
                  <a:cubicBezTo>
                    <a:pt x="146542" y="291465"/>
                    <a:pt x="129540" y="287012"/>
                    <a:pt x="113348" y="278106"/>
                  </a:cubicBezTo>
                  <a:cubicBezTo>
                    <a:pt x="97155" y="269200"/>
                    <a:pt x="84606" y="257056"/>
                    <a:pt x="74890" y="240458"/>
                  </a:cubicBezTo>
                  <a:cubicBezTo>
                    <a:pt x="66389" y="226290"/>
                    <a:pt x="61937" y="211312"/>
                    <a:pt x="60722" y="193905"/>
                  </a:cubicBezTo>
                  <a:cubicBezTo>
                    <a:pt x="75700" y="198763"/>
                    <a:pt x="89869" y="202406"/>
                    <a:pt x="103227" y="205645"/>
                  </a:cubicBezTo>
                  <a:cubicBezTo>
                    <a:pt x="124682" y="210907"/>
                    <a:pt x="147352" y="213336"/>
                    <a:pt x="170021" y="213336"/>
                  </a:cubicBezTo>
                  <a:cubicBezTo>
                    <a:pt x="191881" y="213336"/>
                    <a:pt x="212932" y="209693"/>
                    <a:pt x="232767" y="202406"/>
                  </a:cubicBezTo>
                  <a:cubicBezTo>
                    <a:pt x="253413" y="194715"/>
                    <a:pt x="270415" y="183380"/>
                    <a:pt x="283774" y="168807"/>
                  </a:cubicBezTo>
                  <a:cubicBezTo>
                    <a:pt x="297942" y="152614"/>
                    <a:pt x="305229" y="133183"/>
                    <a:pt x="305229" y="110514"/>
                  </a:cubicBezTo>
                  <a:cubicBezTo>
                    <a:pt x="305229" y="89059"/>
                    <a:pt x="299157" y="69628"/>
                    <a:pt x="286607" y="52221"/>
                  </a:cubicBezTo>
                  <a:cubicBezTo>
                    <a:pt x="274868" y="35623"/>
                    <a:pt x="258271" y="22265"/>
                    <a:pt x="237625" y="13359"/>
                  </a:cubicBezTo>
                  <a:cubicBezTo>
                    <a:pt x="217789" y="4453"/>
                    <a:pt x="195525" y="0"/>
                    <a:pt x="172045" y="0"/>
                  </a:cubicBezTo>
                  <a:cubicBezTo>
                    <a:pt x="143708" y="0"/>
                    <a:pt x="116181" y="7287"/>
                    <a:pt x="90273" y="21455"/>
                  </a:cubicBezTo>
                  <a:cubicBezTo>
                    <a:pt x="63961" y="36028"/>
                    <a:pt x="42101" y="57078"/>
                    <a:pt x="25503" y="85011"/>
                  </a:cubicBezTo>
                  <a:cubicBezTo>
                    <a:pt x="8501" y="112943"/>
                    <a:pt x="0" y="146542"/>
                    <a:pt x="0" y="184999"/>
                  </a:cubicBezTo>
                  <a:cubicBezTo>
                    <a:pt x="0" y="219408"/>
                    <a:pt x="8096" y="249769"/>
                    <a:pt x="24289" y="274868"/>
                  </a:cubicBezTo>
                  <a:cubicBezTo>
                    <a:pt x="40481" y="299966"/>
                    <a:pt x="61532" y="319397"/>
                    <a:pt x="87845" y="331946"/>
                  </a:cubicBezTo>
                  <a:cubicBezTo>
                    <a:pt x="113348" y="344495"/>
                    <a:pt x="140470" y="350973"/>
                    <a:pt x="168807" y="350973"/>
                  </a:cubicBezTo>
                  <a:cubicBezTo>
                    <a:pt x="195525" y="350973"/>
                    <a:pt x="219409" y="346115"/>
                    <a:pt x="240459" y="336399"/>
                  </a:cubicBezTo>
                  <a:cubicBezTo>
                    <a:pt x="260699" y="327088"/>
                    <a:pt x="280131" y="313730"/>
                    <a:pt x="298752" y="297132"/>
                  </a:cubicBezTo>
                  <a:lnTo>
                    <a:pt x="312920" y="284583"/>
                  </a:lnTo>
                  <a:lnTo>
                    <a:pt x="277297" y="238030"/>
                  </a:lnTo>
                  <a:close/>
                </a:path>
              </a:pathLst>
            </a:custGeom>
            <a:solidFill>
              <a:schemeClr val="lt1"/>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lt1"/>
                </a:solidFill>
                <a:latin typeface="Calibri"/>
                <a:ea typeface="Calibri"/>
                <a:cs typeface="Calibri"/>
                <a:sym typeface="Calibri"/>
              </a:endParaRPr>
            </a:p>
          </p:txBody>
        </p:sp>
        <p:sp>
          <p:nvSpPr>
            <p:cNvPr id="1809" name="Google Shape;1809;p47"/>
            <p:cNvSpPr/>
            <p:nvPr/>
          </p:nvSpPr>
          <p:spPr>
            <a:xfrm>
              <a:off x="3227064" y="1481006"/>
              <a:ext cx="183683" cy="334577"/>
            </a:xfrm>
            <a:custGeom>
              <a:avLst/>
              <a:gdLst/>
              <a:ahLst/>
              <a:cxnLst/>
              <a:rect l="l" t="t" r="r" b="b"/>
              <a:pathLst>
                <a:path w="244911" h="446103" extrusionOk="0">
                  <a:moveTo>
                    <a:pt x="156662" y="0"/>
                  </a:moveTo>
                  <a:lnTo>
                    <a:pt x="87844" y="0"/>
                  </a:lnTo>
                  <a:lnTo>
                    <a:pt x="87844" y="98369"/>
                  </a:lnTo>
                  <a:lnTo>
                    <a:pt x="0" y="98369"/>
                  </a:lnTo>
                  <a:lnTo>
                    <a:pt x="0" y="159496"/>
                  </a:lnTo>
                  <a:lnTo>
                    <a:pt x="87844" y="159496"/>
                  </a:lnTo>
                  <a:lnTo>
                    <a:pt x="87844" y="446103"/>
                  </a:lnTo>
                  <a:lnTo>
                    <a:pt x="156662" y="446103"/>
                  </a:lnTo>
                  <a:lnTo>
                    <a:pt x="156662" y="159496"/>
                  </a:lnTo>
                  <a:lnTo>
                    <a:pt x="244912" y="159496"/>
                  </a:lnTo>
                  <a:lnTo>
                    <a:pt x="244912" y="98369"/>
                  </a:lnTo>
                  <a:lnTo>
                    <a:pt x="156662" y="98369"/>
                  </a:lnTo>
                  <a:close/>
                </a:path>
              </a:pathLst>
            </a:custGeom>
            <a:solidFill>
              <a:schemeClr val="lt1"/>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lt1"/>
                </a:solidFill>
                <a:latin typeface="Calibri"/>
                <a:ea typeface="Calibri"/>
                <a:cs typeface="Calibri"/>
                <a:sym typeface="Calibri"/>
              </a:endParaRPr>
            </a:p>
          </p:txBody>
        </p:sp>
        <p:sp>
          <p:nvSpPr>
            <p:cNvPr id="1810" name="Google Shape;1810;p47"/>
            <p:cNvSpPr/>
            <p:nvPr/>
          </p:nvSpPr>
          <p:spPr>
            <a:xfrm>
              <a:off x="4047416" y="1554480"/>
              <a:ext cx="140875" cy="261104"/>
            </a:xfrm>
            <a:custGeom>
              <a:avLst/>
              <a:gdLst/>
              <a:ahLst/>
              <a:cxnLst/>
              <a:rect l="l" t="t" r="r" b="b"/>
              <a:pathLst>
                <a:path w="187833" h="348138" extrusionOk="0">
                  <a:moveTo>
                    <a:pt x="4048" y="405"/>
                  </a:moveTo>
                  <a:lnTo>
                    <a:pt x="0" y="405"/>
                  </a:lnTo>
                  <a:lnTo>
                    <a:pt x="0" y="348139"/>
                  </a:lnTo>
                  <a:lnTo>
                    <a:pt x="69628" y="348139"/>
                  </a:lnTo>
                  <a:lnTo>
                    <a:pt x="69628" y="61127"/>
                  </a:lnTo>
                  <a:lnTo>
                    <a:pt x="187833" y="61127"/>
                  </a:lnTo>
                  <a:lnTo>
                    <a:pt x="187833" y="0"/>
                  </a:lnTo>
                  <a:lnTo>
                    <a:pt x="4048" y="0"/>
                  </a:lnTo>
                  <a:close/>
                </a:path>
              </a:pathLst>
            </a:custGeom>
            <a:solidFill>
              <a:schemeClr val="lt1"/>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lt1"/>
                </a:solidFill>
                <a:latin typeface="Calibri"/>
                <a:ea typeface="Calibri"/>
                <a:cs typeface="Calibri"/>
                <a:sym typeface="Calibri"/>
              </a:endParaRPr>
            </a:p>
          </p:txBody>
        </p:sp>
      </p:grpSp>
      <p:sp>
        <p:nvSpPr>
          <p:cNvPr id="1811" name="Google Shape;1811;p47"/>
          <p:cNvSpPr txBox="1">
            <a:spLocks noGrp="1"/>
          </p:cNvSpPr>
          <p:nvPr>
            <p:ph type="sldNum" idx="12"/>
          </p:nvPr>
        </p:nvSpPr>
        <p:spPr>
          <a:xfrm>
            <a:off x="11409045" y="6333135"/>
            <a:ext cx="731600" cy="524800"/>
          </a:xfrm>
          <a:prstGeom prst="rect">
            <a:avLst/>
          </a:prstGeom>
        </p:spPr>
        <p:txBody>
          <a:bodyPr spcFirstLastPara="1" wrap="square" lIns="91425" tIns="91425" rIns="0" bIns="0" anchor="t" anchorCtr="0">
            <a:noAutofit/>
          </a:bodyPr>
          <a:lstStyle>
            <a:lvl1pPr lvl="0" rtl="0">
              <a:buNone/>
              <a:defRPr sz="1733">
                <a:solidFill>
                  <a:schemeClr val="dk1"/>
                </a:solidFill>
              </a:defRPr>
            </a:lvl1pPr>
            <a:lvl2pPr lvl="1" rtl="0">
              <a:buNone/>
              <a:defRPr sz="1733">
                <a:solidFill>
                  <a:schemeClr val="dk1"/>
                </a:solidFill>
              </a:defRPr>
            </a:lvl2pPr>
            <a:lvl3pPr lvl="2" rtl="0">
              <a:buNone/>
              <a:defRPr sz="1733">
                <a:solidFill>
                  <a:schemeClr val="dk1"/>
                </a:solidFill>
              </a:defRPr>
            </a:lvl3pPr>
            <a:lvl4pPr lvl="3" rtl="0">
              <a:buNone/>
              <a:defRPr sz="1733">
                <a:solidFill>
                  <a:schemeClr val="dk1"/>
                </a:solidFill>
              </a:defRPr>
            </a:lvl4pPr>
            <a:lvl5pPr lvl="4" rtl="0">
              <a:buNone/>
              <a:defRPr sz="1733">
                <a:solidFill>
                  <a:schemeClr val="dk1"/>
                </a:solidFill>
              </a:defRPr>
            </a:lvl5pPr>
            <a:lvl6pPr lvl="5" rtl="0">
              <a:buNone/>
              <a:defRPr sz="1733">
                <a:solidFill>
                  <a:schemeClr val="dk1"/>
                </a:solidFill>
              </a:defRPr>
            </a:lvl6pPr>
            <a:lvl7pPr lvl="6" rtl="0">
              <a:buNone/>
              <a:defRPr sz="1733">
                <a:solidFill>
                  <a:schemeClr val="dk1"/>
                </a:solidFill>
              </a:defRPr>
            </a:lvl7pPr>
            <a:lvl8pPr lvl="7" rtl="0">
              <a:buNone/>
              <a:defRPr sz="1733">
                <a:solidFill>
                  <a:schemeClr val="dk1"/>
                </a:solidFill>
              </a:defRPr>
            </a:lvl8pPr>
            <a:lvl9pPr lvl="8" rtl="0">
              <a:buNone/>
              <a:defRPr sz="1733">
                <a:solidFill>
                  <a:schemeClr val="dk1"/>
                </a:solidFill>
              </a:defRPr>
            </a:lvl9pPr>
          </a:lstStyle>
          <a:p>
            <a:fld id="{00000000-1234-1234-1234-123412341234}" type="slidenum">
              <a:rPr lang="en-GB" smtClean="0"/>
              <a:pPr/>
              <a:t>‹#›</a:t>
            </a:fld>
            <a:endParaRPr lang="en-GB"/>
          </a:p>
        </p:txBody>
      </p:sp>
    </p:spTree>
    <p:extLst>
      <p:ext uri="{BB962C8B-B14F-4D97-AF65-F5344CB8AC3E}">
        <p14:creationId xmlns:p14="http://schemas.microsoft.com/office/powerpoint/2010/main" val="330951801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matchingName="Title only Lunar">
  <p:cSld name="Title only Lunar">
    <p:bg>
      <p:bgPr>
        <a:solidFill>
          <a:schemeClr val="lt2"/>
        </a:solidFill>
        <a:effectLst/>
      </p:bgPr>
    </p:bg>
    <p:spTree>
      <p:nvGrpSpPr>
        <p:cNvPr id="1" name="Shape 1812"/>
        <p:cNvGrpSpPr/>
        <p:nvPr/>
      </p:nvGrpSpPr>
      <p:grpSpPr>
        <a:xfrm>
          <a:off x="0" y="0"/>
          <a:ext cx="0" cy="0"/>
          <a:chOff x="0" y="0"/>
          <a:chExt cx="0" cy="0"/>
        </a:xfrm>
      </p:grpSpPr>
      <p:sp>
        <p:nvSpPr>
          <p:cNvPr id="1813" name="Google Shape;1813;p48" descr="Header"/>
          <p:cNvSpPr txBox="1">
            <a:spLocks noGrp="1"/>
          </p:cNvSpPr>
          <p:nvPr>
            <p:ph type="title"/>
          </p:nvPr>
        </p:nvSpPr>
        <p:spPr>
          <a:xfrm>
            <a:off x="951700" y="359997"/>
            <a:ext cx="10515600" cy="975200"/>
          </a:xfrm>
          <a:prstGeom prst="rect">
            <a:avLst/>
          </a:prstGeom>
          <a:noFill/>
          <a:ln>
            <a:noFill/>
          </a:ln>
        </p:spPr>
        <p:txBody>
          <a:bodyPr spcFirstLastPara="1" wrap="square" lIns="0" tIns="0" rIns="68575" bIns="34275" anchor="t" anchorCtr="0">
            <a:noAutofit/>
          </a:bodyPr>
          <a:lstStyle>
            <a:lvl1pPr lvl="0" algn="l">
              <a:lnSpc>
                <a:spcPct val="90000"/>
              </a:lnSpc>
              <a:spcBef>
                <a:spcPts val="0"/>
              </a:spcBef>
              <a:spcAft>
                <a:spcPts val="0"/>
              </a:spcAft>
              <a:buClr>
                <a:srgbClr val="000000"/>
              </a:buClr>
              <a:buSzPts val="2400"/>
              <a:buFont typeface="Inter Medium"/>
              <a:buNone/>
              <a:defRPr sz="3200">
                <a:solidFill>
                  <a:srgbClr val="000000"/>
                </a:solidFill>
                <a:latin typeface="Inter Medium"/>
                <a:ea typeface="Inter Medium"/>
                <a:cs typeface="Inter Medium"/>
                <a:sym typeface="Inter Medium"/>
              </a:defRPr>
            </a:lvl1pPr>
            <a:lvl2pPr lvl="1" algn="l">
              <a:lnSpc>
                <a:spcPct val="100000"/>
              </a:lnSpc>
              <a:spcBef>
                <a:spcPts val="0"/>
              </a:spcBef>
              <a:spcAft>
                <a:spcPts val="0"/>
              </a:spcAft>
              <a:buSzPts val="1100"/>
              <a:buNone/>
              <a:defRPr b="1"/>
            </a:lvl2pPr>
            <a:lvl3pPr lvl="2" algn="l">
              <a:lnSpc>
                <a:spcPct val="100000"/>
              </a:lnSpc>
              <a:spcBef>
                <a:spcPts val="0"/>
              </a:spcBef>
              <a:spcAft>
                <a:spcPts val="0"/>
              </a:spcAft>
              <a:buSzPts val="1100"/>
              <a:buNone/>
              <a:defRPr b="1"/>
            </a:lvl3pPr>
            <a:lvl4pPr lvl="3" algn="l">
              <a:lnSpc>
                <a:spcPct val="100000"/>
              </a:lnSpc>
              <a:spcBef>
                <a:spcPts val="0"/>
              </a:spcBef>
              <a:spcAft>
                <a:spcPts val="0"/>
              </a:spcAft>
              <a:buSzPts val="1100"/>
              <a:buNone/>
              <a:defRPr b="1"/>
            </a:lvl4pPr>
            <a:lvl5pPr lvl="4" algn="l">
              <a:lnSpc>
                <a:spcPct val="100000"/>
              </a:lnSpc>
              <a:spcBef>
                <a:spcPts val="0"/>
              </a:spcBef>
              <a:spcAft>
                <a:spcPts val="0"/>
              </a:spcAft>
              <a:buSzPts val="1100"/>
              <a:buNone/>
              <a:defRPr b="1"/>
            </a:lvl5pPr>
            <a:lvl6pPr lvl="5" algn="l">
              <a:lnSpc>
                <a:spcPct val="100000"/>
              </a:lnSpc>
              <a:spcBef>
                <a:spcPts val="0"/>
              </a:spcBef>
              <a:spcAft>
                <a:spcPts val="0"/>
              </a:spcAft>
              <a:buSzPts val="1100"/>
              <a:buNone/>
              <a:defRPr b="1"/>
            </a:lvl6pPr>
            <a:lvl7pPr lvl="6" algn="l">
              <a:lnSpc>
                <a:spcPct val="100000"/>
              </a:lnSpc>
              <a:spcBef>
                <a:spcPts val="0"/>
              </a:spcBef>
              <a:spcAft>
                <a:spcPts val="0"/>
              </a:spcAft>
              <a:buSzPts val="1100"/>
              <a:buNone/>
              <a:defRPr b="1"/>
            </a:lvl7pPr>
            <a:lvl8pPr lvl="7" algn="l">
              <a:lnSpc>
                <a:spcPct val="100000"/>
              </a:lnSpc>
              <a:spcBef>
                <a:spcPts val="0"/>
              </a:spcBef>
              <a:spcAft>
                <a:spcPts val="0"/>
              </a:spcAft>
              <a:buSzPts val="1100"/>
              <a:buNone/>
              <a:defRPr b="1"/>
            </a:lvl8pPr>
            <a:lvl9pPr lvl="8" algn="l">
              <a:lnSpc>
                <a:spcPct val="100000"/>
              </a:lnSpc>
              <a:spcBef>
                <a:spcPts val="0"/>
              </a:spcBef>
              <a:spcAft>
                <a:spcPts val="0"/>
              </a:spcAft>
              <a:buSzPts val="1100"/>
              <a:buNone/>
              <a:defRPr b="1"/>
            </a:lvl9pPr>
          </a:lstStyle>
          <a:p>
            <a:endParaRPr/>
          </a:p>
        </p:txBody>
      </p:sp>
      <p:sp>
        <p:nvSpPr>
          <p:cNvPr id="1814" name="Google Shape;1814;p48"/>
          <p:cNvSpPr txBox="1">
            <a:spLocks noGrp="1"/>
          </p:cNvSpPr>
          <p:nvPr>
            <p:ph type="sldNum" idx="12"/>
          </p:nvPr>
        </p:nvSpPr>
        <p:spPr>
          <a:xfrm>
            <a:off x="10978812" y="5993647"/>
            <a:ext cx="731600" cy="524800"/>
          </a:xfrm>
          <a:prstGeom prst="rect">
            <a:avLst/>
          </a:prstGeom>
          <a:noFill/>
          <a:ln>
            <a:noFill/>
          </a:ln>
        </p:spPr>
        <p:txBody>
          <a:bodyPr spcFirstLastPara="1" wrap="square" lIns="91425" tIns="91425" rIns="0" bIns="0" anchor="b" anchorCtr="0">
            <a:noAutofit/>
          </a:bodyPr>
          <a:lstStyle>
            <a:lvl1pPr marL="0" marR="0" lvl="0"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1pPr>
            <a:lvl2pPr marL="0" marR="0" lvl="1"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2pPr>
            <a:lvl3pPr marL="0" marR="0" lvl="2"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3pPr>
            <a:lvl4pPr marL="0" marR="0" lvl="3"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4pPr>
            <a:lvl5pPr marL="0" marR="0" lvl="4"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5pPr>
            <a:lvl6pPr marL="0" marR="0" lvl="5"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6pPr>
            <a:lvl7pPr marL="0" marR="0" lvl="6"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7pPr>
            <a:lvl8pPr marL="0" marR="0" lvl="7"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8pPr>
            <a:lvl9pPr marL="0" marR="0" lvl="8"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9pPr>
          </a:lstStyle>
          <a:p>
            <a:fld id="{00000000-1234-1234-1234-123412341234}" type="slidenum">
              <a:rPr lang="en-GB" smtClean="0"/>
              <a:pPr/>
              <a:t>‹#›</a:t>
            </a:fld>
            <a:endParaRPr lang="en-GB"/>
          </a:p>
        </p:txBody>
      </p:sp>
      <p:sp>
        <p:nvSpPr>
          <p:cNvPr id="1815" name="Google Shape;1815;p48"/>
          <p:cNvSpPr txBox="1"/>
          <p:nvPr/>
        </p:nvSpPr>
        <p:spPr>
          <a:xfrm>
            <a:off x="481600" y="6245247"/>
            <a:ext cx="1288400" cy="273200"/>
          </a:xfrm>
          <a:prstGeom prst="rect">
            <a:avLst/>
          </a:prstGeom>
          <a:noFill/>
          <a:ln>
            <a:noFill/>
          </a:ln>
        </p:spPr>
        <p:txBody>
          <a:bodyPr spcFirstLastPara="1" wrap="square" lIns="0" tIns="0" rIns="0" bIns="0" anchor="b" anchorCtr="0">
            <a:noAutofit/>
          </a:bodyPr>
          <a:lstStyle/>
          <a:p>
            <a:pPr marL="0" marR="0" lvl="0" indent="0" algn="l" rtl="0">
              <a:lnSpc>
                <a:spcPct val="100000"/>
              </a:lnSpc>
              <a:spcBef>
                <a:spcPts val="0"/>
              </a:spcBef>
              <a:spcAft>
                <a:spcPts val="0"/>
              </a:spcAft>
              <a:buClr>
                <a:srgbClr val="000000"/>
              </a:buClr>
              <a:buSzPts val="500"/>
              <a:buFont typeface="Arial"/>
              <a:buNone/>
            </a:pPr>
            <a:r>
              <a:rPr lang="en-GB" sz="667" b="0" i="0" u="none" strike="noStrike" cap="none">
                <a:solidFill>
                  <a:schemeClr val="dk2"/>
                </a:solidFill>
                <a:latin typeface="Inter"/>
                <a:ea typeface="Inter"/>
                <a:cs typeface="Inter"/>
                <a:sym typeface="Inter"/>
              </a:rPr>
              <a:t>Multiverse</a:t>
            </a:r>
            <a:endParaRPr sz="667" b="0" i="0" u="none" strike="noStrike" cap="none">
              <a:solidFill>
                <a:schemeClr val="dk2"/>
              </a:solidFill>
              <a:latin typeface="Inter"/>
              <a:ea typeface="Inter"/>
              <a:cs typeface="Inter"/>
              <a:sym typeface="Inter"/>
            </a:endParaRPr>
          </a:p>
        </p:txBody>
      </p:sp>
      <p:sp>
        <p:nvSpPr>
          <p:cNvPr id="1816" name="Google Shape;1816;p48"/>
          <p:cNvSpPr/>
          <p:nvPr/>
        </p:nvSpPr>
        <p:spPr>
          <a:xfrm>
            <a:off x="481601" y="414630"/>
            <a:ext cx="349111" cy="305471"/>
          </a:xfrm>
          <a:custGeom>
            <a:avLst/>
            <a:gdLst/>
            <a:ahLst/>
            <a:cxnLst/>
            <a:rect l="l" t="t" r="r" b="b"/>
            <a:pathLst>
              <a:path w="1586865" h="1388506" extrusionOk="0">
                <a:moveTo>
                  <a:pt x="1083683" y="969931"/>
                </a:moveTo>
                <a:lnTo>
                  <a:pt x="1083683" y="579692"/>
                </a:lnTo>
                <a:lnTo>
                  <a:pt x="849297" y="969931"/>
                </a:lnTo>
                <a:lnTo>
                  <a:pt x="848892" y="969931"/>
                </a:lnTo>
                <a:cubicBezTo>
                  <a:pt x="848892" y="969931"/>
                  <a:pt x="848892" y="969931"/>
                  <a:pt x="848892" y="969931"/>
                </a:cubicBezTo>
                <a:lnTo>
                  <a:pt x="738783" y="969931"/>
                </a:lnTo>
                <a:lnTo>
                  <a:pt x="738783" y="577668"/>
                </a:lnTo>
                <a:lnTo>
                  <a:pt x="549735" y="892612"/>
                </a:lnTo>
                <a:cubicBezTo>
                  <a:pt x="527876" y="929449"/>
                  <a:pt x="510873" y="958191"/>
                  <a:pt x="503992" y="969931"/>
                </a:cubicBezTo>
                <a:lnTo>
                  <a:pt x="393073" y="969931"/>
                </a:lnTo>
                <a:lnTo>
                  <a:pt x="393073" y="418576"/>
                </a:lnTo>
                <a:lnTo>
                  <a:pt x="503992" y="418576"/>
                </a:lnTo>
                <a:lnTo>
                  <a:pt x="502777" y="760643"/>
                </a:lnTo>
                <a:lnTo>
                  <a:pt x="503587" y="782098"/>
                </a:lnTo>
                <a:lnTo>
                  <a:pt x="721781" y="418981"/>
                </a:lnTo>
                <a:lnTo>
                  <a:pt x="721781" y="418981"/>
                </a:lnTo>
                <a:lnTo>
                  <a:pt x="721781" y="418981"/>
                </a:lnTo>
                <a:lnTo>
                  <a:pt x="739188" y="418981"/>
                </a:lnTo>
                <a:lnTo>
                  <a:pt x="847678" y="418981"/>
                </a:lnTo>
                <a:cubicBezTo>
                  <a:pt x="847678" y="418981"/>
                  <a:pt x="848487" y="722995"/>
                  <a:pt x="848892" y="783717"/>
                </a:cubicBezTo>
                <a:lnTo>
                  <a:pt x="1067895" y="418981"/>
                </a:lnTo>
                <a:lnTo>
                  <a:pt x="1067895" y="418981"/>
                </a:lnTo>
                <a:lnTo>
                  <a:pt x="1067895" y="418981"/>
                </a:lnTo>
                <a:lnTo>
                  <a:pt x="1085302" y="418981"/>
                </a:lnTo>
                <a:lnTo>
                  <a:pt x="1193387" y="418981"/>
                </a:lnTo>
                <a:lnTo>
                  <a:pt x="1193387" y="970336"/>
                </a:lnTo>
                <a:lnTo>
                  <a:pt x="1083683" y="970336"/>
                </a:lnTo>
                <a:close/>
                <a:moveTo>
                  <a:pt x="1190149" y="0"/>
                </a:moveTo>
                <a:lnTo>
                  <a:pt x="396716" y="0"/>
                </a:lnTo>
                <a:lnTo>
                  <a:pt x="0" y="694253"/>
                </a:lnTo>
                <a:lnTo>
                  <a:pt x="396716" y="1388507"/>
                </a:lnTo>
                <a:lnTo>
                  <a:pt x="1190149" y="1388507"/>
                </a:lnTo>
                <a:lnTo>
                  <a:pt x="1586865" y="694253"/>
                </a:lnTo>
                <a:lnTo>
                  <a:pt x="1190149" y="0"/>
                </a:lnTo>
                <a:close/>
              </a:path>
            </a:pathLst>
          </a:custGeom>
          <a:solidFill>
            <a:schemeClr val="dk2"/>
          </a:solidFill>
          <a:ln>
            <a:noFill/>
          </a:ln>
        </p:spPr>
        <p:txBody>
          <a:bodyPr spcFirstLastPara="1" wrap="square" lIns="91433" tIns="45700" rIns="91433"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21113263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matchingName="Laptop 1">
  <p:cSld name="Laptop 1">
    <p:bg>
      <p:bgPr>
        <a:solidFill>
          <a:schemeClr val="lt2"/>
        </a:solidFill>
        <a:effectLst/>
      </p:bgPr>
    </p:bg>
    <p:spTree>
      <p:nvGrpSpPr>
        <p:cNvPr id="1" name="Shape 1817"/>
        <p:cNvGrpSpPr/>
        <p:nvPr/>
      </p:nvGrpSpPr>
      <p:grpSpPr>
        <a:xfrm>
          <a:off x="0" y="0"/>
          <a:ext cx="0" cy="0"/>
          <a:chOff x="0" y="0"/>
          <a:chExt cx="0" cy="0"/>
        </a:xfrm>
      </p:grpSpPr>
      <p:sp>
        <p:nvSpPr>
          <p:cNvPr id="1818" name="Google Shape;1818;p49"/>
          <p:cNvSpPr txBox="1">
            <a:spLocks noGrp="1"/>
          </p:cNvSpPr>
          <p:nvPr>
            <p:ph type="title"/>
          </p:nvPr>
        </p:nvSpPr>
        <p:spPr>
          <a:xfrm>
            <a:off x="951700" y="359997"/>
            <a:ext cx="10515600" cy="975200"/>
          </a:xfrm>
          <a:prstGeom prst="rect">
            <a:avLst/>
          </a:prstGeom>
          <a:noFill/>
          <a:ln>
            <a:noFill/>
          </a:ln>
        </p:spPr>
        <p:txBody>
          <a:bodyPr spcFirstLastPara="1" wrap="square" lIns="0" tIns="0" rIns="68575" bIns="34275" anchor="t" anchorCtr="0">
            <a:noAutofit/>
          </a:bodyPr>
          <a:lstStyle>
            <a:lvl1pPr lvl="0" algn="l">
              <a:lnSpc>
                <a:spcPct val="90000"/>
              </a:lnSpc>
              <a:spcBef>
                <a:spcPts val="0"/>
              </a:spcBef>
              <a:spcAft>
                <a:spcPts val="0"/>
              </a:spcAft>
              <a:buClr>
                <a:schemeClr val="dk1"/>
              </a:buClr>
              <a:buSzPts val="2400"/>
              <a:buFont typeface="Inter Medium"/>
              <a:buNone/>
              <a:defRPr sz="3200">
                <a:latin typeface="Inter Medium"/>
                <a:ea typeface="Inter Medium"/>
                <a:cs typeface="Inter Medium"/>
                <a:sym typeface="Inter Medium"/>
              </a:defRPr>
            </a:lvl1pPr>
            <a:lvl2pPr lvl="1" algn="l">
              <a:lnSpc>
                <a:spcPct val="100000"/>
              </a:lnSpc>
              <a:spcBef>
                <a:spcPts val="0"/>
              </a:spcBef>
              <a:spcAft>
                <a:spcPts val="0"/>
              </a:spcAft>
              <a:buSzPts val="1100"/>
              <a:buNone/>
              <a:defRPr b="1"/>
            </a:lvl2pPr>
            <a:lvl3pPr lvl="2" algn="l">
              <a:lnSpc>
                <a:spcPct val="100000"/>
              </a:lnSpc>
              <a:spcBef>
                <a:spcPts val="0"/>
              </a:spcBef>
              <a:spcAft>
                <a:spcPts val="0"/>
              </a:spcAft>
              <a:buSzPts val="1100"/>
              <a:buNone/>
              <a:defRPr b="1"/>
            </a:lvl3pPr>
            <a:lvl4pPr lvl="3" algn="l">
              <a:lnSpc>
                <a:spcPct val="100000"/>
              </a:lnSpc>
              <a:spcBef>
                <a:spcPts val="0"/>
              </a:spcBef>
              <a:spcAft>
                <a:spcPts val="0"/>
              </a:spcAft>
              <a:buSzPts val="1100"/>
              <a:buNone/>
              <a:defRPr b="1"/>
            </a:lvl4pPr>
            <a:lvl5pPr lvl="4" algn="l">
              <a:lnSpc>
                <a:spcPct val="100000"/>
              </a:lnSpc>
              <a:spcBef>
                <a:spcPts val="0"/>
              </a:spcBef>
              <a:spcAft>
                <a:spcPts val="0"/>
              </a:spcAft>
              <a:buSzPts val="1100"/>
              <a:buNone/>
              <a:defRPr b="1"/>
            </a:lvl5pPr>
            <a:lvl6pPr lvl="5" algn="l">
              <a:lnSpc>
                <a:spcPct val="100000"/>
              </a:lnSpc>
              <a:spcBef>
                <a:spcPts val="0"/>
              </a:spcBef>
              <a:spcAft>
                <a:spcPts val="0"/>
              </a:spcAft>
              <a:buSzPts val="1100"/>
              <a:buNone/>
              <a:defRPr b="1"/>
            </a:lvl6pPr>
            <a:lvl7pPr lvl="6" algn="l">
              <a:lnSpc>
                <a:spcPct val="100000"/>
              </a:lnSpc>
              <a:spcBef>
                <a:spcPts val="0"/>
              </a:spcBef>
              <a:spcAft>
                <a:spcPts val="0"/>
              </a:spcAft>
              <a:buSzPts val="1100"/>
              <a:buNone/>
              <a:defRPr b="1"/>
            </a:lvl7pPr>
            <a:lvl8pPr lvl="7" algn="l">
              <a:lnSpc>
                <a:spcPct val="100000"/>
              </a:lnSpc>
              <a:spcBef>
                <a:spcPts val="0"/>
              </a:spcBef>
              <a:spcAft>
                <a:spcPts val="0"/>
              </a:spcAft>
              <a:buSzPts val="1100"/>
              <a:buNone/>
              <a:defRPr b="1"/>
            </a:lvl8pPr>
            <a:lvl9pPr lvl="8" algn="l">
              <a:lnSpc>
                <a:spcPct val="100000"/>
              </a:lnSpc>
              <a:spcBef>
                <a:spcPts val="0"/>
              </a:spcBef>
              <a:spcAft>
                <a:spcPts val="0"/>
              </a:spcAft>
              <a:buSzPts val="1100"/>
              <a:buNone/>
              <a:defRPr b="1"/>
            </a:lvl9pPr>
          </a:lstStyle>
          <a:p>
            <a:endParaRPr/>
          </a:p>
        </p:txBody>
      </p:sp>
      <p:sp>
        <p:nvSpPr>
          <p:cNvPr id="1819" name="Google Shape;1819;p49"/>
          <p:cNvSpPr txBox="1">
            <a:spLocks noGrp="1"/>
          </p:cNvSpPr>
          <p:nvPr>
            <p:ph type="sldNum" idx="12"/>
          </p:nvPr>
        </p:nvSpPr>
        <p:spPr>
          <a:xfrm>
            <a:off x="10978812" y="5993647"/>
            <a:ext cx="731600" cy="524800"/>
          </a:xfrm>
          <a:prstGeom prst="rect">
            <a:avLst/>
          </a:prstGeom>
          <a:noFill/>
          <a:ln>
            <a:noFill/>
          </a:ln>
        </p:spPr>
        <p:txBody>
          <a:bodyPr spcFirstLastPara="1" wrap="square" lIns="91425" tIns="91425" rIns="0" bIns="0" anchor="b" anchorCtr="0">
            <a:noAutofit/>
          </a:bodyPr>
          <a:lstStyle>
            <a:lvl1pPr marL="0" marR="0" lvl="0"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1pPr>
            <a:lvl2pPr marL="0" marR="0" lvl="1"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2pPr>
            <a:lvl3pPr marL="0" marR="0" lvl="2"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3pPr>
            <a:lvl4pPr marL="0" marR="0" lvl="3"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4pPr>
            <a:lvl5pPr marL="0" marR="0" lvl="4"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5pPr>
            <a:lvl6pPr marL="0" marR="0" lvl="5"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6pPr>
            <a:lvl7pPr marL="0" marR="0" lvl="6"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7pPr>
            <a:lvl8pPr marL="0" marR="0" lvl="7"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8pPr>
            <a:lvl9pPr marL="0" marR="0" lvl="8"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9pPr>
          </a:lstStyle>
          <a:p>
            <a:fld id="{00000000-1234-1234-1234-123412341234}" type="slidenum">
              <a:rPr lang="en-GB" smtClean="0"/>
              <a:pPr/>
              <a:t>‹#›</a:t>
            </a:fld>
            <a:endParaRPr lang="en-GB"/>
          </a:p>
        </p:txBody>
      </p:sp>
      <p:sp>
        <p:nvSpPr>
          <p:cNvPr id="1820" name="Google Shape;1820;p49"/>
          <p:cNvSpPr txBox="1"/>
          <p:nvPr/>
        </p:nvSpPr>
        <p:spPr>
          <a:xfrm>
            <a:off x="481600" y="6245247"/>
            <a:ext cx="1288400" cy="273200"/>
          </a:xfrm>
          <a:prstGeom prst="rect">
            <a:avLst/>
          </a:prstGeom>
          <a:noFill/>
          <a:ln>
            <a:noFill/>
          </a:ln>
        </p:spPr>
        <p:txBody>
          <a:bodyPr spcFirstLastPara="1" wrap="square" lIns="0" tIns="0" rIns="0" bIns="0" anchor="b" anchorCtr="0">
            <a:noAutofit/>
          </a:bodyPr>
          <a:lstStyle/>
          <a:p>
            <a:pPr marL="0" marR="0" lvl="0" indent="0" algn="l" rtl="0">
              <a:lnSpc>
                <a:spcPct val="100000"/>
              </a:lnSpc>
              <a:spcBef>
                <a:spcPts val="0"/>
              </a:spcBef>
              <a:spcAft>
                <a:spcPts val="0"/>
              </a:spcAft>
              <a:buClr>
                <a:srgbClr val="000000"/>
              </a:buClr>
              <a:buSzPts val="500"/>
              <a:buFont typeface="Arial"/>
              <a:buNone/>
            </a:pPr>
            <a:r>
              <a:rPr lang="en-GB" sz="667" b="0" i="0" u="none" strike="noStrike" cap="none">
                <a:solidFill>
                  <a:schemeClr val="dk2"/>
                </a:solidFill>
                <a:latin typeface="Inter"/>
                <a:ea typeface="Inter"/>
                <a:cs typeface="Inter"/>
                <a:sym typeface="Inter"/>
              </a:rPr>
              <a:t>Multiverse</a:t>
            </a:r>
            <a:endParaRPr sz="667" b="0" i="0" u="none" strike="noStrike" cap="none">
              <a:solidFill>
                <a:schemeClr val="dk2"/>
              </a:solidFill>
              <a:latin typeface="Inter"/>
              <a:ea typeface="Inter"/>
              <a:cs typeface="Inter"/>
              <a:sym typeface="Inter"/>
            </a:endParaRPr>
          </a:p>
        </p:txBody>
      </p:sp>
      <p:sp>
        <p:nvSpPr>
          <p:cNvPr id="1821" name="Google Shape;1821;p49"/>
          <p:cNvSpPr/>
          <p:nvPr/>
        </p:nvSpPr>
        <p:spPr>
          <a:xfrm>
            <a:off x="481601" y="414630"/>
            <a:ext cx="349111" cy="305471"/>
          </a:xfrm>
          <a:custGeom>
            <a:avLst/>
            <a:gdLst/>
            <a:ahLst/>
            <a:cxnLst/>
            <a:rect l="l" t="t" r="r" b="b"/>
            <a:pathLst>
              <a:path w="1586865" h="1388506" extrusionOk="0">
                <a:moveTo>
                  <a:pt x="1083683" y="969931"/>
                </a:moveTo>
                <a:lnTo>
                  <a:pt x="1083683" y="579692"/>
                </a:lnTo>
                <a:lnTo>
                  <a:pt x="849297" y="969931"/>
                </a:lnTo>
                <a:lnTo>
                  <a:pt x="848892" y="969931"/>
                </a:lnTo>
                <a:cubicBezTo>
                  <a:pt x="848892" y="969931"/>
                  <a:pt x="848892" y="969931"/>
                  <a:pt x="848892" y="969931"/>
                </a:cubicBezTo>
                <a:lnTo>
                  <a:pt x="738783" y="969931"/>
                </a:lnTo>
                <a:lnTo>
                  <a:pt x="738783" y="577668"/>
                </a:lnTo>
                <a:lnTo>
                  <a:pt x="549735" y="892612"/>
                </a:lnTo>
                <a:cubicBezTo>
                  <a:pt x="527876" y="929449"/>
                  <a:pt x="510873" y="958191"/>
                  <a:pt x="503992" y="969931"/>
                </a:cubicBezTo>
                <a:lnTo>
                  <a:pt x="393073" y="969931"/>
                </a:lnTo>
                <a:lnTo>
                  <a:pt x="393073" y="418576"/>
                </a:lnTo>
                <a:lnTo>
                  <a:pt x="503992" y="418576"/>
                </a:lnTo>
                <a:lnTo>
                  <a:pt x="502777" y="760643"/>
                </a:lnTo>
                <a:lnTo>
                  <a:pt x="503587" y="782098"/>
                </a:lnTo>
                <a:lnTo>
                  <a:pt x="721781" y="418981"/>
                </a:lnTo>
                <a:lnTo>
                  <a:pt x="721781" y="418981"/>
                </a:lnTo>
                <a:lnTo>
                  <a:pt x="721781" y="418981"/>
                </a:lnTo>
                <a:lnTo>
                  <a:pt x="739188" y="418981"/>
                </a:lnTo>
                <a:lnTo>
                  <a:pt x="847678" y="418981"/>
                </a:lnTo>
                <a:cubicBezTo>
                  <a:pt x="847678" y="418981"/>
                  <a:pt x="848487" y="722995"/>
                  <a:pt x="848892" y="783717"/>
                </a:cubicBezTo>
                <a:lnTo>
                  <a:pt x="1067895" y="418981"/>
                </a:lnTo>
                <a:lnTo>
                  <a:pt x="1067895" y="418981"/>
                </a:lnTo>
                <a:lnTo>
                  <a:pt x="1067895" y="418981"/>
                </a:lnTo>
                <a:lnTo>
                  <a:pt x="1085302" y="418981"/>
                </a:lnTo>
                <a:lnTo>
                  <a:pt x="1193387" y="418981"/>
                </a:lnTo>
                <a:lnTo>
                  <a:pt x="1193387" y="970336"/>
                </a:lnTo>
                <a:lnTo>
                  <a:pt x="1083683" y="970336"/>
                </a:lnTo>
                <a:close/>
                <a:moveTo>
                  <a:pt x="1190149" y="0"/>
                </a:moveTo>
                <a:lnTo>
                  <a:pt x="396716" y="0"/>
                </a:lnTo>
                <a:lnTo>
                  <a:pt x="0" y="694253"/>
                </a:lnTo>
                <a:lnTo>
                  <a:pt x="396716" y="1388507"/>
                </a:lnTo>
                <a:lnTo>
                  <a:pt x="1190149" y="1388507"/>
                </a:lnTo>
                <a:lnTo>
                  <a:pt x="1586865" y="694253"/>
                </a:lnTo>
                <a:lnTo>
                  <a:pt x="1190149" y="0"/>
                </a:lnTo>
                <a:close/>
              </a:path>
            </a:pathLst>
          </a:custGeom>
          <a:solidFill>
            <a:schemeClr val="dk2"/>
          </a:solidFill>
          <a:ln>
            <a:noFill/>
          </a:ln>
        </p:spPr>
        <p:txBody>
          <a:bodyPr spcFirstLastPara="1" wrap="square" lIns="91433" tIns="45700" rIns="91433"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dk1"/>
              </a:solidFill>
              <a:latin typeface="Calibri"/>
              <a:ea typeface="Calibri"/>
              <a:cs typeface="Calibri"/>
              <a:sym typeface="Calibri"/>
            </a:endParaRPr>
          </a:p>
        </p:txBody>
      </p:sp>
      <p:sp>
        <p:nvSpPr>
          <p:cNvPr id="1822" name="Google Shape;1822;p49"/>
          <p:cNvSpPr>
            <a:spLocks noGrp="1"/>
          </p:cNvSpPr>
          <p:nvPr>
            <p:ph type="pic" idx="2"/>
          </p:nvPr>
        </p:nvSpPr>
        <p:spPr>
          <a:xfrm>
            <a:off x="718133" y="1282500"/>
            <a:ext cx="6461200" cy="4513600"/>
          </a:xfrm>
          <a:prstGeom prst="roundRect">
            <a:avLst>
              <a:gd name="adj" fmla="val 2412"/>
            </a:avLst>
          </a:prstGeom>
          <a:noFill/>
          <a:ln>
            <a:noFill/>
          </a:ln>
        </p:spPr>
      </p:sp>
      <p:sp>
        <p:nvSpPr>
          <p:cNvPr id="1823" name="Google Shape;1823;p49"/>
          <p:cNvSpPr>
            <a:spLocks noGrp="1"/>
          </p:cNvSpPr>
          <p:nvPr>
            <p:ph type="pic" idx="3"/>
          </p:nvPr>
        </p:nvSpPr>
        <p:spPr>
          <a:xfrm>
            <a:off x="9107667" y="1238633"/>
            <a:ext cx="2079200" cy="4616000"/>
          </a:xfrm>
          <a:prstGeom prst="roundRect">
            <a:avLst>
              <a:gd name="adj" fmla="val 8231"/>
            </a:avLst>
          </a:prstGeom>
          <a:noFill/>
          <a:ln>
            <a:noFill/>
          </a:ln>
        </p:spPr>
      </p:sp>
    </p:spTree>
    <p:extLst>
      <p:ext uri="{BB962C8B-B14F-4D97-AF65-F5344CB8AC3E}">
        <p14:creationId xmlns:p14="http://schemas.microsoft.com/office/powerpoint/2010/main" val="301307029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matchingName="Laptop">
  <p:cSld name="Laptop">
    <p:bg>
      <p:bgPr>
        <a:solidFill>
          <a:schemeClr val="lt2"/>
        </a:solidFill>
        <a:effectLst/>
      </p:bgPr>
    </p:bg>
    <p:spTree>
      <p:nvGrpSpPr>
        <p:cNvPr id="1" name="Shape 1824"/>
        <p:cNvGrpSpPr/>
        <p:nvPr/>
      </p:nvGrpSpPr>
      <p:grpSpPr>
        <a:xfrm>
          <a:off x="0" y="0"/>
          <a:ext cx="0" cy="0"/>
          <a:chOff x="0" y="0"/>
          <a:chExt cx="0" cy="0"/>
        </a:xfrm>
      </p:grpSpPr>
      <p:sp>
        <p:nvSpPr>
          <p:cNvPr id="1825" name="Google Shape;1825;p50"/>
          <p:cNvSpPr txBox="1">
            <a:spLocks noGrp="1"/>
          </p:cNvSpPr>
          <p:nvPr>
            <p:ph type="title"/>
          </p:nvPr>
        </p:nvSpPr>
        <p:spPr>
          <a:xfrm>
            <a:off x="951700" y="359997"/>
            <a:ext cx="10515600" cy="975200"/>
          </a:xfrm>
          <a:prstGeom prst="rect">
            <a:avLst/>
          </a:prstGeom>
          <a:noFill/>
          <a:ln>
            <a:noFill/>
          </a:ln>
        </p:spPr>
        <p:txBody>
          <a:bodyPr spcFirstLastPara="1" wrap="square" lIns="0" tIns="0" rIns="68575" bIns="34275" anchor="t" anchorCtr="0">
            <a:noAutofit/>
          </a:bodyPr>
          <a:lstStyle>
            <a:lvl1pPr lvl="0" algn="l">
              <a:lnSpc>
                <a:spcPct val="90000"/>
              </a:lnSpc>
              <a:spcBef>
                <a:spcPts val="0"/>
              </a:spcBef>
              <a:spcAft>
                <a:spcPts val="0"/>
              </a:spcAft>
              <a:buClr>
                <a:schemeClr val="dk1"/>
              </a:buClr>
              <a:buSzPts val="2400"/>
              <a:buFont typeface="Inter Medium"/>
              <a:buNone/>
              <a:defRPr sz="3200">
                <a:latin typeface="Inter Medium"/>
                <a:ea typeface="Inter Medium"/>
                <a:cs typeface="Inter Medium"/>
                <a:sym typeface="Inter Medium"/>
              </a:defRPr>
            </a:lvl1pPr>
            <a:lvl2pPr lvl="1" algn="l">
              <a:lnSpc>
                <a:spcPct val="100000"/>
              </a:lnSpc>
              <a:spcBef>
                <a:spcPts val="0"/>
              </a:spcBef>
              <a:spcAft>
                <a:spcPts val="0"/>
              </a:spcAft>
              <a:buSzPts val="1100"/>
              <a:buNone/>
              <a:defRPr b="1"/>
            </a:lvl2pPr>
            <a:lvl3pPr lvl="2" algn="l">
              <a:lnSpc>
                <a:spcPct val="100000"/>
              </a:lnSpc>
              <a:spcBef>
                <a:spcPts val="0"/>
              </a:spcBef>
              <a:spcAft>
                <a:spcPts val="0"/>
              </a:spcAft>
              <a:buSzPts val="1100"/>
              <a:buNone/>
              <a:defRPr b="1"/>
            </a:lvl3pPr>
            <a:lvl4pPr lvl="3" algn="l">
              <a:lnSpc>
                <a:spcPct val="100000"/>
              </a:lnSpc>
              <a:spcBef>
                <a:spcPts val="0"/>
              </a:spcBef>
              <a:spcAft>
                <a:spcPts val="0"/>
              </a:spcAft>
              <a:buSzPts val="1100"/>
              <a:buNone/>
              <a:defRPr b="1"/>
            </a:lvl4pPr>
            <a:lvl5pPr lvl="4" algn="l">
              <a:lnSpc>
                <a:spcPct val="100000"/>
              </a:lnSpc>
              <a:spcBef>
                <a:spcPts val="0"/>
              </a:spcBef>
              <a:spcAft>
                <a:spcPts val="0"/>
              </a:spcAft>
              <a:buSzPts val="1100"/>
              <a:buNone/>
              <a:defRPr b="1"/>
            </a:lvl5pPr>
            <a:lvl6pPr lvl="5" algn="l">
              <a:lnSpc>
                <a:spcPct val="100000"/>
              </a:lnSpc>
              <a:spcBef>
                <a:spcPts val="0"/>
              </a:spcBef>
              <a:spcAft>
                <a:spcPts val="0"/>
              </a:spcAft>
              <a:buSzPts val="1100"/>
              <a:buNone/>
              <a:defRPr b="1"/>
            </a:lvl6pPr>
            <a:lvl7pPr lvl="6" algn="l">
              <a:lnSpc>
                <a:spcPct val="100000"/>
              </a:lnSpc>
              <a:spcBef>
                <a:spcPts val="0"/>
              </a:spcBef>
              <a:spcAft>
                <a:spcPts val="0"/>
              </a:spcAft>
              <a:buSzPts val="1100"/>
              <a:buNone/>
              <a:defRPr b="1"/>
            </a:lvl7pPr>
            <a:lvl8pPr lvl="7" algn="l">
              <a:lnSpc>
                <a:spcPct val="100000"/>
              </a:lnSpc>
              <a:spcBef>
                <a:spcPts val="0"/>
              </a:spcBef>
              <a:spcAft>
                <a:spcPts val="0"/>
              </a:spcAft>
              <a:buSzPts val="1100"/>
              <a:buNone/>
              <a:defRPr b="1"/>
            </a:lvl8pPr>
            <a:lvl9pPr lvl="8" algn="l">
              <a:lnSpc>
                <a:spcPct val="100000"/>
              </a:lnSpc>
              <a:spcBef>
                <a:spcPts val="0"/>
              </a:spcBef>
              <a:spcAft>
                <a:spcPts val="0"/>
              </a:spcAft>
              <a:buSzPts val="1100"/>
              <a:buNone/>
              <a:defRPr b="1"/>
            </a:lvl9pPr>
          </a:lstStyle>
          <a:p>
            <a:endParaRPr/>
          </a:p>
        </p:txBody>
      </p:sp>
      <p:sp>
        <p:nvSpPr>
          <p:cNvPr id="1826" name="Google Shape;1826;p50"/>
          <p:cNvSpPr txBox="1">
            <a:spLocks noGrp="1"/>
          </p:cNvSpPr>
          <p:nvPr>
            <p:ph type="sldNum" idx="12"/>
          </p:nvPr>
        </p:nvSpPr>
        <p:spPr>
          <a:xfrm>
            <a:off x="10978812" y="5993647"/>
            <a:ext cx="731600" cy="524800"/>
          </a:xfrm>
          <a:prstGeom prst="rect">
            <a:avLst/>
          </a:prstGeom>
          <a:noFill/>
          <a:ln>
            <a:noFill/>
          </a:ln>
        </p:spPr>
        <p:txBody>
          <a:bodyPr spcFirstLastPara="1" wrap="square" lIns="91425" tIns="91425" rIns="0" bIns="0" anchor="b" anchorCtr="0">
            <a:noAutofit/>
          </a:bodyPr>
          <a:lstStyle>
            <a:lvl1pPr marL="0" marR="0" lvl="0"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1pPr>
            <a:lvl2pPr marL="0" marR="0" lvl="1"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2pPr>
            <a:lvl3pPr marL="0" marR="0" lvl="2"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3pPr>
            <a:lvl4pPr marL="0" marR="0" lvl="3"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4pPr>
            <a:lvl5pPr marL="0" marR="0" lvl="4"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5pPr>
            <a:lvl6pPr marL="0" marR="0" lvl="5"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6pPr>
            <a:lvl7pPr marL="0" marR="0" lvl="6"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7pPr>
            <a:lvl8pPr marL="0" marR="0" lvl="7"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8pPr>
            <a:lvl9pPr marL="0" marR="0" lvl="8"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9pPr>
          </a:lstStyle>
          <a:p>
            <a:fld id="{00000000-1234-1234-1234-123412341234}" type="slidenum">
              <a:rPr lang="en-GB" smtClean="0"/>
              <a:pPr/>
              <a:t>‹#›</a:t>
            </a:fld>
            <a:endParaRPr lang="en-GB"/>
          </a:p>
        </p:txBody>
      </p:sp>
      <p:sp>
        <p:nvSpPr>
          <p:cNvPr id="1827" name="Google Shape;1827;p50"/>
          <p:cNvSpPr txBox="1"/>
          <p:nvPr/>
        </p:nvSpPr>
        <p:spPr>
          <a:xfrm>
            <a:off x="481600" y="6245247"/>
            <a:ext cx="1288400" cy="273200"/>
          </a:xfrm>
          <a:prstGeom prst="rect">
            <a:avLst/>
          </a:prstGeom>
          <a:noFill/>
          <a:ln>
            <a:noFill/>
          </a:ln>
        </p:spPr>
        <p:txBody>
          <a:bodyPr spcFirstLastPara="1" wrap="square" lIns="0" tIns="0" rIns="0" bIns="0" anchor="b" anchorCtr="0">
            <a:noAutofit/>
          </a:bodyPr>
          <a:lstStyle/>
          <a:p>
            <a:pPr marL="0" marR="0" lvl="0" indent="0" algn="l" rtl="0">
              <a:lnSpc>
                <a:spcPct val="100000"/>
              </a:lnSpc>
              <a:spcBef>
                <a:spcPts val="0"/>
              </a:spcBef>
              <a:spcAft>
                <a:spcPts val="0"/>
              </a:spcAft>
              <a:buClr>
                <a:srgbClr val="000000"/>
              </a:buClr>
              <a:buSzPts val="500"/>
              <a:buFont typeface="Arial"/>
              <a:buNone/>
            </a:pPr>
            <a:r>
              <a:rPr lang="en-GB" sz="667" b="0" i="0" u="none" strike="noStrike" cap="none">
                <a:solidFill>
                  <a:schemeClr val="dk2"/>
                </a:solidFill>
                <a:latin typeface="Inter"/>
                <a:ea typeface="Inter"/>
                <a:cs typeface="Inter"/>
                <a:sym typeface="Inter"/>
              </a:rPr>
              <a:t>Multiverse</a:t>
            </a:r>
            <a:endParaRPr sz="667" b="0" i="0" u="none" strike="noStrike" cap="none">
              <a:solidFill>
                <a:schemeClr val="dk2"/>
              </a:solidFill>
              <a:latin typeface="Inter"/>
              <a:ea typeface="Inter"/>
              <a:cs typeface="Inter"/>
              <a:sym typeface="Inter"/>
            </a:endParaRPr>
          </a:p>
        </p:txBody>
      </p:sp>
      <p:sp>
        <p:nvSpPr>
          <p:cNvPr id="1828" name="Google Shape;1828;p50"/>
          <p:cNvSpPr/>
          <p:nvPr/>
        </p:nvSpPr>
        <p:spPr>
          <a:xfrm>
            <a:off x="481601" y="414630"/>
            <a:ext cx="349111" cy="305471"/>
          </a:xfrm>
          <a:custGeom>
            <a:avLst/>
            <a:gdLst/>
            <a:ahLst/>
            <a:cxnLst/>
            <a:rect l="l" t="t" r="r" b="b"/>
            <a:pathLst>
              <a:path w="1586865" h="1388506" extrusionOk="0">
                <a:moveTo>
                  <a:pt x="1083683" y="969931"/>
                </a:moveTo>
                <a:lnTo>
                  <a:pt x="1083683" y="579692"/>
                </a:lnTo>
                <a:lnTo>
                  <a:pt x="849297" y="969931"/>
                </a:lnTo>
                <a:lnTo>
                  <a:pt x="848892" y="969931"/>
                </a:lnTo>
                <a:cubicBezTo>
                  <a:pt x="848892" y="969931"/>
                  <a:pt x="848892" y="969931"/>
                  <a:pt x="848892" y="969931"/>
                </a:cubicBezTo>
                <a:lnTo>
                  <a:pt x="738783" y="969931"/>
                </a:lnTo>
                <a:lnTo>
                  <a:pt x="738783" y="577668"/>
                </a:lnTo>
                <a:lnTo>
                  <a:pt x="549735" y="892612"/>
                </a:lnTo>
                <a:cubicBezTo>
                  <a:pt x="527876" y="929449"/>
                  <a:pt x="510873" y="958191"/>
                  <a:pt x="503992" y="969931"/>
                </a:cubicBezTo>
                <a:lnTo>
                  <a:pt x="393073" y="969931"/>
                </a:lnTo>
                <a:lnTo>
                  <a:pt x="393073" y="418576"/>
                </a:lnTo>
                <a:lnTo>
                  <a:pt x="503992" y="418576"/>
                </a:lnTo>
                <a:lnTo>
                  <a:pt x="502777" y="760643"/>
                </a:lnTo>
                <a:lnTo>
                  <a:pt x="503587" y="782098"/>
                </a:lnTo>
                <a:lnTo>
                  <a:pt x="721781" y="418981"/>
                </a:lnTo>
                <a:lnTo>
                  <a:pt x="721781" y="418981"/>
                </a:lnTo>
                <a:lnTo>
                  <a:pt x="721781" y="418981"/>
                </a:lnTo>
                <a:lnTo>
                  <a:pt x="739188" y="418981"/>
                </a:lnTo>
                <a:lnTo>
                  <a:pt x="847678" y="418981"/>
                </a:lnTo>
                <a:cubicBezTo>
                  <a:pt x="847678" y="418981"/>
                  <a:pt x="848487" y="722995"/>
                  <a:pt x="848892" y="783717"/>
                </a:cubicBezTo>
                <a:lnTo>
                  <a:pt x="1067895" y="418981"/>
                </a:lnTo>
                <a:lnTo>
                  <a:pt x="1067895" y="418981"/>
                </a:lnTo>
                <a:lnTo>
                  <a:pt x="1067895" y="418981"/>
                </a:lnTo>
                <a:lnTo>
                  <a:pt x="1085302" y="418981"/>
                </a:lnTo>
                <a:lnTo>
                  <a:pt x="1193387" y="418981"/>
                </a:lnTo>
                <a:lnTo>
                  <a:pt x="1193387" y="970336"/>
                </a:lnTo>
                <a:lnTo>
                  <a:pt x="1083683" y="970336"/>
                </a:lnTo>
                <a:close/>
                <a:moveTo>
                  <a:pt x="1190149" y="0"/>
                </a:moveTo>
                <a:lnTo>
                  <a:pt x="396716" y="0"/>
                </a:lnTo>
                <a:lnTo>
                  <a:pt x="0" y="694253"/>
                </a:lnTo>
                <a:lnTo>
                  <a:pt x="396716" y="1388507"/>
                </a:lnTo>
                <a:lnTo>
                  <a:pt x="1190149" y="1388507"/>
                </a:lnTo>
                <a:lnTo>
                  <a:pt x="1586865" y="694253"/>
                </a:lnTo>
                <a:lnTo>
                  <a:pt x="1190149" y="0"/>
                </a:lnTo>
                <a:close/>
              </a:path>
            </a:pathLst>
          </a:custGeom>
          <a:solidFill>
            <a:schemeClr val="dk2"/>
          </a:solidFill>
          <a:ln>
            <a:noFill/>
          </a:ln>
        </p:spPr>
        <p:txBody>
          <a:bodyPr spcFirstLastPara="1" wrap="square" lIns="91433" tIns="45700" rIns="91433"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dk1"/>
              </a:solidFill>
              <a:latin typeface="Calibri"/>
              <a:ea typeface="Calibri"/>
              <a:cs typeface="Calibri"/>
              <a:sym typeface="Calibri"/>
            </a:endParaRPr>
          </a:p>
        </p:txBody>
      </p:sp>
      <p:sp>
        <p:nvSpPr>
          <p:cNvPr id="1829" name="Google Shape;1829;p50"/>
          <p:cNvSpPr>
            <a:spLocks noGrp="1"/>
          </p:cNvSpPr>
          <p:nvPr>
            <p:ph type="pic" idx="2"/>
          </p:nvPr>
        </p:nvSpPr>
        <p:spPr>
          <a:xfrm>
            <a:off x="2592000" y="988800"/>
            <a:ext cx="7017600" cy="4713600"/>
          </a:xfrm>
          <a:prstGeom prst="rect">
            <a:avLst/>
          </a:prstGeom>
          <a:noFill/>
          <a:ln>
            <a:noFill/>
          </a:ln>
        </p:spPr>
      </p:sp>
    </p:spTree>
    <p:extLst>
      <p:ext uri="{BB962C8B-B14F-4D97-AF65-F5344CB8AC3E}">
        <p14:creationId xmlns:p14="http://schemas.microsoft.com/office/powerpoint/2010/main" val="350606219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matchingName="Title only Ultraviolet">
  <p:cSld name="Title only Ultraviolet">
    <p:bg>
      <p:bgPr>
        <a:solidFill>
          <a:schemeClr val="dk2"/>
        </a:solidFill>
        <a:effectLst/>
      </p:bgPr>
    </p:bg>
    <p:spTree>
      <p:nvGrpSpPr>
        <p:cNvPr id="1" name="Shape 1830"/>
        <p:cNvGrpSpPr/>
        <p:nvPr/>
      </p:nvGrpSpPr>
      <p:grpSpPr>
        <a:xfrm>
          <a:off x="0" y="0"/>
          <a:ext cx="0" cy="0"/>
          <a:chOff x="0" y="0"/>
          <a:chExt cx="0" cy="0"/>
        </a:xfrm>
      </p:grpSpPr>
      <p:sp>
        <p:nvSpPr>
          <p:cNvPr id="1831" name="Google Shape;1831;p51"/>
          <p:cNvSpPr txBox="1">
            <a:spLocks noGrp="1"/>
          </p:cNvSpPr>
          <p:nvPr>
            <p:ph type="title"/>
          </p:nvPr>
        </p:nvSpPr>
        <p:spPr>
          <a:xfrm>
            <a:off x="951700" y="359997"/>
            <a:ext cx="10515600" cy="975200"/>
          </a:xfrm>
          <a:prstGeom prst="rect">
            <a:avLst/>
          </a:prstGeom>
          <a:noFill/>
          <a:ln>
            <a:noFill/>
          </a:ln>
        </p:spPr>
        <p:txBody>
          <a:bodyPr spcFirstLastPara="1" wrap="square" lIns="0" tIns="0" rIns="68575" bIns="34275" anchor="t" anchorCtr="0">
            <a:noAutofit/>
          </a:bodyPr>
          <a:lstStyle>
            <a:lvl1pPr lvl="0" algn="l">
              <a:lnSpc>
                <a:spcPct val="90000"/>
              </a:lnSpc>
              <a:spcBef>
                <a:spcPts val="0"/>
              </a:spcBef>
              <a:spcAft>
                <a:spcPts val="0"/>
              </a:spcAft>
              <a:buClr>
                <a:schemeClr val="dk1"/>
              </a:buClr>
              <a:buSzPts val="2400"/>
              <a:buNone/>
              <a:defRPr sz="3200">
                <a:solidFill>
                  <a:schemeClr val="lt1"/>
                </a:solidFill>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a:p>
        </p:txBody>
      </p:sp>
      <p:sp>
        <p:nvSpPr>
          <p:cNvPr id="1832" name="Google Shape;1832;p51"/>
          <p:cNvSpPr txBox="1">
            <a:spLocks noGrp="1"/>
          </p:cNvSpPr>
          <p:nvPr>
            <p:ph type="sldNum" idx="12"/>
          </p:nvPr>
        </p:nvSpPr>
        <p:spPr>
          <a:xfrm>
            <a:off x="10978812" y="5993647"/>
            <a:ext cx="731600" cy="524800"/>
          </a:xfrm>
          <a:prstGeom prst="rect">
            <a:avLst/>
          </a:prstGeom>
          <a:noFill/>
          <a:ln>
            <a:noFill/>
          </a:ln>
        </p:spPr>
        <p:txBody>
          <a:bodyPr spcFirstLastPara="1" wrap="square" lIns="91425" tIns="91425" rIns="0" bIns="0" anchor="b" anchorCtr="0">
            <a:noAutofit/>
          </a:bodyPr>
          <a:lstStyle>
            <a:lvl1pPr marL="0" marR="0" lvl="0" indent="0" algn="r">
              <a:lnSpc>
                <a:spcPct val="100000"/>
              </a:lnSpc>
              <a:spcBef>
                <a:spcPts val="0"/>
              </a:spcBef>
              <a:spcAft>
                <a:spcPts val="0"/>
              </a:spcAft>
              <a:buClr>
                <a:srgbClr val="000000"/>
              </a:buClr>
              <a:buSzPts val="500"/>
              <a:buFont typeface="Arial"/>
              <a:buNone/>
              <a:defRPr sz="667" b="0" i="0" u="none" strike="noStrike" cap="none">
                <a:solidFill>
                  <a:schemeClr val="lt1"/>
                </a:solidFill>
                <a:latin typeface="Inter"/>
                <a:ea typeface="Inter"/>
                <a:cs typeface="Inter"/>
                <a:sym typeface="Inter"/>
              </a:defRPr>
            </a:lvl1pPr>
            <a:lvl2pPr marL="0" marR="0" lvl="1" indent="0" algn="r">
              <a:lnSpc>
                <a:spcPct val="100000"/>
              </a:lnSpc>
              <a:spcBef>
                <a:spcPts val="0"/>
              </a:spcBef>
              <a:spcAft>
                <a:spcPts val="0"/>
              </a:spcAft>
              <a:buClr>
                <a:srgbClr val="000000"/>
              </a:buClr>
              <a:buSzPts val="500"/>
              <a:buFont typeface="Arial"/>
              <a:buNone/>
              <a:defRPr sz="667" b="0" i="0" u="none" strike="noStrike" cap="none">
                <a:solidFill>
                  <a:schemeClr val="lt1"/>
                </a:solidFill>
                <a:latin typeface="Inter"/>
                <a:ea typeface="Inter"/>
                <a:cs typeface="Inter"/>
                <a:sym typeface="Inter"/>
              </a:defRPr>
            </a:lvl2pPr>
            <a:lvl3pPr marL="0" marR="0" lvl="2" indent="0" algn="r">
              <a:lnSpc>
                <a:spcPct val="100000"/>
              </a:lnSpc>
              <a:spcBef>
                <a:spcPts val="0"/>
              </a:spcBef>
              <a:spcAft>
                <a:spcPts val="0"/>
              </a:spcAft>
              <a:buClr>
                <a:srgbClr val="000000"/>
              </a:buClr>
              <a:buSzPts val="500"/>
              <a:buFont typeface="Arial"/>
              <a:buNone/>
              <a:defRPr sz="667" b="0" i="0" u="none" strike="noStrike" cap="none">
                <a:solidFill>
                  <a:schemeClr val="lt1"/>
                </a:solidFill>
                <a:latin typeface="Inter"/>
                <a:ea typeface="Inter"/>
                <a:cs typeface="Inter"/>
                <a:sym typeface="Inter"/>
              </a:defRPr>
            </a:lvl3pPr>
            <a:lvl4pPr marL="0" marR="0" lvl="3" indent="0" algn="r">
              <a:lnSpc>
                <a:spcPct val="100000"/>
              </a:lnSpc>
              <a:spcBef>
                <a:spcPts val="0"/>
              </a:spcBef>
              <a:spcAft>
                <a:spcPts val="0"/>
              </a:spcAft>
              <a:buClr>
                <a:srgbClr val="000000"/>
              </a:buClr>
              <a:buSzPts val="500"/>
              <a:buFont typeface="Arial"/>
              <a:buNone/>
              <a:defRPr sz="667" b="0" i="0" u="none" strike="noStrike" cap="none">
                <a:solidFill>
                  <a:schemeClr val="lt1"/>
                </a:solidFill>
                <a:latin typeface="Inter"/>
                <a:ea typeface="Inter"/>
                <a:cs typeface="Inter"/>
                <a:sym typeface="Inter"/>
              </a:defRPr>
            </a:lvl4pPr>
            <a:lvl5pPr marL="0" marR="0" lvl="4" indent="0" algn="r">
              <a:lnSpc>
                <a:spcPct val="100000"/>
              </a:lnSpc>
              <a:spcBef>
                <a:spcPts val="0"/>
              </a:spcBef>
              <a:spcAft>
                <a:spcPts val="0"/>
              </a:spcAft>
              <a:buClr>
                <a:srgbClr val="000000"/>
              </a:buClr>
              <a:buSzPts val="500"/>
              <a:buFont typeface="Arial"/>
              <a:buNone/>
              <a:defRPr sz="667" b="0" i="0" u="none" strike="noStrike" cap="none">
                <a:solidFill>
                  <a:schemeClr val="lt1"/>
                </a:solidFill>
                <a:latin typeface="Inter"/>
                <a:ea typeface="Inter"/>
                <a:cs typeface="Inter"/>
                <a:sym typeface="Inter"/>
              </a:defRPr>
            </a:lvl5pPr>
            <a:lvl6pPr marL="0" marR="0" lvl="5" indent="0" algn="r">
              <a:lnSpc>
                <a:spcPct val="100000"/>
              </a:lnSpc>
              <a:spcBef>
                <a:spcPts val="0"/>
              </a:spcBef>
              <a:spcAft>
                <a:spcPts val="0"/>
              </a:spcAft>
              <a:buClr>
                <a:srgbClr val="000000"/>
              </a:buClr>
              <a:buSzPts val="500"/>
              <a:buFont typeface="Arial"/>
              <a:buNone/>
              <a:defRPr sz="667" b="0" i="0" u="none" strike="noStrike" cap="none">
                <a:solidFill>
                  <a:schemeClr val="lt1"/>
                </a:solidFill>
                <a:latin typeface="Inter"/>
                <a:ea typeface="Inter"/>
                <a:cs typeface="Inter"/>
                <a:sym typeface="Inter"/>
              </a:defRPr>
            </a:lvl6pPr>
            <a:lvl7pPr marL="0" marR="0" lvl="6" indent="0" algn="r">
              <a:lnSpc>
                <a:spcPct val="100000"/>
              </a:lnSpc>
              <a:spcBef>
                <a:spcPts val="0"/>
              </a:spcBef>
              <a:spcAft>
                <a:spcPts val="0"/>
              </a:spcAft>
              <a:buClr>
                <a:srgbClr val="000000"/>
              </a:buClr>
              <a:buSzPts val="500"/>
              <a:buFont typeface="Arial"/>
              <a:buNone/>
              <a:defRPr sz="667" b="0" i="0" u="none" strike="noStrike" cap="none">
                <a:solidFill>
                  <a:schemeClr val="lt1"/>
                </a:solidFill>
                <a:latin typeface="Inter"/>
                <a:ea typeface="Inter"/>
                <a:cs typeface="Inter"/>
                <a:sym typeface="Inter"/>
              </a:defRPr>
            </a:lvl7pPr>
            <a:lvl8pPr marL="0" marR="0" lvl="7" indent="0" algn="r">
              <a:lnSpc>
                <a:spcPct val="100000"/>
              </a:lnSpc>
              <a:spcBef>
                <a:spcPts val="0"/>
              </a:spcBef>
              <a:spcAft>
                <a:spcPts val="0"/>
              </a:spcAft>
              <a:buClr>
                <a:srgbClr val="000000"/>
              </a:buClr>
              <a:buSzPts val="500"/>
              <a:buFont typeface="Arial"/>
              <a:buNone/>
              <a:defRPr sz="667" b="0" i="0" u="none" strike="noStrike" cap="none">
                <a:solidFill>
                  <a:schemeClr val="lt1"/>
                </a:solidFill>
                <a:latin typeface="Inter"/>
                <a:ea typeface="Inter"/>
                <a:cs typeface="Inter"/>
                <a:sym typeface="Inter"/>
              </a:defRPr>
            </a:lvl8pPr>
            <a:lvl9pPr marL="0" marR="0" lvl="8" indent="0" algn="r">
              <a:lnSpc>
                <a:spcPct val="100000"/>
              </a:lnSpc>
              <a:spcBef>
                <a:spcPts val="0"/>
              </a:spcBef>
              <a:spcAft>
                <a:spcPts val="0"/>
              </a:spcAft>
              <a:buClr>
                <a:srgbClr val="000000"/>
              </a:buClr>
              <a:buSzPts val="500"/>
              <a:buFont typeface="Arial"/>
              <a:buNone/>
              <a:defRPr sz="667" b="0" i="0" u="none" strike="noStrike" cap="none">
                <a:solidFill>
                  <a:schemeClr val="lt1"/>
                </a:solidFill>
                <a:latin typeface="Inter"/>
                <a:ea typeface="Inter"/>
                <a:cs typeface="Inter"/>
                <a:sym typeface="Inter"/>
              </a:defRPr>
            </a:lvl9pPr>
          </a:lstStyle>
          <a:p>
            <a:fld id="{00000000-1234-1234-1234-123412341234}" type="slidenum">
              <a:rPr lang="en-GB" smtClean="0"/>
              <a:pPr/>
              <a:t>‹#›</a:t>
            </a:fld>
            <a:endParaRPr lang="en-GB"/>
          </a:p>
        </p:txBody>
      </p:sp>
      <p:sp>
        <p:nvSpPr>
          <p:cNvPr id="1833" name="Google Shape;1833;p51"/>
          <p:cNvSpPr txBox="1"/>
          <p:nvPr/>
        </p:nvSpPr>
        <p:spPr>
          <a:xfrm>
            <a:off x="481600" y="6245247"/>
            <a:ext cx="1288400" cy="273200"/>
          </a:xfrm>
          <a:prstGeom prst="rect">
            <a:avLst/>
          </a:prstGeom>
          <a:noFill/>
          <a:ln>
            <a:noFill/>
          </a:ln>
        </p:spPr>
        <p:txBody>
          <a:bodyPr spcFirstLastPara="1" wrap="square" lIns="0" tIns="0" rIns="0" bIns="0" anchor="b" anchorCtr="0">
            <a:noAutofit/>
          </a:bodyPr>
          <a:lstStyle/>
          <a:p>
            <a:pPr marL="0" marR="0" lvl="0" indent="0" algn="l" rtl="0">
              <a:lnSpc>
                <a:spcPct val="100000"/>
              </a:lnSpc>
              <a:spcBef>
                <a:spcPts val="0"/>
              </a:spcBef>
              <a:spcAft>
                <a:spcPts val="0"/>
              </a:spcAft>
              <a:buClr>
                <a:srgbClr val="000000"/>
              </a:buClr>
              <a:buSzPts val="500"/>
              <a:buFont typeface="Arial"/>
              <a:buNone/>
            </a:pPr>
            <a:r>
              <a:rPr lang="en-GB" sz="667" b="0" i="0" u="none" strike="noStrike" cap="none">
                <a:solidFill>
                  <a:schemeClr val="lt1"/>
                </a:solidFill>
                <a:latin typeface="Inter"/>
                <a:ea typeface="Inter"/>
                <a:cs typeface="Inter"/>
                <a:sym typeface="Inter"/>
              </a:rPr>
              <a:t>Multiverse</a:t>
            </a:r>
            <a:endParaRPr sz="667" b="0" i="0" u="none" strike="noStrike" cap="none">
              <a:solidFill>
                <a:schemeClr val="lt1"/>
              </a:solidFill>
              <a:latin typeface="Inter"/>
              <a:ea typeface="Inter"/>
              <a:cs typeface="Inter"/>
              <a:sym typeface="Inter"/>
            </a:endParaRPr>
          </a:p>
        </p:txBody>
      </p:sp>
      <p:sp>
        <p:nvSpPr>
          <p:cNvPr id="1834" name="Google Shape;1834;p51"/>
          <p:cNvSpPr/>
          <p:nvPr/>
        </p:nvSpPr>
        <p:spPr>
          <a:xfrm>
            <a:off x="481601" y="414630"/>
            <a:ext cx="349111" cy="305471"/>
          </a:xfrm>
          <a:custGeom>
            <a:avLst/>
            <a:gdLst/>
            <a:ahLst/>
            <a:cxnLst/>
            <a:rect l="l" t="t" r="r" b="b"/>
            <a:pathLst>
              <a:path w="1586865" h="1388506" extrusionOk="0">
                <a:moveTo>
                  <a:pt x="1083683" y="969931"/>
                </a:moveTo>
                <a:lnTo>
                  <a:pt x="1083683" y="579692"/>
                </a:lnTo>
                <a:lnTo>
                  <a:pt x="849297" y="969931"/>
                </a:lnTo>
                <a:lnTo>
                  <a:pt x="848892" y="969931"/>
                </a:lnTo>
                <a:cubicBezTo>
                  <a:pt x="848892" y="969931"/>
                  <a:pt x="848892" y="969931"/>
                  <a:pt x="848892" y="969931"/>
                </a:cubicBezTo>
                <a:lnTo>
                  <a:pt x="738783" y="969931"/>
                </a:lnTo>
                <a:lnTo>
                  <a:pt x="738783" y="577668"/>
                </a:lnTo>
                <a:lnTo>
                  <a:pt x="549735" y="892612"/>
                </a:lnTo>
                <a:cubicBezTo>
                  <a:pt x="527876" y="929449"/>
                  <a:pt x="510873" y="958191"/>
                  <a:pt x="503992" y="969931"/>
                </a:cubicBezTo>
                <a:lnTo>
                  <a:pt x="393073" y="969931"/>
                </a:lnTo>
                <a:lnTo>
                  <a:pt x="393073" y="418576"/>
                </a:lnTo>
                <a:lnTo>
                  <a:pt x="503992" y="418576"/>
                </a:lnTo>
                <a:lnTo>
                  <a:pt x="502777" y="760643"/>
                </a:lnTo>
                <a:lnTo>
                  <a:pt x="503587" y="782098"/>
                </a:lnTo>
                <a:lnTo>
                  <a:pt x="721781" y="418981"/>
                </a:lnTo>
                <a:lnTo>
                  <a:pt x="721781" y="418981"/>
                </a:lnTo>
                <a:lnTo>
                  <a:pt x="721781" y="418981"/>
                </a:lnTo>
                <a:lnTo>
                  <a:pt x="739188" y="418981"/>
                </a:lnTo>
                <a:lnTo>
                  <a:pt x="847678" y="418981"/>
                </a:lnTo>
                <a:cubicBezTo>
                  <a:pt x="847678" y="418981"/>
                  <a:pt x="848487" y="722995"/>
                  <a:pt x="848892" y="783717"/>
                </a:cubicBezTo>
                <a:lnTo>
                  <a:pt x="1067895" y="418981"/>
                </a:lnTo>
                <a:lnTo>
                  <a:pt x="1067895" y="418981"/>
                </a:lnTo>
                <a:lnTo>
                  <a:pt x="1067895" y="418981"/>
                </a:lnTo>
                <a:lnTo>
                  <a:pt x="1085302" y="418981"/>
                </a:lnTo>
                <a:lnTo>
                  <a:pt x="1193387" y="418981"/>
                </a:lnTo>
                <a:lnTo>
                  <a:pt x="1193387" y="970336"/>
                </a:lnTo>
                <a:lnTo>
                  <a:pt x="1083683" y="970336"/>
                </a:lnTo>
                <a:close/>
                <a:moveTo>
                  <a:pt x="1190149" y="0"/>
                </a:moveTo>
                <a:lnTo>
                  <a:pt x="396716" y="0"/>
                </a:lnTo>
                <a:lnTo>
                  <a:pt x="0" y="694253"/>
                </a:lnTo>
                <a:lnTo>
                  <a:pt x="396716" y="1388507"/>
                </a:lnTo>
                <a:lnTo>
                  <a:pt x="1190149" y="1388507"/>
                </a:lnTo>
                <a:lnTo>
                  <a:pt x="1586865" y="694253"/>
                </a:lnTo>
                <a:lnTo>
                  <a:pt x="1190149" y="0"/>
                </a:lnTo>
                <a:close/>
              </a:path>
            </a:pathLst>
          </a:custGeom>
          <a:solidFill>
            <a:schemeClr val="lt1"/>
          </a:solidFill>
          <a:ln>
            <a:noFill/>
          </a:ln>
        </p:spPr>
        <p:txBody>
          <a:bodyPr spcFirstLastPara="1" wrap="square" lIns="91433" tIns="45700" rIns="91433"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dk1"/>
              </a:solidFill>
              <a:latin typeface="Calibri"/>
              <a:ea typeface="Calibri"/>
              <a:cs typeface="Calibri"/>
              <a:sym typeface="Calibri"/>
            </a:endParaRPr>
          </a:p>
        </p:txBody>
      </p:sp>
      <p:sp>
        <p:nvSpPr>
          <p:cNvPr id="1835" name="Google Shape;1835;p51"/>
          <p:cNvSpPr txBox="1"/>
          <p:nvPr/>
        </p:nvSpPr>
        <p:spPr>
          <a:xfrm>
            <a:off x="5451800" y="6245247"/>
            <a:ext cx="1288400" cy="273200"/>
          </a:xfrm>
          <a:prstGeom prst="rect">
            <a:avLst/>
          </a:prstGeom>
          <a:noFill/>
          <a:ln>
            <a:noFill/>
          </a:ln>
        </p:spPr>
        <p:txBody>
          <a:bodyPr spcFirstLastPara="1" wrap="square" lIns="0" tIns="0" rIns="0" bIns="0" anchor="b" anchorCtr="0">
            <a:noAutofit/>
          </a:bodyPr>
          <a:lstStyle/>
          <a:p>
            <a:pPr marL="0" marR="0" lvl="0" indent="0" algn="ctr" rtl="0">
              <a:lnSpc>
                <a:spcPct val="100000"/>
              </a:lnSpc>
              <a:spcBef>
                <a:spcPts val="0"/>
              </a:spcBef>
              <a:spcAft>
                <a:spcPts val="0"/>
              </a:spcAft>
              <a:buClr>
                <a:srgbClr val="000000"/>
              </a:buClr>
              <a:buSzPts val="500"/>
              <a:buFont typeface="Arial"/>
              <a:buNone/>
            </a:pPr>
            <a:r>
              <a:rPr lang="en-GB" sz="667" b="0" i="0" u="none" strike="noStrike" cap="none">
                <a:solidFill>
                  <a:schemeClr val="lt1"/>
                </a:solidFill>
                <a:latin typeface="Inter"/>
                <a:ea typeface="Inter"/>
                <a:cs typeface="Inter"/>
                <a:sym typeface="Inter"/>
              </a:rPr>
              <a:t>Private and Confidential</a:t>
            </a:r>
            <a:endParaRPr sz="667" b="0" i="0" u="none" strike="noStrike" cap="none">
              <a:solidFill>
                <a:schemeClr val="lt1"/>
              </a:solidFill>
              <a:latin typeface="Inter"/>
              <a:ea typeface="Inter"/>
              <a:cs typeface="Inter"/>
              <a:sym typeface="Inter"/>
            </a:endParaRPr>
          </a:p>
        </p:txBody>
      </p:sp>
    </p:spTree>
    <p:extLst>
      <p:ext uri="{BB962C8B-B14F-4D97-AF65-F5344CB8AC3E}">
        <p14:creationId xmlns:p14="http://schemas.microsoft.com/office/powerpoint/2010/main" val="169301326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matchingName="Title only Starlight">
  <p:cSld name="Title only Starlight">
    <p:bg>
      <p:bgPr>
        <a:solidFill>
          <a:schemeClr val="accent1"/>
        </a:solidFill>
        <a:effectLst/>
      </p:bgPr>
    </p:bg>
    <p:spTree>
      <p:nvGrpSpPr>
        <p:cNvPr id="1" name="Shape 1836"/>
        <p:cNvGrpSpPr/>
        <p:nvPr/>
      </p:nvGrpSpPr>
      <p:grpSpPr>
        <a:xfrm>
          <a:off x="0" y="0"/>
          <a:ext cx="0" cy="0"/>
          <a:chOff x="0" y="0"/>
          <a:chExt cx="0" cy="0"/>
        </a:xfrm>
      </p:grpSpPr>
      <p:sp>
        <p:nvSpPr>
          <p:cNvPr id="1837" name="Google Shape;1837;p52"/>
          <p:cNvSpPr txBox="1">
            <a:spLocks noGrp="1"/>
          </p:cNvSpPr>
          <p:nvPr>
            <p:ph type="title"/>
          </p:nvPr>
        </p:nvSpPr>
        <p:spPr>
          <a:xfrm>
            <a:off x="951700" y="359997"/>
            <a:ext cx="10515600" cy="975200"/>
          </a:xfrm>
          <a:prstGeom prst="rect">
            <a:avLst/>
          </a:prstGeom>
          <a:noFill/>
          <a:ln>
            <a:noFill/>
          </a:ln>
        </p:spPr>
        <p:txBody>
          <a:bodyPr spcFirstLastPara="1" wrap="square" lIns="0" tIns="0" rIns="68575" bIns="34275" anchor="t" anchorCtr="0">
            <a:noAutofit/>
          </a:bodyPr>
          <a:lstStyle>
            <a:lvl1pPr lvl="0" algn="l">
              <a:lnSpc>
                <a:spcPct val="90000"/>
              </a:lnSpc>
              <a:spcBef>
                <a:spcPts val="0"/>
              </a:spcBef>
              <a:spcAft>
                <a:spcPts val="0"/>
              </a:spcAft>
              <a:buClr>
                <a:schemeClr val="dk1"/>
              </a:buClr>
              <a:buSzPts val="2400"/>
              <a:buFont typeface="Inter Medium"/>
              <a:buNone/>
              <a:defRPr sz="3200">
                <a:latin typeface="Inter Medium"/>
                <a:ea typeface="Inter Medium"/>
                <a:cs typeface="Inter Medium"/>
                <a:sym typeface="Inter Medium"/>
              </a:defRPr>
            </a:lvl1pPr>
            <a:lvl2pPr lvl="1" algn="l">
              <a:lnSpc>
                <a:spcPct val="100000"/>
              </a:lnSpc>
              <a:spcBef>
                <a:spcPts val="0"/>
              </a:spcBef>
              <a:spcAft>
                <a:spcPts val="0"/>
              </a:spcAft>
              <a:buSzPts val="1100"/>
              <a:buNone/>
              <a:defRPr b="1"/>
            </a:lvl2pPr>
            <a:lvl3pPr lvl="2" algn="l">
              <a:lnSpc>
                <a:spcPct val="100000"/>
              </a:lnSpc>
              <a:spcBef>
                <a:spcPts val="0"/>
              </a:spcBef>
              <a:spcAft>
                <a:spcPts val="0"/>
              </a:spcAft>
              <a:buSzPts val="1100"/>
              <a:buNone/>
              <a:defRPr b="1"/>
            </a:lvl3pPr>
            <a:lvl4pPr lvl="3" algn="l">
              <a:lnSpc>
                <a:spcPct val="100000"/>
              </a:lnSpc>
              <a:spcBef>
                <a:spcPts val="0"/>
              </a:spcBef>
              <a:spcAft>
                <a:spcPts val="0"/>
              </a:spcAft>
              <a:buSzPts val="1100"/>
              <a:buNone/>
              <a:defRPr b="1"/>
            </a:lvl4pPr>
            <a:lvl5pPr lvl="4" algn="l">
              <a:lnSpc>
                <a:spcPct val="100000"/>
              </a:lnSpc>
              <a:spcBef>
                <a:spcPts val="0"/>
              </a:spcBef>
              <a:spcAft>
                <a:spcPts val="0"/>
              </a:spcAft>
              <a:buSzPts val="1100"/>
              <a:buNone/>
              <a:defRPr b="1"/>
            </a:lvl5pPr>
            <a:lvl6pPr lvl="5" algn="l">
              <a:lnSpc>
                <a:spcPct val="100000"/>
              </a:lnSpc>
              <a:spcBef>
                <a:spcPts val="0"/>
              </a:spcBef>
              <a:spcAft>
                <a:spcPts val="0"/>
              </a:spcAft>
              <a:buSzPts val="1100"/>
              <a:buNone/>
              <a:defRPr b="1"/>
            </a:lvl6pPr>
            <a:lvl7pPr lvl="6" algn="l">
              <a:lnSpc>
                <a:spcPct val="100000"/>
              </a:lnSpc>
              <a:spcBef>
                <a:spcPts val="0"/>
              </a:spcBef>
              <a:spcAft>
                <a:spcPts val="0"/>
              </a:spcAft>
              <a:buSzPts val="1100"/>
              <a:buNone/>
              <a:defRPr b="1"/>
            </a:lvl7pPr>
            <a:lvl8pPr lvl="7" algn="l">
              <a:lnSpc>
                <a:spcPct val="100000"/>
              </a:lnSpc>
              <a:spcBef>
                <a:spcPts val="0"/>
              </a:spcBef>
              <a:spcAft>
                <a:spcPts val="0"/>
              </a:spcAft>
              <a:buSzPts val="1100"/>
              <a:buNone/>
              <a:defRPr b="1"/>
            </a:lvl8pPr>
            <a:lvl9pPr lvl="8" algn="l">
              <a:lnSpc>
                <a:spcPct val="100000"/>
              </a:lnSpc>
              <a:spcBef>
                <a:spcPts val="0"/>
              </a:spcBef>
              <a:spcAft>
                <a:spcPts val="0"/>
              </a:spcAft>
              <a:buSzPts val="1100"/>
              <a:buNone/>
              <a:defRPr b="1"/>
            </a:lvl9pPr>
          </a:lstStyle>
          <a:p>
            <a:endParaRPr/>
          </a:p>
        </p:txBody>
      </p:sp>
      <p:sp>
        <p:nvSpPr>
          <p:cNvPr id="1838" name="Google Shape;1838;p52"/>
          <p:cNvSpPr txBox="1">
            <a:spLocks noGrp="1"/>
          </p:cNvSpPr>
          <p:nvPr>
            <p:ph type="sldNum" idx="12"/>
          </p:nvPr>
        </p:nvSpPr>
        <p:spPr>
          <a:xfrm>
            <a:off x="10978812" y="5993647"/>
            <a:ext cx="731600" cy="524800"/>
          </a:xfrm>
          <a:prstGeom prst="rect">
            <a:avLst/>
          </a:prstGeom>
          <a:noFill/>
          <a:ln>
            <a:noFill/>
          </a:ln>
        </p:spPr>
        <p:txBody>
          <a:bodyPr spcFirstLastPara="1" wrap="square" lIns="91425" tIns="91425" rIns="0" bIns="0" anchor="b" anchorCtr="0">
            <a:noAutofit/>
          </a:bodyPr>
          <a:lstStyle>
            <a:lvl1pPr marL="0" marR="0" lvl="0"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1pPr>
            <a:lvl2pPr marL="0" marR="0" lvl="1"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2pPr>
            <a:lvl3pPr marL="0" marR="0" lvl="2"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3pPr>
            <a:lvl4pPr marL="0" marR="0" lvl="3"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4pPr>
            <a:lvl5pPr marL="0" marR="0" lvl="4"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5pPr>
            <a:lvl6pPr marL="0" marR="0" lvl="5"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6pPr>
            <a:lvl7pPr marL="0" marR="0" lvl="6"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7pPr>
            <a:lvl8pPr marL="0" marR="0" lvl="7"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8pPr>
            <a:lvl9pPr marL="0" marR="0" lvl="8"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9pPr>
          </a:lstStyle>
          <a:p>
            <a:fld id="{00000000-1234-1234-1234-123412341234}" type="slidenum">
              <a:rPr lang="en-GB" smtClean="0"/>
              <a:pPr/>
              <a:t>‹#›</a:t>
            </a:fld>
            <a:endParaRPr lang="en-GB"/>
          </a:p>
        </p:txBody>
      </p:sp>
      <p:sp>
        <p:nvSpPr>
          <p:cNvPr id="1839" name="Google Shape;1839;p52"/>
          <p:cNvSpPr txBox="1"/>
          <p:nvPr/>
        </p:nvSpPr>
        <p:spPr>
          <a:xfrm>
            <a:off x="481600" y="6245247"/>
            <a:ext cx="1288400" cy="273200"/>
          </a:xfrm>
          <a:prstGeom prst="rect">
            <a:avLst/>
          </a:prstGeom>
          <a:noFill/>
          <a:ln>
            <a:noFill/>
          </a:ln>
        </p:spPr>
        <p:txBody>
          <a:bodyPr spcFirstLastPara="1" wrap="square" lIns="0" tIns="0" rIns="0" bIns="0" anchor="b" anchorCtr="0">
            <a:noAutofit/>
          </a:bodyPr>
          <a:lstStyle/>
          <a:p>
            <a:pPr marL="0" marR="0" lvl="0" indent="0" algn="l" rtl="0">
              <a:lnSpc>
                <a:spcPct val="100000"/>
              </a:lnSpc>
              <a:spcBef>
                <a:spcPts val="0"/>
              </a:spcBef>
              <a:spcAft>
                <a:spcPts val="0"/>
              </a:spcAft>
              <a:buClr>
                <a:srgbClr val="000000"/>
              </a:buClr>
              <a:buSzPts val="500"/>
              <a:buFont typeface="Arial"/>
              <a:buNone/>
            </a:pPr>
            <a:r>
              <a:rPr lang="en-GB" sz="667" b="0" i="0" u="none" strike="noStrike" cap="none">
                <a:solidFill>
                  <a:schemeClr val="dk2"/>
                </a:solidFill>
                <a:latin typeface="Inter"/>
                <a:ea typeface="Inter"/>
                <a:cs typeface="Inter"/>
                <a:sym typeface="Inter"/>
              </a:rPr>
              <a:t>Multiverse</a:t>
            </a:r>
            <a:endParaRPr sz="667" b="0" i="0" u="none" strike="noStrike" cap="none">
              <a:solidFill>
                <a:schemeClr val="dk2"/>
              </a:solidFill>
              <a:latin typeface="Inter"/>
              <a:ea typeface="Inter"/>
              <a:cs typeface="Inter"/>
              <a:sym typeface="Inter"/>
            </a:endParaRPr>
          </a:p>
        </p:txBody>
      </p:sp>
      <p:sp>
        <p:nvSpPr>
          <p:cNvPr id="1840" name="Google Shape;1840;p52"/>
          <p:cNvSpPr/>
          <p:nvPr/>
        </p:nvSpPr>
        <p:spPr>
          <a:xfrm>
            <a:off x="481601" y="414630"/>
            <a:ext cx="349111" cy="305471"/>
          </a:xfrm>
          <a:custGeom>
            <a:avLst/>
            <a:gdLst/>
            <a:ahLst/>
            <a:cxnLst/>
            <a:rect l="l" t="t" r="r" b="b"/>
            <a:pathLst>
              <a:path w="1586865" h="1388506" extrusionOk="0">
                <a:moveTo>
                  <a:pt x="1083683" y="969931"/>
                </a:moveTo>
                <a:lnTo>
                  <a:pt x="1083683" y="579692"/>
                </a:lnTo>
                <a:lnTo>
                  <a:pt x="849297" y="969931"/>
                </a:lnTo>
                <a:lnTo>
                  <a:pt x="848892" y="969931"/>
                </a:lnTo>
                <a:cubicBezTo>
                  <a:pt x="848892" y="969931"/>
                  <a:pt x="848892" y="969931"/>
                  <a:pt x="848892" y="969931"/>
                </a:cubicBezTo>
                <a:lnTo>
                  <a:pt x="738783" y="969931"/>
                </a:lnTo>
                <a:lnTo>
                  <a:pt x="738783" y="577668"/>
                </a:lnTo>
                <a:lnTo>
                  <a:pt x="549735" y="892612"/>
                </a:lnTo>
                <a:cubicBezTo>
                  <a:pt x="527876" y="929449"/>
                  <a:pt x="510873" y="958191"/>
                  <a:pt x="503992" y="969931"/>
                </a:cubicBezTo>
                <a:lnTo>
                  <a:pt x="393073" y="969931"/>
                </a:lnTo>
                <a:lnTo>
                  <a:pt x="393073" y="418576"/>
                </a:lnTo>
                <a:lnTo>
                  <a:pt x="503992" y="418576"/>
                </a:lnTo>
                <a:lnTo>
                  <a:pt x="502777" y="760643"/>
                </a:lnTo>
                <a:lnTo>
                  <a:pt x="503587" y="782098"/>
                </a:lnTo>
                <a:lnTo>
                  <a:pt x="721781" y="418981"/>
                </a:lnTo>
                <a:lnTo>
                  <a:pt x="721781" y="418981"/>
                </a:lnTo>
                <a:lnTo>
                  <a:pt x="721781" y="418981"/>
                </a:lnTo>
                <a:lnTo>
                  <a:pt x="739188" y="418981"/>
                </a:lnTo>
                <a:lnTo>
                  <a:pt x="847678" y="418981"/>
                </a:lnTo>
                <a:cubicBezTo>
                  <a:pt x="847678" y="418981"/>
                  <a:pt x="848487" y="722995"/>
                  <a:pt x="848892" y="783717"/>
                </a:cubicBezTo>
                <a:lnTo>
                  <a:pt x="1067895" y="418981"/>
                </a:lnTo>
                <a:lnTo>
                  <a:pt x="1067895" y="418981"/>
                </a:lnTo>
                <a:lnTo>
                  <a:pt x="1067895" y="418981"/>
                </a:lnTo>
                <a:lnTo>
                  <a:pt x="1085302" y="418981"/>
                </a:lnTo>
                <a:lnTo>
                  <a:pt x="1193387" y="418981"/>
                </a:lnTo>
                <a:lnTo>
                  <a:pt x="1193387" y="970336"/>
                </a:lnTo>
                <a:lnTo>
                  <a:pt x="1083683" y="970336"/>
                </a:lnTo>
                <a:close/>
                <a:moveTo>
                  <a:pt x="1190149" y="0"/>
                </a:moveTo>
                <a:lnTo>
                  <a:pt x="396716" y="0"/>
                </a:lnTo>
                <a:lnTo>
                  <a:pt x="0" y="694253"/>
                </a:lnTo>
                <a:lnTo>
                  <a:pt x="396716" y="1388507"/>
                </a:lnTo>
                <a:lnTo>
                  <a:pt x="1190149" y="1388507"/>
                </a:lnTo>
                <a:lnTo>
                  <a:pt x="1586865" y="694253"/>
                </a:lnTo>
                <a:lnTo>
                  <a:pt x="1190149" y="0"/>
                </a:lnTo>
                <a:close/>
              </a:path>
            </a:pathLst>
          </a:custGeom>
          <a:solidFill>
            <a:schemeClr val="dk2"/>
          </a:solidFill>
          <a:ln>
            <a:noFill/>
          </a:ln>
        </p:spPr>
        <p:txBody>
          <a:bodyPr spcFirstLastPara="1" wrap="square" lIns="91433" tIns="45700" rIns="91433"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3416765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88E0AE-F345-FF46-79F3-7E06E600E1C4}"/>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p>
        </p:txBody>
      </p:sp>
      <p:sp>
        <p:nvSpPr>
          <p:cNvPr id="3" name="Content Placeholder 2">
            <a:extLst>
              <a:ext uri="{FF2B5EF4-FFF2-40B4-BE49-F238E27FC236}">
                <a16:creationId xmlns:a16="http://schemas.microsoft.com/office/drawing/2014/main" id="{A0040A3B-75C8-CA8E-D68C-1FAD3B19183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Text Placeholder 3">
            <a:extLst>
              <a:ext uri="{FF2B5EF4-FFF2-40B4-BE49-F238E27FC236}">
                <a16:creationId xmlns:a16="http://schemas.microsoft.com/office/drawing/2014/main" id="{8BD03656-D08C-0733-D63F-67178D68CA7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F2D2F9DE-1FEF-ACDF-D818-5102B897E272}"/>
              </a:ext>
            </a:extLst>
          </p:cNvPr>
          <p:cNvSpPr>
            <a:spLocks noGrp="1"/>
          </p:cNvSpPr>
          <p:nvPr>
            <p:ph type="dt" sz="half" idx="10"/>
          </p:nvPr>
        </p:nvSpPr>
        <p:spPr/>
        <p:txBody>
          <a:bodyPr/>
          <a:lstStyle/>
          <a:p>
            <a:fld id="{923CFB00-16CD-4A5D-8353-B2F2FFED28E8}" type="datetimeFigureOut">
              <a:rPr lang="en-GB" smtClean="0"/>
              <a:t>23/06/2024</a:t>
            </a:fld>
            <a:endParaRPr lang="en-GB"/>
          </a:p>
        </p:txBody>
      </p:sp>
      <p:sp>
        <p:nvSpPr>
          <p:cNvPr id="6" name="Footer Placeholder 5">
            <a:extLst>
              <a:ext uri="{FF2B5EF4-FFF2-40B4-BE49-F238E27FC236}">
                <a16:creationId xmlns:a16="http://schemas.microsoft.com/office/drawing/2014/main" id="{93F41A6F-FAA8-428F-2BDE-F108DED24534}"/>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3F87DF43-0867-5000-79B4-16E3386912D5}"/>
              </a:ext>
            </a:extLst>
          </p:cNvPr>
          <p:cNvSpPr>
            <a:spLocks noGrp="1"/>
          </p:cNvSpPr>
          <p:nvPr>
            <p:ph type="sldNum" sz="quarter" idx="12"/>
          </p:nvPr>
        </p:nvSpPr>
        <p:spPr/>
        <p:txBody>
          <a:bodyPr/>
          <a:lstStyle/>
          <a:p>
            <a:fld id="{140D1FED-518D-4FB4-BCAB-05C56058F68A}" type="slidenum">
              <a:rPr lang="en-GB" smtClean="0"/>
              <a:t>‹#›</a:t>
            </a:fld>
            <a:endParaRPr lang="en-GB"/>
          </a:p>
        </p:txBody>
      </p:sp>
    </p:spTree>
    <p:extLst>
      <p:ext uri="{BB962C8B-B14F-4D97-AF65-F5344CB8AC3E}">
        <p14:creationId xmlns:p14="http://schemas.microsoft.com/office/powerpoint/2010/main" val="177296798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matchingName="Blank - Lunar">
  <p:cSld name="Blank - Lunar">
    <p:bg>
      <p:bgPr>
        <a:solidFill>
          <a:schemeClr val="lt2"/>
        </a:solidFill>
        <a:effectLst/>
      </p:bgPr>
    </p:bg>
    <p:spTree>
      <p:nvGrpSpPr>
        <p:cNvPr id="1" name="Shape 1841"/>
        <p:cNvGrpSpPr/>
        <p:nvPr/>
      </p:nvGrpSpPr>
      <p:grpSpPr>
        <a:xfrm>
          <a:off x="0" y="0"/>
          <a:ext cx="0" cy="0"/>
          <a:chOff x="0" y="0"/>
          <a:chExt cx="0" cy="0"/>
        </a:xfrm>
      </p:grpSpPr>
      <p:sp>
        <p:nvSpPr>
          <p:cNvPr id="1842" name="Google Shape;1842;p53"/>
          <p:cNvSpPr txBox="1">
            <a:spLocks noGrp="1"/>
          </p:cNvSpPr>
          <p:nvPr>
            <p:ph type="sldNum" idx="12"/>
          </p:nvPr>
        </p:nvSpPr>
        <p:spPr>
          <a:xfrm>
            <a:off x="10978812" y="5993647"/>
            <a:ext cx="731600" cy="524800"/>
          </a:xfrm>
          <a:prstGeom prst="rect">
            <a:avLst/>
          </a:prstGeom>
          <a:noFill/>
          <a:ln>
            <a:noFill/>
          </a:ln>
        </p:spPr>
        <p:txBody>
          <a:bodyPr spcFirstLastPara="1" wrap="square" lIns="91425" tIns="91425" rIns="0" bIns="0" anchor="b" anchorCtr="0">
            <a:noAutofit/>
          </a:bodyPr>
          <a:lstStyle>
            <a:lvl1pPr marL="0" marR="0" lvl="0"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1pPr>
            <a:lvl2pPr marL="0" marR="0" lvl="1"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2pPr>
            <a:lvl3pPr marL="0" marR="0" lvl="2"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3pPr>
            <a:lvl4pPr marL="0" marR="0" lvl="3"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4pPr>
            <a:lvl5pPr marL="0" marR="0" lvl="4"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5pPr>
            <a:lvl6pPr marL="0" marR="0" lvl="5"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6pPr>
            <a:lvl7pPr marL="0" marR="0" lvl="6"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7pPr>
            <a:lvl8pPr marL="0" marR="0" lvl="7"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8pPr>
            <a:lvl9pPr marL="0" marR="0" lvl="8" indent="0" algn="r">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9pPr>
          </a:lstStyle>
          <a:p>
            <a:fld id="{00000000-1234-1234-1234-123412341234}" type="slidenum">
              <a:rPr lang="en-GB" smtClean="0"/>
              <a:pPr/>
              <a:t>‹#›</a:t>
            </a:fld>
            <a:endParaRPr lang="en-GB"/>
          </a:p>
        </p:txBody>
      </p:sp>
      <p:sp>
        <p:nvSpPr>
          <p:cNvPr id="1843" name="Google Shape;1843;p53"/>
          <p:cNvSpPr/>
          <p:nvPr/>
        </p:nvSpPr>
        <p:spPr>
          <a:xfrm>
            <a:off x="481601" y="414630"/>
            <a:ext cx="349111" cy="305471"/>
          </a:xfrm>
          <a:custGeom>
            <a:avLst/>
            <a:gdLst/>
            <a:ahLst/>
            <a:cxnLst/>
            <a:rect l="l" t="t" r="r" b="b"/>
            <a:pathLst>
              <a:path w="1586865" h="1388506" extrusionOk="0">
                <a:moveTo>
                  <a:pt x="1083683" y="969931"/>
                </a:moveTo>
                <a:lnTo>
                  <a:pt x="1083683" y="579692"/>
                </a:lnTo>
                <a:lnTo>
                  <a:pt x="849297" y="969931"/>
                </a:lnTo>
                <a:lnTo>
                  <a:pt x="848892" y="969931"/>
                </a:lnTo>
                <a:cubicBezTo>
                  <a:pt x="848892" y="969931"/>
                  <a:pt x="848892" y="969931"/>
                  <a:pt x="848892" y="969931"/>
                </a:cubicBezTo>
                <a:lnTo>
                  <a:pt x="738783" y="969931"/>
                </a:lnTo>
                <a:lnTo>
                  <a:pt x="738783" y="577668"/>
                </a:lnTo>
                <a:lnTo>
                  <a:pt x="549735" y="892612"/>
                </a:lnTo>
                <a:cubicBezTo>
                  <a:pt x="527876" y="929449"/>
                  <a:pt x="510873" y="958191"/>
                  <a:pt x="503992" y="969931"/>
                </a:cubicBezTo>
                <a:lnTo>
                  <a:pt x="393073" y="969931"/>
                </a:lnTo>
                <a:lnTo>
                  <a:pt x="393073" y="418576"/>
                </a:lnTo>
                <a:lnTo>
                  <a:pt x="503992" y="418576"/>
                </a:lnTo>
                <a:lnTo>
                  <a:pt x="502777" y="760643"/>
                </a:lnTo>
                <a:lnTo>
                  <a:pt x="503587" y="782098"/>
                </a:lnTo>
                <a:lnTo>
                  <a:pt x="721781" y="418981"/>
                </a:lnTo>
                <a:lnTo>
                  <a:pt x="721781" y="418981"/>
                </a:lnTo>
                <a:lnTo>
                  <a:pt x="721781" y="418981"/>
                </a:lnTo>
                <a:lnTo>
                  <a:pt x="739188" y="418981"/>
                </a:lnTo>
                <a:lnTo>
                  <a:pt x="847678" y="418981"/>
                </a:lnTo>
                <a:cubicBezTo>
                  <a:pt x="847678" y="418981"/>
                  <a:pt x="848487" y="722995"/>
                  <a:pt x="848892" y="783717"/>
                </a:cubicBezTo>
                <a:lnTo>
                  <a:pt x="1067895" y="418981"/>
                </a:lnTo>
                <a:lnTo>
                  <a:pt x="1067895" y="418981"/>
                </a:lnTo>
                <a:lnTo>
                  <a:pt x="1067895" y="418981"/>
                </a:lnTo>
                <a:lnTo>
                  <a:pt x="1085302" y="418981"/>
                </a:lnTo>
                <a:lnTo>
                  <a:pt x="1193387" y="418981"/>
                </a:lnTo>
                <a:lnTo>
                  <a:pt x="1193387" y="970336"/>
                </a:lnTo>
                <a:lnTo>
                  <a:pt x="1083683" y="970336"/>
                </a:lnTo>
                <a:close/>
                <a:moveTo>
                  <a:pt x="1190149" y="0"/>
                </a:moveTo>
                <a:lnTo>
                  <a:pt x="396716" y="0"/>
                </a:lnTo>
                <a:lnTo>
                  <a:pt x="0" y="694253"/>
                </a:lnTo>
                <a:lnTo>
                  <a:pt x="396716" y="1388507"/>
                </a:lnTo>
                <a:lnTo>
                  <a:pt x="1190149" y="1388507"/>
                </a:lnTo>
                <a:lnTo>
                  <a:pt x="1586865" y="694253"/>
                </a:lnTo>
                <a:lnTo>
                  <a:pt x="1190149" y="0"/>
                </a:lnTo>
                <a:close/>
              </a:path>
            </a:pathLst>
          </a:custGeom>
          <a:solidFill>
            <a:schemeClr val="dk2"/>
          </a:solidFill>
          <a:ln>
            <a:noFill/>
          </a:ln>
        </p:spPr>
        <p:txBody>
          <a:bodyPr spcFirstLastPara="1" wrap="square" lIns="91433" tIns="45700" rIns="91433"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chemeClr val="dk1"/>
              </a:solidFill>
              <a:latin typeface="Calibri"/>
              <a:ea typeface="Calibri"/>
              <a:cs typeface="Calibri"/>
              <a:sym typeface="Calibri"/>
            </a:endParaRPr>
          </a:p>
        </p:txBody>
      </p:sp>
      <p:sp>
        <p:nvSpPr>
          <p:cNvPr id="1844" name="Google Shape;1844;p53"/>
          <p:cNvSpPr txBox="1"/>
          <p:nvPr/>
        </p:nvSpPr>
        <p:spPr>
          <a:xfrm>
            <a:off x="481600" y="6245247"/>
            <a:ext cx="1288400" cy="273200"/>
          </a:xfrm>
          <a:prstGeom prst="rect">
            <a:avLst/>
          </a:prstGeom>
          <a:noFill/>
          <a:ln>
            <a:noFill/>
          </a:ln>
        </p:spPr>
        <p:txBody>
          <a:bodyPr spcFirstLastPara="1" wrap="square" lIns="0" tIns="0" rIns="0" bIns="0" anchor="b" anchorCtr="0">
            <a:noAutofit/>
          </a:bodyPr>
          <a:lstStyle/>
          <a:p>
            <a:pPr marL="0" marR="0" lvl="0" indent="0" algn="l" rtl="0">
              <a:lnSpc>
                <a:spcPct val="100000"/>
              </a:lnSpc>
              <a:spcBef>
                <a:spcPts val="0"/>
              </a:spcBef>
              <a:spcAft>
                <a:spcPts val="0"/>
              </a:spcAft>
              <a:buClr>
                <a:srgbClr val="000000"/>
              </a:buClr>
              <a:buSzPts val="500"/>
              <a:buFont typeface="Arial"/>
              <a:buNone/>
            </a:pPr>
            <a:r>
              <a:rPr lang="en-GB" sz="667" b="0" i="0" u="none" strike="noStrike" cap="none">
                <a:solidFill>
                  <a:schemeClr val="dk2"/>
                </a:solidFill>
                <a:latin typeface="Inter"/>
                <a:ea typeface="Inter"/>
                <a:cs typeface="Inter"/>
                <a:sym typeface="Inter"/>
              </a:rPr>
              <a:t>Multiverse</a:t>
            </a:r>
            <a:endParaRPr sz="667" b="0" i="0" u="none" strike="noStrike" cap="none">
              <a:solidFill>
                <a:schemeClr val="dk2"/>
              </a:solidFill>
              <a:latin typeface="Inter"/>
              <a:ea typeface="Inter"/>
              <a:cs typeface="Inter"/>
              <a:sym typeface="Inter"/>
            </a:endParaRPr>
          </a:p>
        </p:txBody>
      </p:sp>
    </p:spTree>
    <p:extLst>
      <p:ext uri="{BB962C8B-B14F-4D97-AF65-F5344CB8AC3E}">
        <p14:creationId xmlns:p14="http://schemas.microsoft.com/office/powerpoint/2010/main" val="378920444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matchingName="Blank - No logo">
  <p:cSld name="Blank - No logo">
    <p:bg>
      <p:bgPr>
        <a:solidFill>
          <a:schemeClr val="lt2"/>
        </a:solidFill>
        <a:effectLst/>
      </p:bgPr>
    </p:bg>
    <p:spTree>
      <p:nvGrpSpPr>
        <p:cNvPr id="1" name="Shape 1845"/>
        <p:cNvGrpSpPr/>
        <p:nvPr/>
      </p:nvGrpSpPr>
      <p:grpSpPr>
        <a:xfrm>
          <a:off x="0" y="0"/>
          <a:ext cx="0" cy="0"/>
          <a:chOff x="0" y="0"/>
          <a:chExt cx="0" cy="0"/>
        </a:xfrm>
      </p:grpSpPr>
      <p:sp>
        <p:nvSpPr>
          <p:cNvPr id="1846" name="Google Shape;1846;p54"/>
          <p:cNvSpPr/>
          <p:nvPr/>
        </p:nvSpPr>
        <p:spPr>
          <a:xfrm>
            <a:off x="5485700" y="6369600"/>
            <a:ext cx="1388800" cy="266400"/>
          </a:xfrm>
          <a:prstGeom prst="rect">
            <a:avLst/>
          </a:prstGeom>
          <a:solidFill>
            <a:schemeClr val="lt2"/>
          </a:solidFill>
          <a:ln>
            <a:noFill/>
          </a:ln>
        </p:spPr>
        <p:txBody>
          <a:bodyPr spcFirstLastPara="1" wrap="square" lIns="121900" tIns="121900" rIns="121900" bIns="121900"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spTree>
    <p:extLst>
      <p:ext uri="{BB962C8B-B14F-4D97-AF65-F5344CB8AC3E}">
        <p14:creationId xmlns:p14="http://schemas.microsoft.com/office/powerpoint/2010/main" val="238618758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matchingName="Title Slide - Pattern 1 1">
  <p:cSld name="Title Slide - Pattern 1 1">
    <p:bg>
      <p:bgPr>
        <a:solidFill>
          <a:schemeClr val="dk2"/>
        </a:solidFill>
        <a:effectLst/>
      </p:bgPr>
    </p:bg>
    <p:spTree>
      <p:nvGrpSpPr>
        <p:cNvPr id="1" name="Shape 1847"/>
        <p:cNvGrpSpPr/>
        <p:nvPr/>
      </p:nvGrpSpPr>
      <p:grpSpPr>
        <a:xfrm>
          <a:off x="0" y="0"/>
          <a:ext cx="0" cy="0"/>
          <a:chOff x="0" y="0"/>
          <a:chExt cx="0" cy="0"/>
        </a:xfrm>
      </p:grpSpPr>
      <p:sp>
        <p:nvSpPr>
          <p:cNvPr id="1848" name="Google Shape;1848;p55"/>
          <p:cNvSpPr/>
          <p:nvPr/>
        </p:nvSpPr>
        <p:spPr>
          <a:xfrm>
            <a:off x="1042949" y="-4875578"/>
            <a:ext cx="2259329" cy="6890385"/>
          </a:xfrm>
          <a:custGeom>
            <a:avLst/>
            <a:gdLst/>
            <a:ahLst/>
            <a:cxnLst/>
            <a:rect l="l" t="t" r="r" b="b"/>
            <a:pathLst>
              <a:path w="2259329" h="6890385" extrusionOk="0">
                <a:moveTo>
                  <a:pt x="224790" y="6890385"/>
                </a:moveTo>
                <a:lnTo>
                  <a:pt x="2259330" y="0"/>
                </a:lnTo>
                <a:lnTo>
                  <a:pt x="2034540" y="0"/>
                </a:lnTo>
                <a:lnTo>
                  <a:pt x="0" y="6890385"/>
                </a:lnTo>
                <a:close/>
              </a:path>
            </a:pathLst>
          </a:custGeom>
          <a:solidFill>
            <a:schemeClr val="accent2"/>
          </a:solidFill>
          <a:ln>
            <a:noFill/>
          </a:ln>
        </p:spPr>
        <p:txBody>
          <a:bodyPr spcFirstLastPara="1" wrap="square" lIns="91433" tIns="45700" rIns="91433" bIns="45700"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849" name="Google Shape;1849;p55"/>
          <p:cNvSpPr/>
          <p:nvPr/>
        </p:nvSpPr>
        <p:spPr>
          <a:xfrm>
            <a:off x="2778440" y="-5626011"/>
            <a:ext cx="2210435" cy="6890385"/>
          </a:xfrm>
          <a:custGeom>
            <a:avLst/>
            <a:gdLst/>
            <a:ahLst/>
            <a:cxnLst/>
            <a:rect l="l" t="t" r="r" b="b"/>
            <a:pathLst>
              <a:path w="2210434" h="6890385" extrusionOk="0">
                <a:moveTo>
                  <a:pt x="224155" y="6890385"/>
                </a:moveTo>
                <a:lnTo>
                  <a:pt x="2210435" y="0"/>
                </a:lnTo>
                <a:lnTo>
                  <a:pt x="1986280" y="0"/>
                </a:lnTo>
                <a:lnTo>
                  <a:pt x="0" y="6890385"/>
                </a:lnTo>
                <a:close/>
              </a:path>
            </a:pathLst>
          </a:custGeom>
          <a:solidFill>
            <a:schemeClr val="accent2"/>
          </a:solidFill>
          <a:ln>
            <a:noFill/>
          </a:ln>
        </p:spPr>
        <p:txBody>
          <a:bodyPr spcFirstLastPara="1" wrap="square" lIns="91433" tIns="45700" rIns="91433" bIns="45700"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850" name="Google Shape;1850;p55"/>
          <p:cNvSpPr/>
          <p:nvPr/>
        </p:nvSpPr>
        <p:spPr>
          <a:xfrm>
            <a:off x="5717220" y="-5626011"/>
            <a:ext cx="2299969" cy="6890385"/>
          </a:xfrm>
          <a:custGeom>
            <a:avLst/>
            <a:gdLst/>
            <a:ahLst/>
            <a:cxnLst/>
            <a:rect l="l" t="t" r="r" b="b"/>
            <a:pathLst>
              <a:path w="2299969" h="6890385" extrusionOk="0">
                <a:moveTo>
                  <a:pt x="225425" y="6890385"/>
                </a:moveTo>
                <a:lnTo>
                  <a:pt x="2299970" y="0"/>
                </a:lnTo>
                <a:lnTo>
                  <a:pt x="2074545" y="0"/>
                </a:lnTo>
                <a:lnTo>
                  <a:pt x="0" y="6890385"/>
                </a:lnTo>
                <a:close/>
              </a:path>
            </a:pathLst>
          </a:custGeom>
          <a:solidFill>
            <a:schemeClr val="accent2"/>
          </a:solidFill>
          <a:ln>
            <a:noFill/>
          </a:ln>
        </p:spPr>
        <p:txBody>
          <a:bodyPr spcFirstLastPara="1" wrap="square" lIns="91433" tIns="45700" rIns="91433" bIns="45700"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851" name="Google Shape;1851;p55"/>
          <p:cNvSpPr/>
          <p:nvPr/>
        </p:nvSpPr>
        <p:spPr>
          <a:xfrm>
            <a:off x="6904099" y="-5141111"/>
            <a:ext cx="2292984" cy="6890385"/>
          </a:xfrm>
          <a:custGeom>
            <a:avLst/>
            <a:gdLst/>
            <a:ahLst/>
            <a:cxnLst/>
            <a:rect l="l" t="t" r="r" b="b"/>
            <a:pathLst>
              <a:path w="2292984" h="6890385" extrusionOk="0">
                <a:moveTo>
                  <a:pt x="225425" y="6890385"/>
                </a:moveTo>
                <a:lnTo>
                  <a:pt x="2292985" y="0"/>
                </a:lnTo>
                <a:lnTo>
                  <a:pt x="2067560" y="0"/>
                </a:lnTo>
                <a:lnTo>
                  <a:pt x="0" y="6890385"/>
                </a:lnTo>
                <a:close/>
              </a:path>
            </a:pathLst>
          </a:custGeom>
          <a:solidFill>
            <a:schemeClr val="accent2"/>
          </a:solidFill>
          <a:ln>
            <a:noFill/>
          </a:ln>
        </p:spPr>
        <p:txBody>
          <a:bodyPr spcFirstLastPara="1" wrap="square" lIns="91433" tIns="45700" rIns="91433" bIns="45700"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852" name="Google Shape;1852;p55"/>
          <p:cNvSpPr/>
          <p:nvPr/>
        </p:nvSpPr>
        <p:spPr>
          <a:xfrm>
            <a:off x="8083995" y="-4771678"/>
            <a:ext cx="2289175" cy="6890385"/>
          </a:xfrm>
          <a:custGeom>
            <a:avLst/>
            <a:gdLst/>
            <a:ahLst/>
            <a:cxnLst/>
            <a:rect l="l" t="t" r="r" b="b"/>
            <a:pathLst>
              <a:path w="2289175" h="6890385" extrusionOk="0">
                <a:moveTo>
                  <a:pt x="224790" y="6890385"/>
                </a:moveTo>
                <a:lnTo>
                  <a:pt x="2289175" y="0"/>
                </a:lnTo>
                <a:lnTo>
                  <a:pt x="2064386" y="0"/>
                </a:lnTo>
                <a:lnTo>
                  <a:pt x="0" y="6890385"/>
                </a:lnTo>
                <a:close/>
              </a:path>
            </a:pathLst>
          </a:custGeom>
          <a:solidFill>
            <a:schemeClr val="accent2"/>
          </a:solidFill>
          <a:ln>
            <a:noFill/>
          </a:ln>
        </p:spPr>
        <p:txBody>
          <a:bodyPr spcFirstLastPara="1" wrap="square" lIns="91433" tIns="45700" rIns="91433" bIns="45700"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853" name="Google Shape;1853;p55"/>
          <p:cNvSpPr/>
          <p:nvPr/>
        </p:nvSpPr>
        <p:spPr>
          <a:xfrm>
            <a:off x="9361681" y="-4614611"/>
            <a:ext cx="2287904" cy="6890385"/>
          </a:xfrm>
          <a:custGeom>
            <a:avLst/>
            <a:gdLst/>
            <a:ahLst/>
            <a:cxnLst/>
            <a:rect l="l" t="t" r="r" b="b"/>
            <a:pathLst>
              <a:path w="2287904" h="6890385" extrusionOk="0">
                <a:moveTo>
                  <a:pt x="225425" y="6890385"/>
                </a:moveTo>
                <a:lnTo>
                  <a:pt x="2287905" y="0"/>
                </a:lnTo>
                <a:lnTo>
                  <a:pt x="2063115" y="0"/>
                </a:lnTo>
                <a:lnTo>
                  <a:pt x="0" y="6890385"/>
                </a:lnTo>
                <a:close/>
              </a:path>
            </a:pathLst>
          </a:custGeom>
          <a:solidFill>
            <a:schemeClr val="accent2"/>
          </a:solidFill>
          <a:ln>
            <a:noFill/>
          </a:ln>
        </p:spPr>
        <p:txBody>
          <a:bodyPr spcFirstLastPara="1" wrap="square" lIns="91433" tIns="45700" rIns="91433" bIns="45700"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854" name="Google Shape;1854;p55"/>
          <p:cNvSpPr/>
          <p:nvPr/>
        </p:nvSpPr>
        <p:spPr>
          <a:xfrm>
            <a:off x="10853398" y="-4875578"/>
            <a:ext cx="2287269" cy="6890385"/>
          </a:xfrm>
          <a:custGeom>
            <a:avLst/>
            <a:gdLst/>
            <a:ahLst/>
            <a:cxnLst/>
            <a:rect l="l" t="t" r="r" b="b"/>
            <a:pathLst>
              <a:path w="2287269" h="6890385" extrusionOk="0">
                <a:moveTo>
                  <a:pt x="225425" y="6890385"/>
                </a:moveTo>
                <a:lnTo>
                  <a:pt x="2287270" y="0"/>
                </a:lnTo>
                <a:lnTo>
                  <a:pt x="2061845" y="0"/>
                </a:lnTo>
                <a:lnTo>
                  <a:pt x="0" y="6890385"/>
                </a:lnTo>
                <a:close/>
              </a:path>
            </a:pathLst>
          </a:custGeom>
          <a:solidFill>
            <a:schemeClr val="accent2"/>
          </a:solidFill>
          <a:ln>
            <a:noFill/>
          </a:ln>
        </p:spPr>
        <p:txBody>
          <a:bodyPr spcFirstLastPara="1" wrap="square" lIns="91433" tIns="45700" rIns="91433" bIns="45700"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855" name="Google Shape;1855;p55"/>
          <p:cNvSpPr/>
          <p:nvPr/>
        </p:nvSpPr>
        <p:spPr>
          <a:xfrm>
            <a:off x="-1622251" y="6312622"/>
            <a:ext cx="2259329" cy="6890385"/>
          </a:xfrm>
          <a:custGeom>
            <a:avLst/>
            <a:gdLst/>
            <a:ahLst/>
            <a:cxnLst/>
            <a:rect l="l" t="t" r="r" b="b"/>
            <a:pathLst>
              <a:path w="2259329" h="6890385" extrusionOk="0">
                <a:moveTo>
                  <a:pt x="224790" y="6890385"/>
                </a:moveTo>
                <a:lnTo>
                  <a:pt x="2259330" y="0"/>
                </a:lnTo>
                <a:lnTo>
                  <a:pt x="2034540" y="0"/>
                </a:lnTo>
                <a:lnTo>
                  <a:pt x="0" y="6890385"/>
                </a:lnTo>
                <a:close/>
              </a:path>
            </a:pathLst>
          </a:custGeom>
          <a:solidFill>
            <a:schemeClr val="accent2"/>
          </a:solidFill>
          <a:ln>
            <a:noFill/>
          </a:ln>
        </p:spPr>
        <p:txBody>
          <a:bodyPr spcFirstLastPara="1" wrap="square" lIns="91433" tIns="45700" rIns="91433" bIns="45700"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856" name="Google Shape;1856;p55"/>
          <p:cNvSpPr/>
          <p:nvPr/>
        </p:nvSpPr>
        <p:spPr>
          <a:xfrm>
            <a:off x="113240" y="5562189"/>
            <a:ext cx="2210435" cy="6890385"/>
          </a:xfrm>
          <a:custGeom>
            <a:avLst/>
            <a:gdLst/>
            <a:ahLst/>
            <a:cxnLst/>
            <a:rect l="l" t="t" r="r" b="b"/>
            <a:pathLst>
              <a:path w="2210434" h="6890385" extrusionOk="0">
                <a:moveTo>
                  <a:pt x="224155" y="6890385"/>
                </a:moveTo>
                <a:lnTo>
                  <a:pt x="2210435" y="0"/>
                </a:lnTo>
                <a:lnTo>
                  <a:pt x="1986280" y="0"/>
                </a:lnTo>
                <a:lnTo>
                  <a:pt x="0" y="6890385"/>
                </a:lnTo>
                <a:close/>
              </a:path>
            </a:pathLst>
          </a:custGeom>
          <a:solidFill>
            <a:schemeClr val="accent2"/>
          </a:solidFill>
          <a:ln>
            <a:noFill/>
          </a:ln>
        </p:spPr>
        <p:txBody>
          <a:bodyPr spcFirstLastPara="1" wrap="square" lIns="91433" tIns="45700" rIns="91433" bIns="45700"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857" name="Google Shape;1857;p55"/>
          <p:cNvSpPr/>
          <p:nvPr/>
        </p:nvSpPr>
        <p:spPr>
          <a:xfrm>
            <a:off x="1632486" y="5562189"/>
            <a:ext cx="2332353" cy="6890385"/>
          </a:xfrm>
          <a:custGeom>
            <a:avLst/>
            <a:gdLst/>
            <a:ahLst/>
            <a:cxnLst/>
            <a:rect l="l" t="t" r="r" b="b"/>
            <a:pathLst>
              <a:path w="2332354" h="6890385" extrusionOk="0">
                <a:moveTo>
                  <a:pt x="225425" y="6890385"/>
                </a:moveTo>
                <a:lnTo>
                  <a:pt x="2332355" y="0"/>
                </a:lnTo>
                <a:lnTo>
                  <a:pt x="2106930" y="0"/>
                </a:lnTo>
                <a:lnTo>
                  <a:pt x="0" y="6890385"/>
                </a:lnTo>
                <a:close/>
              </a:path>
            </a:pathLst>
          </a:custGeom>
          <a:solidFill>
            <a:schemeClr val="accent2"/>
          </a:solidFill>
          <a:ln>
            <a:noFill/>
          </a:ln>
        </p:spPr>
        <p:txBody>
          <a:bodyPr spcFirstLastPara="1" wrap="square" lIns="91433" tIns="45700" rIns="91433" bIns="45700"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858" name="Google Shape;1858;p55"/>
          <p:cNvSpPr/>
          <p:nvPr/>
        </p:nvSpPr>
        <p:spPr>
          <a:xfrm>
            <a:off x="2848818" y="5949422"/>
            <a:ext cx="2299969" cy="6890385"/>
          </a:xfrm>
          <a:custGeom>
            <a:avLst/>
            <a:gdLst/>
            <a:ahLst/>
            <a:cxnLst/>
            <a:rect l="l" t="t" r="r" b="b"/>
            <a:pathLst>
              <a:path w="2299969" h="6890385" extrusionOk="0">
                <a:moveTo>
                  <a:pt x="225425" y="6890385"/>
                </a:moveTo>
                <a:lnTo>
                  <a:pt x="2299970" y="0"/>
                </a:lnTo>
                <a:lnTo>
                  <a:pt x="2074545" y="0"/>
                </a:lnTo>
                <a:lnTo>
                  <a:pt x="0" y="6890385"/>
                </a:lnTo>
                <a:close/>
              </a:path>
            </a:pathLst>
          </a:custGeom>
          <a:solidFill>
            <a:schemeClr val="accent2"/>
          </a:solidFill>
          <a:ln>
            <a:noFill/>
          </a:ln>
        </p:spPr>
        <p:txBody>
          <a:bodyPr spcFirstLastPara="1" wrap="square" lIns="91433" tIns="45700" rIns="91433" bIns="45700"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859" name="Google Shape;1859;p55"/>
          <p:cNvSpPr/>
          <p:nvPr/>
        </p:nvSpPr>
        <p:spPr>
          <a:xfrm>
            <a:off x="5254899" y="6129522"/>
            <a:ext cx="2292984" cy="6890385"/>
          </a:xfrm>
          <a:custGeom>
            <a:avLst/>
            <a:gdLst/>
            <a:ahLst/>
            <a:cxnLst/>
            <a:rect l="l" t="t" r="r" b="b"/>
            <a:pathLst>
              <a:path w="2292984" h="6890385" extrusionOk="0">
                <a:moveTo>
                  <a:pt x="225425" y="6890385"/>
                </a:moveTo>
                <a:lnTo>
                  <a:pt x="2292985" y="0"/>
                </a:lnTo>
                <a:lnTo>
                  <a:pt x="2067560" y="0"/>
                </a:lnTo>
                <a:lnTo>
                  <a:pt x="0" y="6890385"/>
                </a:lnTo>
                <a:close/>
              </a:path>
            </a:pathLst>
          </a:custGeom>
          <a:solidFill>
            <a:schemeClr val="accent2"/>
          </a:solidFill>
          <a:ln>
            <a:noFill/>
          </a:ln>
        </p:spPr>
        <p:txBody>
          <a:bodyPr spcFirstLastPara="1" wrap="square" lIns="91433" tIns="45700" rIns="91433" bIns="45700"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860" name="Google Shape;1860;p55"/>
          <p:cNvSpPr/>
          <p:nvPr/>
        </p:nvSpPr>
        <p:spPr>
          <a:xfrm>
            <a:off x="6333195" y="6498956"/>
            <a:ext cx="2289175" cy="6890385"/>
          </a:xfrm>
          <a:custGeom>
            <a:avLst/>
            <a:gdLst/>
            <a:ahLst/>
            <a:cxnLst/>
            <a:rect l="l" t="t" r="r" b="b"/>
            <a:pathLst>
              <a:path w="2289175" h="6890385" extrusionOk="0">
                <a:moveTo>
                  <a:pt x="224790" y="6890385"/>
                </a:moveTo>
                <a:lnTo>
                  <a:pt x="2289175" y="0"/>
                </a:lnTo>
                <a:lnTo>
                  <a:pt x="2064386" y="0"/>
                </a:lnTo>
                <a:lnTo>
                  <a:pt x="0" y="6890385"/>
                </a:lnTo>
                <a:close/>
              </a:path>
            </a:pathLst>
          </a:custGeom>
          <a:solidFill>
            <a:schemeClr val="accent2"/>
          </a:solidFill>
          <a:ln>
            <a:noFill/>
          </a:ln>
        </p:spPr>
        <p:txBody>
          <a:bodyPr spcFirstLastPara="1" wrap="square" lIns="91433" tIns="45700" rIns="91433" bIns="45700"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861" name="Google Shape;1861;p55"/>
          <p:cNvSpPr/>
          <p:nvPr/>
        </p:nvSpPr>
        <p:spPr>
          <a:xfrm>
            <a:off x="7737601" y="5709256"/>
            <a:ext cx="2287904" cy="6890385"/>
          </a:xfrm>
          <a:custGeom>
            <a:avLst/>
            <a:gdLst/>
            <a:ahLst/>
            <a:cxnLst/>
            <a:rect l="l" t="t" r="r" b="b"/>
            <a:pathLst>
              <a:path w="2287904" h="6890385" extrusionOk="0">
                <a:moveTo>
                  <a:pt x="225425" y="6890385"/>
                </a:moveTo>
                <a:lnTo>
                  <a:pt x="2287905" y="0"/>
                </a:lnTo>
                <a:lnTo>
                  <a:pt x="2063115" y="0"/>
                </a:lnTo>
                <a:lnTo>
                  <a:pt x="0" y="6890385"/>
                </a:lnTo>
                <a:close/>
              </a:path>
            </a:pathLst>
          </a:custGeom>
          <a:solidFill>
            <a:schemeClr val="accent2"/>
          </a:solidFill>
          <a:ln>
            <a:noFill/>
          </a:ln>
        </p:spPr>
        <p:txBody>
          <a:bodyPr spcFirstLastPara="1" wrap="square" lIns="91433" tIns="45700" rIns="91433" bIns="45700"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862" name="Google Shape;1862;p55"/>
          <p:cNvSpPr/>
          <p:nvPr/>
        </p:nvSpPr>
        <p:spPr>
          <a:xfrm>
            <a:off x="9330918" y="5088756"/>
            <a:ext cx="2287269" cy="6890385"/>
          </a:xfrm>
          <a:custGeom>
            <a:avLst/>
            <a:gdLst/>
            <a:ahLst/>
            <a:cxnLst/>
            <a:rect l="l" t="t" r="r" b="b"/>
            <a:pathLst>
              <a:path w="2287269" h="6890385" extrusionOk="0">
                <a:moveTo>
                  <a:pt x="225425" y="6890385"/>
                </a:moveTo>
                <a:lnTo>
                  <a:pt x="2287270" y="0"/>
                </a:lnTo>
                <a:lnTo>
                  <a:pt x="2061845" y="0"/>
                </a:lnTo>
                <a:lnTo>
                  <a:pt x="0" y="6890385"/>
                </a:lnTo>
                <a:close/>
              </a:path>
            </a:pathLst>
          </a:custGeom>
          <a:solidFill>
            <a:schemeClr val="accent2"/>
          </a:solidFill>
          <a:ln>
            <a:noFill/>
          </a:ln>
        </p:spPr>
        <p:txBody>
          <a:bodyPr spcFirstLastPara="1" wrap="square" lIns="91433" tIns="45700" rIns="91433" bIns="45700"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grpSp>
        <p:nvGrpSpPr>
          <p:cNvPr id="1863" name="Google Shape;1863;p55"/>
          <p:cNvGrpSpPr/>
          <p:nvPr/>
        </p:nvGrpSpPr>
        <p:grpSpPr>
          <a:xfrm>
            <a:off x="5280899" y="5003383"/>
            <a:ext cx="1629909" cy="273183"/>
            <a:chOff x="2455289" y="1451556"/>
            <a:chExt cx="2208151" cy="370100"/>
          </a:xfrm>
        </p:grpSpPr>
        <p:sp>
          <p:nvSpPr>
            <p:cNvPr id="1864" name="Google Shape;1864;p55"/>
            <p:cNvSpPr/>
            <p:nvPr/>
          </p:nvSpPr>
          <p:spPr>
            <a:xfrm>
              <a:off x="2876395" y="1554783"/>
              <a:ext cx="221938" cy="264747"/>
            </a:xfrm>
            <a:custGeom>
              <a:avLst/>
              <a:gdLst/>
              <a:ahLst/>
              <a:cxnLst/>
              <a:rect l="l" t="t" r="r" b="b"/>
              <a:pathLst>
                <a:path w="295917" h="352996" extrusionOk="0">
                  <a:moveTo>
                    <a:pt x="225076" y="193096"/>
                  </a:moveTo>
                  <a:cubicBezTo>
                    <a:pt x="225076" y="250174"/>
                    <a:pt x="194310" y="284988"/>
                    <a:pt x="148566" y="284988"/>
                  </a:cubicBezTo>
                  <a:cubicBezTo>
                    <a:pt x="101608" y="284988"/>
                    <a:pt x="70842" y="250174"/>
                    <a:pt x="70842" y="193096"/>
                  </a:cubicBezTo>
                  <a:lnTo>
                    <a:pt x="70842" y="0"/>
                  </a:lnTo>
                  <a:lnTo>
                    <a:pt x="0" y="0"/>
                  </a:lnTo>
                  <a:lnTo>
                    <a:pt x="0" y="191477"/>
                  </a:lnTo>
                  <a:cubicBezTo>
                    <a:pt x="0" y="289441"/>
                    <a:pt x="54245" y="352997"/>
                    <a:pt x="146542" y="352997"/>
                  </a:cubicBezTo>
                  <a:cubicBezTo>
                    <a:pt x="238030" y="352997"/>
                    <a:pt x="295918" y="288227"/>
                    <a:pt x="295918" y="191477"/>
                  </a:cubicBezTo>
                  <a:lnTo>
                    <a:pt x="295918" y="0"/>
                  </a:lnTo>
                  <a:lnTo>
                    <a:pt x="225076" y="0"/>
                  </a:lnTo>
                  <a:lnTo>
                    <a:pt x="225076" y="193096"/>
                  </a:lnTo>
                  <a:close/>
                </a:path>
              </a:pathLst>
            </a:custGeom>
            <a:solidFill>
              <a:schemeClr val="lt1"/>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865" name="Google Shape;1865;p55"/>
            <p:cNvSpPr/>
            <p:nvPr/>
          </p:nvSpPr>
          <p:spPr>
            <a:xfrm>
              <a:off x="3150858" y="1452164"/>
              <a:ext cx="52220" cy="364027"/>
            </a:xfrm>
            <a:custGeom>
              <a:avLst/>
              <a:gdLst/>
              <a:ahLst/>
              <a:cxnLst/>
              <a:rect l="l" t="t" r="r" b="b"/>
              <a:pathLst>
                <a:path w="69627" h="485370" extrusionOk="0">
                  <a:moveTo>
                    <a:pt x="0" y="0"/>
                  </a:moveTo>
                  <a:lnTo>
                    <a:pt x="69628" y="0"/>
                  </a:lnTo>
                  <a:lnTo>
                    <a:pt x="69628" y="485370"/>
                  </a:lnTo>
                  <a:lnTo>
                    <a:pt x="0" y="485370"/>
                  </a:lnTo>
                  <a:close/>
                </a:path>
              </a:pathLst>
            </a:custGeom>
            <a:solidFill>
              <a:schemeClr val="lt1"/>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866" name="Google Shape;1866;p55"/>
            <p:cNvSpPr/>
            <p:nvPr/>
          </p:nvSpPr>
          <p:spPr>
            <a:xfrm>
              <a:off x="3440501" y="1555087"/>
              <a:ext cx="52220" cy="260800"/>
            </a:xfrm>
            <a:custGeom>
              <a:avLst/>
              <a:gdLst/>
              <a:ahLst/>
              <a:cxnLst/>
              <a:rect l="l" t="t" r="r" b="b"/>
              <a:pathLst>
                <a:path w="69627" h="347733" extrusionOk="0">
                  <a:moveTo>
                    <a:pt x="0" y="0"/>
                  </a:moveTo>
                  <a:lnTo>
                    <a:pt x="69627" y="0"/>
                  </a:lnTo>
                  <a:lnTo>
                    <a:pt x="69627" y="347734"/>
                  </a:lnTo>
                  <a:lnTo>
                    <a:pt x="0" y="347734"/>
                  </a:lnTo>
                  <a:close/>
                </a:path>
              </a:pathLst>
            </a:custGeom>
            <a:solidFill>
              <a:schemeClr val="lt1"/>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867" name="Google Shape;1867;p55"/>
            <p:cNvSpPr/>
            <p:nvPr/>
          </p:nvSpPr>
          <p:spPr>
            <a:xfrm>
              <a:off x="3517618" y="1555087"/>
              <a:ext cx="257764" cy="261104"/>
            </a:xfrm>
            <a:custGeom>
              <a:avLst/>
              <a:gdLst/>
              <a:ahLst/>
              <a:cxnLst/>
              <a:rect l="l" t="t" r="r" b="b"/>
              <a:pathLst>
                <a:path w="343685" h="348138" extrusionOk="0">
                  <a:moveTo>
                    <a:pt x="269200" y="0"/>
                  </a:moveTo>
                  <a:lnTo>
                    <a:pt x="172045" y="255842"/>
                  </a:lnTo>
                  <a:lnTo>
                    <a:pt x="74081" y="0"/>
                  </a:lnTo>
                  <a:lnTo>
                    <a:pt x="0" y="0"/>
                  </a:lnTo>
                  <a:lnTo>
                    <a:pt x="136422" y="348139"/>
                  </a:lnTo>
                  <a:lnTo>
                    <a:pt x="207264" y="348139"/>
                  </a:lnTo>
                  <a:lnTo>
                    <a:pt x="343686" y="0"/>
                  </a:lnTo>
                  <a:close/>
                </a:path>
              </a:pathLst>
            </a:custGeom>
            <a:solidFill>
              <a:schemeClr val="lt1"/>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868" name="Google Shape;1868;p55"/>
            <p:cNvSpPr/>
            <p:nvPr/>
          </p:nvSpPr>
          <p:spPr>
            <a:xfrm>
              <a:off x="4209848" y="1549621"/>
              <a:ext cx="188541" cy="272034"/>
            </a:xfrm>
            <a:custGeom>
              <a:avLst/>
              <a:gdLst/>
              <a:ahLst/>
              <a:cxnLst/>
              <a:rect l="l" t="t" r="r" b="b"/>
              <a:pathLst>
                <a:path w="251388" h="362712" extrusionOk="0">
                  <a:moveTo>
                    <a:pt x="150591" y="148971"/>
                  </a:moveTo>
                  <a:lnTo>
                    <a:pt x="109704" y="139660"/>
                  </a:lnTo>
                  <a:cubicBezTo>
                    <a:pt x="84606" y="133588"/>
                    <a:pt x="72057" y="120229"/>
                    <a:pt x="72057" y="102013"/>
                  </a:cubicBezTo>
                  <a:cubicBezTo>
                    <a:pt x="72057" y="76915"/>
                    <a:pt x="95131" y="61531"/>
                    <a:pt x="126302" y="62341"/>
                  </a:cubicBezTo>
                  <a:cubicBezTo>
                    <a:pt x="145328" y="62341"/>
                    <a:pt x="164759" y="68413"/>
                    <a:pt x="183380" y="77724"/>
                  </a:cubicBezTo>
                  <a:cubicBezTo>
                    <a:pt x="206454" y="88654"/>
                    <a:pt x="225886" y="104037"/>
                    <a:pt x="233577" y="111324"/>
                  </a:cubicBezTo>
                  <a:lnTo>
                    <a:pt x="233577" y="38457"/>
                  </a:lnTo>
                  <a:cubicBezTo>
                    <a:pt x="221837" y="29551"/>
                    <a:pt x="178522" y="0"/>
                    <a:pt x="123063" y="0"/>
                  </a:cubicBezTo>
                  <a:cubicBezTo>
                    <a:pt x="46149" y="0"/>
                    <a:pt x="0" y="51411"/>
                    <a:pt x="0" y="107680"/>
                  </a:cubicBezTo>
                  <a:cubicBezTo>
                    <a:pt x="0" y="161115"/>
                    <a:pt x="37648" y="187428"/>
                    <a:pt x="87439" y="199573"/>
                  </a:cubicBezTo>
                  <a:lnTo>
                    <a:pt x="127111" y="208883"/>
                  </a:lnTo>
                  <a:cubicBezTo>
                    <a:pt x="162330" y="216980"/>
                    <a:pt x="179332" y="229934"/>
                    <a:pt x="179332" y="254222"/>
                  </a:cubicBezTo>
                  <a:cubicBezTo>
                    <a:pt x="179332" y="278511"/>
                    <a:pt x="158687" y="301585"/>
                    <a:pt x="121039" y="301585"/>
                  </a:cubicBezTo>
                  <a:cubicBezTo>
                    <a:pt x="97155" y="301585"/>
                    <a:pt x="73271" y="293489"/>
                    <a:pt x="54245" y="282559"/>
                  </a:cubicBezTo>
                  <a:cubicBezTo>
                    <a:pt x="31171" y="270415"/>
                    <a:pt x="13764" y="255437"/>
                    <a:pt x="9311" y="250984"/>
                  </a:cubicBezTo>
                  <a:lnTo>
                    <a:pt x="8096" y="325065"/>
                  </a:lnTo>
                  <a:cubicBezTo>
                    <a:pt x="12549" y="329922"/>
                    <a:pt x="52626" y="362712"/>
                    <a:pt x="123468" y="362712"/>
                  </a:cubicBezTo>
                  <a:cubicBezTo>
                    <a:pt x="202406" y="362712"/>
                    <a:pt x="251388" y="307253"/>
                    <a:pt x="251388" y="250984"/>
                  </a:cubicBezTo>
                  <a:cubicBezTo>
                    <a:pt x="250579" y="201597"/>
                    <a:pt x="216979" y="163949"/>
                    <a:pt x="150591" y="148971"/>
                  </a:cubicBezTo>
                  <a:close/>
                </a:path>
              </a:pathLst>
            </a:custGeom>
            <a:solidFill>
              <a:schemeClr val="lt1"/>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869" name="Google Shape;1869;p55"/>
            <p:cNvSpPr/>
            <p:nvPr/>
          </p:nvSpPr>
          <p:spPr>
            <a:xfrm>
              <a:off x="3775382" y="1552051"/>
              <a:ext cx="242584" cy="267176"/>
            </a:xfrm>
            <a:custGeom>
              <a:avLst/>
              <a:gdLst/>
              <a:ahLst/>
              <a:cxnLst/>
              <a:rect l="l" t="t" r="r" b="b"/>
              <a:pathLst>
                <a:path w="323445" h="356235" extrusionOk="0">
                  <a:moveTo>
                    <a:pt x="70842" y="150995"/>
                  </a:moveTo>
                  <a:cubicBezTo>
                    <a:pt x="79343" y="101203"/>
                    <a:pt x="112538" y="64770"/>
                    <a:pt x="164758" y="64770"/>
                  </a:cubicBezTo>
                  <a:cubicBezTo>
                    <a:pt x="216575" y="64770"/>
                    <a:pt x="247340" y="101203"/>
                    <a:pt x="255437" y="150995"/>
                  </a:cubicBezTo>
                  <a:lnTo>
                    <a:pt x="70842" y="150995"/>
                  </a:lnTo>
                  <a:close/>
                  <a:moveTo>
                    <a:pt x="164758" y="0"/>
                  </a:moveTo>
                  <a:cubicBezTo>
                    <a:pt x="70842" y="0"/>
                    <a:pt x="0" y="79748"/>
                    <a:pt x="0" y="178118"/>
                  </a:cubicBezTo>
                  <a:cubicBezTo>
                    <a:pt x="0" y="276487"/>
                    <a:pt x="76914" y="356235"/>
                    <a:pt x="180546" y="356235"/>
                  </a:cubicBezTo>
                  <a:cubicBezTo>
                    <a:pt x="259889" y="356235"/>
                    <a:pt x="303609" y="317778"/>
                    <a:pt x="303609" y="317778"/>
                  </a:cubicBezTo>
                  <a:lnTo>
                    <a:pt x="303609" y="246936"/>
                  </a:lnTo>
                  <a:cubicBezTo>
                    <a:pt x="303609" y="246936"/>
                    <a:pt x="255437" y="290655"/>
                    <a:pt x="185809" y="290655"/>
                  </a:cubicBezTo>
                  <a:cubicBezTo>
                    <a:pt x="123063" y="290655"/>
                    <a:pt x="81772" y="255032"/>
                    <a:pt x="71247" y="204835"/>
                  </a:cubicBezTo>
                  <a:lnTo>
                    <a:pt x="322231" y="204835"/>
                  </a:lnTo>
                  <a:cubicBezTo>
                    <a:pt x="323041" y="195929"/>
                    <a:pt x="323445" y="186618"/>
                    <a:pt x="323445" y="177713"/>
                  </a:cubicBezTo>
                  <a:cubicBezTo>
                    <a:pt x="323445" y="79748"/>
                    <a:pt x="256247" y="0"/>
                    <a:pt x="164758" y="0"/>
                  </a:cubicBezTo>
                  <a:close/>
                </a:path>
              </a:pathLst>
            </a:custGeom>
            <a:solidFill>
              <a:schemeClr val="lt1"/>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870" name="Google Shape;1870;p55"/>
            <p:cNvSpPr/>
            <p:nvPr/>
          </p:nvSpPr>
          <p:spPr>
            <a:xfrm>
              <a:off x="3429268" y="1451556"/>
              <a:ext cx="74687" cy="65883"/>
            </a:xfrm>
            <a:custGeom>
              <a:avLst/>
              <a:gdLst/>
              <a:ahLst/>
              <a:cxnLst/>
              <a:rect l="l" t="t" r="r" b="b"/>
              <a:pathLst>
                <a:path w="99583" h="87844" extrusionOk="0">
                  <a:moveTo>
                    <a:pt x="24693" y="0"/>
                  </a:moveTo>
                  <a:lnTo>
                    <a:pt x="0" y="43720"/>
                  </a:lnTo>
                  <a:lnTo>
                    <a:pt x="24693" y="87844"/>
                  </a:lnTo>
                  <a:lnTo>
                    <a:pt x="74890" y="87844"/>
                  </a:lnTo>
                  <a:lnTo>
                    <a:pt x="99584" y="43720"/>
                  </a:lnTo>
                  <a:lnTo>
                    <a:pt x="74890" y="0"/>
                  </a:lnTo>
                  <a:close/>
                </a:path>
              </a:pathLst>
            </a:custGeom>
            <a:solidFill>
              <a:schemeClr val="lt1"/>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871" name="Google Shape;1871;p55"/>
            <p:cNvSpPr/>
            <p:nvPr/>
          </p:nvSpPr>
          <p:spPr>
            <a:xfrm>
              <a:off x="2455288" y="1554783"/>
              <a:ext cx="375868" cy="261103"/>
            </a:xfrm>
            <a:custGeom>
              <a:avLst/>
              <a:gdLst/>
              <a:ahLst/>
              <a:cxnLst/>
              <a:rect l="l" t="t" r="r" b="b"/>
              <a:pathLst>
                <a:path w="501157" h="348138" extrusionOk="0">
                  <a:moveTo>
                    <a:pt x="433149" y="405"/>
                  </a:moveTo>
                  <a:lnTo>
                    <a:pt x="422219" y="405"/>
                  </a:lnTo>
                  <a:lnTo>
                    <a:pt x="422219" y="405"/>
                  </a:lnTo>
                  <a:lnTo>
                    <a:pt x="422219" y="405"/>
                  </a:lnTo>
                  <a:lnTo>
                    <a:pt x="284988" y="230338"/>
                  </a:lnTo>
                  <a:cubicBezTo>
                    <a:pt x="284988" y="192286"/>
                    <a:pt x="284178" y="405"/>
                    <a:pt x="284178" y="405"/>
                  </a:cubicBezTo>
                  <a:lnTo>
                    <a:pt x="216575" y="405"/>
                  </a:lnTo>
                  <a:lnTo>
                    <a:pt x="205645" y="405"/>
                  </a:lnTo>
                  <a:lnTo>
                    <a:pt x="205645" y="405"/>
                  </a:lnTo>
                  <a:lnTo>
                    <a:pt x="205645" y="405"/>
                  </a:lnTo>
                  <a:lnTo>
                    <a:pt x="69223" y="229529"/>
                  </a:lnTo>
                  <a:lnTo>
                    <a:pt x="68818" y="216170"/>
                  </a:lnTo>
                  <a:lnTo>
                    <a:pt x="69628" y="405"/>
                  </a:lnTo>
                  <a:lnTo>
                    <a:pt x="0" y="405"/>
                  </a:lnTo>
                  <a:lnTo>
                    <a:pt x="0" y="348139"/>
                  </a:lnTo>
                  <a:lnTo>
                    <a:pt x="69628" y="348139"/>
                  </a:lnTo>
                  <a:cubicBezTo>
                    <a:pt x="74081" y="340852"/>
                    <a:pt x="84606" y="322636"/>
                    <a:pt x="98369" y="299157"/>
                  </a:cubicBezTo>
                  <a:lnTo>
                    <a:pt x="216575" y="100394"/>
                  </a:lnTo>
                  <a:lnTo>
                    <a:pt x="216575" y="347734"/>
                  </a:lnTo>
                  <a:lnTo>
                    <a:pt x="285393" y="347734"/>
                  </a:lnTo>
                  <a:cubicBezTo>
                    <a:pt x="285393" y="347734"/>
                    <a:pt x="285393" y="347734"/>
                    <a:pt x="285393" y="347734"/>
                  </a:cubicBezTo>
                  <a:lnTo>
                    <a:pt x="285393" y="347734"/>
                  </a:lnTo>
                  <a:lnTo>
                    <a:pt x="432340" y="101608"/>
                  </a:lnTo>
                  <a:lnTo>
                    <a:pt x="432340" y="347734"/>
                  </a:lnTo>
                  <a:lnTo>
                    <a:pt x="501158" y="347734"/>
                  </a:lnTo>
                  <a:lnTo>
                    <a:pt x="501158" y="0"/>
                  </a:lnTo>
                  <a:lnTo>
                    <a:pt x="433149" y="0"/>
                  </a:lnTo>
                  <a:close/>
                </a:path>
              </a:pathLst>
            </a:custGeom>
            <a:solidFill>
              <a:schemeClr val="lt1"/>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872" name="Google Shape;1872;p55"/>
            <p:cNvSpPr/>
            <p:nvPr/>
          </p:nvSpPr>
          <p:spPr>
            <a:xfrm>
              <a:off x="4428749" y="1553569"/>
              <a:ext cx="234690" cy="263229"/>
            </a:xfrm>
            <a:custGeom>
              <a:avLst/>
              <a:gdLst/>
              <a:ahLst/>
              <a:cxnLst/>
              <a:rect l="l" t="t" r="r" b="b"/>
              <a:pathLst>
                <a:path w="312920" h="350972" extrusionOk="0">
                  <a:moveTo>
                    <a:pt x="68009" y="136017"/>
                  </a:moveTo>
                  <a:cubicBezTo>
                    <a:pt x="72057" y="123468"/>
                    <a:pt x="78129" y="112538"/>
                    <a:pt x="85821" y="103227"/>
                  </a:cubicBezTo>
                  <a:cubicBezTo>
                    <a:pt x="97155" y="89059"/>
                    <a:pt x="110514" y="78533"/>
                    <a:pt x="125492" y="71247"/>
                  </a:cubicBezTo>
                  <a:cubicBezTo>
                    <a:pt x="140470" y="63960"/>
                    <a:pt x="155853" y="60317"/>
                    <a:pt x="171236" y="60317"/>
                  </a:cubicBezTo>
                  <a:cubicBezTo>
                    <a:pt x="194310" y="60317"/>
                    <a:pt x="212932" y="65580"/>
                    <a:pt x="226290" y="75700"/>
                  </a:cubicBezTo>
                  <a:cubicBezTo>
                    <a:pt x="238435" y="84606"/>
                    <a:pt x="244102" y="95941"/>
                    <a:pt x="244102" y="110918"/>
                  </a:cubicBezTo>
                  <a:cubicBezTo>
                    <a:pt x="244102" y="119420"/>
                    <a:pt x="242078" y="130350"/>
                    <a:pt x="225481" y="140065"/>
                  </a:cubicBezTo>
                  <a:cubicBezTo>
                    <a:pt x="209693" y="149376"/>
                    <a:pt x="190667" y="153829"/>
                    <a:pt x="169212" y="153829"/>
                  </a:cubicBezTo>
                  <a:cubicBezTo>
                    <a:pt x="139256" y="153424"/>
                    <a:pt x="104847" y="147757"/>
                    <a:pt x="68009" y="136017"/>
                  </a:cubicBezTo>
                  <a:close/>
                  <a:moveTo>
                    <a:pt x="277297" y="238030"/>
                  </a:moveTo>
                  <a:lnTo>
                    <a:pt x="261509" y="252603"/>
                  </a:lnTo>
                  <a:cubicBezTo>
                    <a:pt x="247746" y="265152"/>
                    <a:pt x="232767" y="274868"/>
                    <a:pt x="217789" y="281749"/>
                  </a:cubicBezTo>
                  <a:cubicBezTo>
                    <a:pt x="203216" y="288227"/>
                    <a:pt x="185809" y="291465"/>
                    <a:pt x="165164" y="291465"/>
                  </a:cubicBezTo>
                  <a:cubicBezTo>
                    <a:pt x="146542" y="291465"/>
                    <a:pt x="129540" y="287012"/>
                    <a:pt x="113348" y="278106"/>
                  </a:cubicBezTo>
                  <a:cubicBezTo>
                    <a:pt x="97155" y="269200"/>
                    <a:pt x="84606" y="257056"/>
                    <a:pt x="74890" y="240458"/>
                  </a:cubicBezTo>
                  <a:cubicBezTo>
                    <a:pt x="66389" y="226290"/>
                    <a:pt x="61937" y="211312"/>
                    <a:pt x="60722" y="193905"/>
                  </a:cubicBezTo>
                  <a:cubicBezTo>
                    <a:pt x="75700" y="198763"/>
                    <a:pt x="89869" y="202406"/>
                    <a:pt x="103227" y="205645"/>
                  </a:cubicBezTo>
                  <a:cubicBezTo>
                    <a:pt x="124682" y="210907"/>
                    <a:pt x="147352" y="213336"/>
                    <a:pt x="170021" y="213336"/>
                  </a:cubicBezTo>
                  <a:cubicBezTo>
                    <a:pt x="191881" y="213336"/>
                    <a:pt x="212932" y="209693"/>
                    <a:pt x="232767" y="202406"/>
                  </a:cubicBezTo>
                  <a:cubicBezTo>
                    <a:pt x="253413" y="194715"/>
                    <a:pt x="270415" y="183380"/>
                    <a:pt x="283774" y="168807"/>
                  </a:cubicBezTo>
                  <a:cubicBezTo>
                    <a:pt x="297942" y="152614"/>
                    <a:pt x="305229" y="133183"/>
                    <a:pt x="305229" y="110514"/>
                  </a:cubicBezTo>
                  <a:cubicBezTo>
                    <a:pt x="305229" y="89059"/>
                    <a:pt x="299157" y="69628"/>
                    <a:pt x="286607" y="52221"/>
                  </a:cubicBezTo>
                  <a:cubicBezTo>
                    <a:pt x="274868" y="35623"/>
                    <a:pt x="258271" y="22265"/>
                    <a:pt x="237625" y="13359"/>
                  </a:cubicBezTo>
                  <a:cubicBezTo>
                    <a:pt x="217789" y="4453"/>
                    <a:pt x="195525" y="0"/>
                    <a:pt x="172045" y="0"/>
                  </a:cubicBezTo>
                  <a:cubicBezTo>
                    <a:pt x="143708" y="0"/>
                    <a:pt x="116181" y="7287"/>
                    <a:pt x="90273" y="21455"/>
                  </a:cubicBezTo>
                  <a:cubicBezTo>
                    <a:pt x="63961" y="36028"/>
                    <a:pt x="42101" y="57078"/>
                    <a:pt x="25503" y="85011"/>
                  </a:cubicBezTo>
                  <a:cubicBezTo>
                    <a:pt x="8501" y="112943"/>
                    <a:pt x="0" y="146542"/>
                    <a:pt x="0" y="184999"/>
                  </a:cubicBezTo>
                  <a:cubicBezTo>
                    <a:pt x="0" y="219408"/>
                    <a:pt x="8096" y="249769"/>
                    <a:pt x="24289" y="274868"/>
                  </a:cubicBezTo>
                  <a:cubicBezTo>
                    <a:pt x="40481" y="299966"/>
                    <a:pt x="61532" y="319397"/>
                    <a:pt x="87845" y="331946"/>
                  </a:cubicBezTo>
                  <a:cubicBezTo>
                    <a:pt x="113348" y="344495"/>
                    <a:pt x="140470" y="350973"/>
                    <a:pt x="168807" y="350973"/>
                  </a:cubicBezTo>
                  <a:cubicBezTo>
                    <a:pt x="195525" y="350973"/>
                    <a:pt x="219409" y="346115"/>
                    <a:pt x="240459" y="336399"/>
                  </a:cubicBezTo>
                  <a:cubicBezTo>
                    <a:pt x="260699" y="327088"/>
                    <a:pt x="280131" y="313730"/>
                    <a:pt x="298752" y="297132"/>
                  </a:cubicBezTo>
                  <a:lnTo>
                    <a:pt x="312920" y="284583"/>
                  </a:lnTo>
                  <a:lnTo>
                    <a:pt x="277297" y="238030"/>
                  </a:lnTo>
                  <a:close/>
                </a:path>
              </a:pathLst>
            </a:custGeom>
            <a:solidFill>
              <a:schemeClr val="lt1"/>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873" name="Google Shape;1873;p55"/>
            <p:cNvSpPr/>
            <p:nvPr/>
          </p:nvSpPr>
          <p:spPr>
            <a:xfrm>
              <a:off x="3227064" y="1481006"/>
              <a:ext cx="183683" cy="334577"/>
            </a:xfrm>
            <a:custGeom>
              <a:avLst/>
              <a:gdLst/>
              <a:ahLst/>
              <a:cxnLst/>
              <a:rect l="l" t="t" r="r" b="b"/>
              <a:pathLst>
                <a:path w="244911" h="446103" extrusionOk="0">
                  <a:moveTo>
                    <a:pt x="156662" y="0"/>
                  </a:moveTo>
                  <a:lnTo>
                    <a:pt x="87844" y="0"/>
                  </a:lnTo>
                  <a:lnTo>
                    <a:pt x="87844" y="98369"/>
                  </a:lnTo>
                  <a:lnTo>
                    <a:pt x="0" y="98369"/>
                  </a:lnTo>
                  <a:lnTo>
                    <a:pt x="0" y="159496"/>
                  </a:lnTo>
                  <a:lnTo>
                    <a:pt x="87844" y="159496"/>
                  </a:lnTo>
                  <a:lnTo>
                    <a:pt x="87844" y="446103"/>
                  </a:lnTo>
                  <a:lnTo>
                    <a:pt x="156662" y="446103"/>
                  </a:lnTo>
                  <a:lnTo>
                    <a:pt x="156662" y="159496"/>
                  </a:lnTo>
                  <a:lnTo>
                    <a:pt x="244912" y="159496"/>
                  </a:lnTo>
                  <a:lnTo>
                    <a:pt x="244912" y="98369"/>
                  </a:lnTo>
                  <a:lnTo>
                    <a:pt x="156662" y="98369"/>
                  </a:lnTo>
                  <a:close/>
                </a:path>
              </a:pathLst>
            </a:custGeom>
            <a:solidFill>
              <a:schemeClr val="lt1"/>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874" name="Google Shape;1874;p55"/>
            <p:cNvSpPr/>
            <p:nvPr/>
          </p:nvSpPr>
          <p:spPr>
            <a:xfrm>
              <a:off x="4047416" y="1554480"/>
              <a:ext cx="140875" cy="261104"/>
            </a:xfrm>
            <a:custGeom>
              <a:avLst/>
              <a:gdLst/>
              <a:ahLst/>
              <a:cxnLst/>
              <a:rect l="l" t="t" r="r" b="b"/>
              <a:pathLst>
                <a:path w="187833" h="348138" extrusionOk="0">
                  <a:moveTo>
                    <a:pt x="4048" y="405"/>
                  </a:moveTo>
                  <a:lnTo>
                    <a:pt x="0" y="405"/>
                  </a:lnTo>
                  <a:lnTo>
                    <a:pt x="0" y="348139"/>
                  </a:lnTo>
                  <a:lnTo>
                    <a:pt x="69628" y="348139"/>
                  </a:lnTo>
                  <a:lnTo>
                    <a:pt x="69628" y="61127"/>
                  </a:lnTo>
                  <a:lnTo>
                    <a:pt x="187833" y="61127"/>
                  </a:lnTo>
                  <a:lnTo>
                    <a:pt x="187833" y="0"/>
                  </a:lnTo>
                  <a:lnTo>
                    <a:pt x="4048" y="0"/>
                  </a:lnTo>
                  <a:close/>
                </a:path>
              </a:pathLst>
            </a:custGeom>
            <a:solidFill>
              <a:schemeClr val="lt1"/>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grpSp>
      <p:sp>
        <p:nvSpPr>
          <p:cNvPr id="1875" name="Google Shape;1875;p55"/>
          <p:cNvSpPr txBox="1">
            <a:spLocks noGrp="1"/>
          </p:cNvSpPr>
          <p:nvPr>
            <p:ph type="title"/>
          </p:nvPr>
        </p:nvSpPr>
        <p:spPr>
          <a:xfrm>
            <a:off x="1338600" y="2902417"/>
            <a:ext cx="9514800" cy="1033200"/>
          </a:xfrm>
          <a:prstGeom prst="rect">
            <a:avLst/>
          </a:prstGeom>
          <a:noFill/>
        </p:spPr>
        <p:txBody>
          <a:bodyPr spcFirstLastPara="1" wrap="square" lIns="0" tIns="91425" rIns="91425" bIns="91425" anchor="t" anchorCtr="0">
            <a:noAutofit/>
          </a:bodyPr>
          <a:lstStyle>
            <a:lvl1pPr lvl="0" algn="ctr" rtl="0">
              <a:lnSpc>
                <a:spcPct val="85000"/>
              </a:lnSpc>
              <a:spcBef>
                <a:spcPts val="0"/>
              </a:spcBef>
              <a:spcAft>
                <a:spcPts val="0"/>
              </a:spcAft>
              <a:buClr>
                <a:schemeClr val="lt1"/>
              </a:buClr>
              <a:buSzPts val="4600"/>
              <a:buFont typeface="Inter Medium"/>
              <a:buNone/>
              <a:defRPr sz="6133">
                <a:solidFill>
                  <a:schemeClr val="lt1"/>
                </a:solidFill>
                <a:latin typeface="Inter Medium"/>
                <a:ea typeface="Inter Medium"/>
                <a:cs typeface="Inter Medium"/>
                <a:sym typeface="Inter Medium"/>
              </a:defRPr>
            </a:lvl1pPr>
            <a:lvl2pPr lvl="1" rtl="0">
              <a:spcBef>
                <a:spcPts val="0"/>
              </a:spcBef>
              <a:spcAft>
                <a:spcPts val="0"/>
              </a:spcAft>
              <a:buSzPts val="1100"/>
              <a:buNone/>
              <a:defRPr/>
            </a:lvl2pPr>
            <a:lvl3pPr lvl="2" rtl="0">
              <a:spcBef>
                <a:spcPts val="0"/>
              </a:spcBef>
              <a:spcAft>
                <a:spcPts val="0"/>
              </a:spcAft>
              <a:buSzPts val="1100"/>
              <a:buNone/>
              <a:defRPr/>
            </a:lvl3pPr>
            <a:lvl4pPr lvl="3" rtl="0">
              <a:spcBef>
                <a:spcPts val="0"/>
              </a:spcBef>
              <a:spcAft>
                <a:spcPts val="0"/>
              </a:spcAft>
              <a:buSzPts val="1100"/>
              <a:buNone/>
              <a:defRPr/>
            </a:lvl4pPr>
            <a:lvl5pPr lvl="4" rtl="0">
              <a:spcBef>
                <a:spcPts val="0"/>
              </a:spcBef>
              <a:spcAft>
                <a:spcPts val="0"/>
              </a:spcAft>
              <a:buSzPts val="1100"/>
              <a:buNone/>
              <a:defRPr/>
            </a:lvl5pPr>
            <a:lvl6pPr lvl="5" rtl="0">
              <a:spcBef>
                <a:spcPts val="0"/>
              </a:spcBef>
              <a:spcAft>
                <a:spcPts val="0"/>
              </a:spcAft>
              <a:buSzPts val="1100"/>
              <a:buNone/>
              <a:defRPr/>
            </a:lvl6pPr>
            <a:lvl7pPr lvl="6" rtl="0">
              <a:spcBef>
                <a:spcPts val="0"/>
              </a:spcBef>
              <a:spcAft>
                <a:spcPts val="0"/>
              </a:spcAft>
              <a:buSzPts val="1100"/>
              <a:buNone/>
              <a:defRPr/>
            </a:lvl7pPr>
            <a:lvl8pPr lvl="7" rtl="0">
              <a:spcBef>
                <a:spcPts val="0"/>
              </a:spcBef>
              <a:spcAft>
                <a:spcPts val="0"/>
              </a:spcAft>
              <a:buSzPts val="1100"/>
              <a:buNone/>
              <a:defRPr/>
            </a:lvl8pPr>
            <a:lvl9pPr lvl="8" rtl="0">
              <a:spcBef>
                <a:spcPts val="0"/>
              </a:spcBef>
              <a:spcAft>
                <a:spcPts val="0"/>
              </a:spcAft>
              <a:buSzPts val="1100"/>
              <a:buNone/>
              <a:defRPr/>
            </a:lvl9pPr>
          </a:lstStyle>
          <a:p>
            <a:endParaRPr/>
          </a:p>
        </p:txBody>
      </p:sp>
      <p:sp>
        <p:nvSpPr>
          <p:cNvPr id="1876" name="Google Shape;1876;p55"/>
          <p:cNvSpPr txBox="1"/>
          <p:nvPr/>
        </p:nvSpPr>
        <p:spPr>
          <a:xfrm>
            <a:off x="5451800" y="6245247"/>
            <a:ext cx="1288400" cy="273200"/>
          </a:xfrm>
          <a:prstGeom prst="rect">
            <a:avLst/>
          </a:prstGeom>
          <a:noFill/>
          <a:ln>
            <a:noFill/>
          </a:ln>
        </p:spPr>
        <p:txBody>
          <a:bodyPr spcFirstLastPara="1" wrap="square" lIns="0" tIns="0" rIns="0" bIns="0" anchor="b" anchorCtr="0">
            <a:noAutofit/>
          </a:bodyPr>
          <a:lstStyle/>
          <a:p>
            <a:pPr marL="0" lvl="0" indent="0" algn="ctr" rtl="0">
              <a:spcBef>
                <a:spcPts val="0"/>
              </a:spcBef>
              <a:spcAft>
                <a:spcPts val="0"/>
              </a:spcAft>
              <a:buNone/>
            </a:pPr>
            <a:r>
              <a:rPr lang="en-GB" sz="667">
                <a:solidFill>
                  <a:schemeClr val="lt1"/>
                </a:solidFill>
                <a:latin typeface="Inter"/>
                <a:ea typeface="Inter"/>
                <a:cs typeface="Inter"/>
                <a:sym typeface="Inter"/>
              </a:rPr>
              <a:t>Private and Confidential</a:t>
            </a:r>
            <a:endParaRPr sz="667">
              <a:solidFill>
                <a:schemeClr val="lt1"/>
              </a:solidFill>
              <a:latin typeface="Inter"/>
              <a:ea typeface="Inter"/>
              <a:cs typeface="Inter"/>
              <a:sym typeface="Inter"/>
            </a:endParaRPr>
          </a:p>
        </p:txBody>
      </p:sp>
      <p:sp>
        <p:nvSpPr>
          <p:cNvPr id="1877" name="Google Shape;1877;p55"/>
          <p:cNvSpPr/>
          <p:nvPr/>
        </p:nvSpPr>
        <p:spPr>
          <a:xfrm>
            <a:off x="4242507" y="-6190678"/>
            <a:ext cx="2210435" cy="6890385"/>
          </a:xfrm>
          <a:custGeom>
            <a:avLst/>
            <a:gdLst/>
            <a:ahLst/>
            <a:cxnLst/>
            <a:rect l="l" t="t" r="r" b="b"/>
            <a:pathLst>
              <a:path w="2210434" h="6890385" extrusionOk="0">
                <a:moveTo>
                  <a:pt x="224155" y="6890385"/>
                </a:moveTo>
                <a:lnTo>
                  <a:pt x="2210435" y="0"/>
                </a:lnTo>
                <a:lnTo>
                  <a:pt x="1986280" y="0"/>
                </a:lnTo>
                <a:lnTo>
                  <a:pt x="0" y="6890385"/>
                </a:lnTo>
                <a:close/>
              </a:path>
            </a:pathLst>
          </a:custGeom>
          <a:solidFill>
            <a:schemeClr val="accent2"/>
          </a:solidFill>
          <a:ln>
            <a:noFill/>
          </a:ln>
        </p:spPr>
        <p:txBody>
          <a:bodyPr spcFirstLastPara="1" wrap="square" lIns="91433" tIns="45700" rIns="91433" bIns="45700"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81955059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matchingName="Title Slide - Pattern 2">
  <p:cSld name="Title Slide - Pattern 2">
    <p:bg>
      <p:bgPr>
        <a:solidFill>
          <a:schemeClr val="dk2"/>
        </a:solidFill>
        <a:effectLst/>
      </p:bgPr>
    </p:bg>
    <p:spTree>
      <p:nvGrpSpPr>
        <p:cNvPr id="1" name="Shape 1878"/>
        <p:cNvGrpSpPr/>
        <p:nvPr/>
      </p:nvGrpSpPr>
      <p:grpSpPr>
        <a:xfrm>
          <a:off x="0" y="0"/>
          <a:ext cx="0" cy="0"/>
          <a:chOff x="0" y="0"/>
          <a:chExt cx="0" cy="0"/>
        </a:xfrm>
      </p:grpSpPr>
      <p:grpSp>
        <p:nvGrpSpPr>
          <p:cNvPr id="1879" name="Google Shape;1879;p56"/>
          <p:cNvGrpSpPr/>
          <p:nvPr/>
        </p:nvGrpSpPr>
        <p:grpSpPr>
          <a:xfrm>
            <a:off x="5280899" y="5003383"/>
            <a:ext cx="1629909" cy="273183"/>
            <a:chOff x="2455289" y="1451556"/>
            <a:chExt cx="2208151" cy="370100"/>
          </a:xfrm>
        </p:grpSpPr>
        <p:sp>
          <p:nvSpPr>
            <p:cNvPr id="1880" name="Google Shape;1880;p56"/>
            <p:cNvSpPr/>
            <p:nvPr/>
          </p:nvSpPr>
          <p:spPr>
            <a:xfrm>
              <a:off x="2876395" y="1554783"/>
              <a:ext cx="221938" cy="264747"/>
            </a:xfrm>
            <a:custGeom>
              <a:avLst/>
              <a:gdLst/>
              <a:ahLst/>
              <a:cxnLst/>
              <a:rect l="l" t="t" r="r" b="b"/>
              <a:pathLst>
                <a:path w="295917" h="352996" extrusionOk="0">
                  <a:moveTo>
                    <a:pt x="225076" y="193096"/>
                  </a:moveTo>
                  <a:cubicBezTo>
                    <a:pt x="225076" y="250174"/>
                    <a:pt x="194310" y="284988"/>
                    <a:pt x="148566" y="284988"/>
                  </a:cubicBezTo>
                  <a:cubicBezTo>
                    <a:pt x="101608" y="284988"/>
                    <a:pt x="70842" y="250174"/>
                    <a:pt x="70842" y="193096"/>
                  </a:cubicBezTo>
                  <a:lnTo>
                    <a:pt x="70842" y="0"/>
                  </a:lnTo>
                  <a:lnTo>
                    <a:pt x="0" y="0"/>
                  </a:lnTo>
                  <a:lnTo>
                    <a:pt x="0" y="191477"/>
                  </a:lnTo>
                  <a:cubicBezTo>
                    <a:pt x="0" y="289441"/>
                    <a:pt x="54245" y="352997"/>
                    <a:pt x="146542" y="352997"/>
                  </a:cubicBezTo>
                  <a:cubicBezTo>
                    <a:pt x="238030" y="352997"/>
                    <a:pt x="295918" y="288227"/>
                    <a:pt x="295918" y="191477"/>
                  </a:cubicBezTo>
                  <a:lnTo>
                    <a:pt x="295918" y="0"/>
                  </a:lnTo>
                  <a:lnTo>
                    <a:pt x="225076" y="0"/>
                  </a:lnTo>
                  <a:lnTo>
                    <a:pt x="225076" y="193096"/>
                  </a:lnTo>
                  <a:close/>
                </a:path>
              </a:pathLst>
            </a:custGeom>
            <a:solidFill>
              <a:schemeClr val="lt1"/>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881" name="Google Shape;1881;p56"/>
            <p:cNvSpPr/>
            <p:nvPr/>
          </p:nvSpPr>
          <p:spPr>
            <a:xfrm>
              <a:off x="3150858" y="1452164"/>
              <a:ext cx="52220" cy="364027"/>
            </a:xfrm>
            <a:custGeom>
              <a:avLst/>
              <a:gdLst/>
              <a:ahLst/>
              <a:cxnLst/>
              <a:rect l="l" t="t" r="r" b="b"/>
              <a:pathLst>
                <a:path w="69627" h="485370" extrusionOk="0">
                  <a:moveTo>
                    <a:pt x="0" y="0"/>
                  </a:moveTo>
                  <a:lnTo>
                    <a:pt x="69628" y="0"/>
                  </a:lnTo>
                  <a:lnTo>
                    <a:pt x="69628" y="485370"/>
                  </a:lnTo>
                  <a:lnTo>
                    <a:pt x="0" y="485370"/>
                  </a:lnTo>
                  <a:close/>
                </a:path>
              </a:pathLst>
            </a:custGeom>
            <a:solidFill>
              <a:schemeClr val="lt1"/>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882" name="Google Shape;1882;p56"/>
            <p:cNvSpPr/>
            <p:nvPr/>
          </p:nvSpPr>
          <p:spPr>
            <a:xfrm>
              <a:off x="3440501" y="1555087"/>
              <a:ext cx="52220" cy="260800"/>
            </a:xfrm>
            <a:custGeom>
              <a:avLst/>
              <a:gdLst/>
              <a:ahLst/>
              <a:cxnLst/>
              <a:rect l="l" t="t" r="r" b="b"/>
              <a:pathLst>
                <a:path w="69627" h="347733" extrusionOk="0">
                  <a:moveTo>
                    <a:pt x="0" y="0"/>
                  </a:moveTo>
                  <a:lnTo>
                    <a:pt x="69627" y="0"/>
                  </a:lnTo>
                  <a:lnTo>
                    <a:pt x="69627" y="347734"/>
                  </a:lnTo>
                  <a:lnTo>
                    <a:pt x="0" y="347734"/>
                  </a:lnTo>
                  <a:close/>
                </a:path>
              </a:pathLst>
            </a:custGeom>
            <a:solidFill>
              <a:schemeClr val="lt1"/>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883" name="Google Shape;1883;p56"/>
            <p:cNvSpPr/>
            <p:nvPr/>
          </p:nvSpPr>
          <p:spPr>
            <a:xfrm>
              <a:off x="3517618" y="1555087"/>
              <a:ext cx="257764" cy="261104"/>
            </a:xfrm>
            <a:custGeom>
              <a:avLst/>
              <a:gdLst/>
              <a:ahLst/>
              <a:cxnLst/>
              <a:rect l="l" t="t" r="r" b="b"/>
              <a:pathLst>
                <a:path w="343685" h="348138" extrusionOk="0">
                  <a:moveTo>
                    <a:pt x="269200" y="0"/>
                  </a:moveTo>
                  <a:lnTo>
                    <a:pt x="172045" y="255842"/>
                  </a:lnTo>
                  <a:lnTo>
                    <a:pt x="74081" y="0"/>
                  </a:lnTo>
                  <a:lnTo>
                    <a:pt x="0" y="0"/>
                  </a:lnTo>
                  <a:lnTo>
                    <a:pt x="136422" y="348139"/>
                  </a:lnTo>
                  <a:lnTo>
                    <a:pt x="207264" y="348139"/>
                  </a:lnTo>
                  <a:lnTo>
                    <a:pt x="343686" y="0"/>
                  </a:lnTo>
                  <a:close/>
                </a:path>
              </a:pathLst>
            </a:custGeom>
            <a:solidFill>
              <a:schemeClr val="lt1"/>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884" name="Google Shape;1884;p56"/>
            <p:cNvSpPr/>
            <p:nvPr/>
          </p:nvSpPr>
          <p:spPr>
            <a:xfrm>
              <a:off x="4209848" y="1549621"/>
              <a:ext cx="188541" cy="272034"/>
            </a:xfrm>
            <a:custGeom>
              <a:avLst/>
              <a:gdLst/>
              <a:ahLst/>
              <a:cxnLst/>
              <a:rect l="l" t="t" r="r" b="b"/>
              <a:pathLst>
                <a:path w="251388" h="362712" extrusionOk="0">
                  <a:moveTo>
                    <a:pt x="150591" y="148971"/>
                  </a:moveTo>
                  <a:lnTo>
                    <a:pt x="109704" y="139660"/>
                  </a:lnTo>
                  <a:cubicBezTo>
                    <a:pt x="84606" y="133588"/>
                    <a:pt x="72057" y="120229"/>
                    <a:pt x="72057" y="102013"/>
                  </a:cubicBezTo>
                  <a:cubicBezTo>
                    <a:pt x="72057" y="76915"/>
                    <a:pt x="95131" y="61531"/>
                    <a:pt x="126302" y="62341"/>
                  </a:cubicBezTo>
                  <a:cubicBezTo>
                    <a:pt x="145328" y="62341"/>
                    <a:pt x="164759" y="68413"/>
                    <a:pt x="183380" y="77724"/>
                  </a:cubicBezTo>
                  <a:cubicBezTo>
                    <a:pt x="206454" y="88654"/>
                    <a:pt x="225886" y="104037"/>
                    <a:pt x="233577" y="111324"/>
                  </a:cubicBezTo>
                  <a:lnTo>
                    <a:pt x="233577" y="38457"/>
                  </a:lnTo>
                  <a:cubicBezTo>
                    <a:pt x="221837" y="29551"/>
                    <a:pt x="178522" y="0"/>
                    <a:pt x="123063" y="0"/>
                  </a:cubicBezTo>
                  <a:cubicBezTo>
                    <a:pt x="46149" y="0"/>
                    <a:pt x="0" y="51411"/>
                    <a:pt x="0" y="107680"/>
                  </a:cubicBezTo>
                  <a:cubicBezTo>
                    <a:pt x="0" y="161115"/>
                    <a:pt x="37648" y="187428"/>
                    <a:pt x="87439" y="199573"/>
                  </a:cubicBezTo>
                  <a:lnTo>
                    <a:pt x="127111" y="208883"/>
                  </a:lnTo>
                  <a:cubicBezTo>
                    <a:pt x="162330" y="216980"/>
                    <a:pt x="179332" y="229934"/>
                    <a:pt x="179332" y="254222"/>
                  </a:cubicBezTo>
                  <a:cubicBezTo>
                    <a:pt x="179332" y="278511"/>
                    <a:pt x="158687" y="301585"/>
                    <a:pt x="121039" y="301585"/>
                  </a:cubicBezTo>
                  <a:cubicBezTo>
                    <a:pt x="97155" y="301585"/>
                    <a:pt x="73271" y="293489"/>
                    <a:pt x="54245" y="282559"/>
                  </a:cubicBezTo>
                  <a:cubicBezTo>
                    <a:pt x="31171" y="270415"/>
                    <a:pt x="13764" y="255437"/>
                    <a:pt x="9311" y="250984"/>
                  </a:cubicBezTo>
                  <a:lnTo>
                    <a:pt x="8096" y="325065"/>
                  </a:lnTo>
                  <a:cubicBezTo>
                    <a:pt x="12549" y="329922"/>
                    <a:pt x="52626" y="362712"/>
                    <a:pt x="123468" y="362712"/>
                  </a:cubicBezTo>
                  <a:cubicBezTo>
                    <a:pt x="202406" y="362712"/>
                    <a:pt x="251388" y="307253"/>
                    <a:pt x="251388" y="250984"/>
                  </a:cubicBezTo>
                  <a:cubicBezTo>
                    <a:pt x="250579" y="201597"/>
                    <a:pt x="216979" y="163949"/>
                    <a:pt x="150591" y="148971"/>
                  </a:cubicBezTo>
                  <a:close/>
                </a:path>
              </a:pathLst>
            </a:custGeom>
            <a:solidFill>
              <a:schemeClr val="lt1"/>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885" name="Google Shape;1885;p56"/>
            <p:cNvSpPr/>
            <p:nvPr/>
          </p:nvSpPr>
          <p:spPr>
            <a:xfrm>
              <a:off x="3775382" y="1552051"/>
              <a:ext cx="242584" cy="267176"/>
            </a:xfrm>
            <a:custGeom>
              <a:avLst/>
              <a:gdLst/>
              <a:ahLst/>
              <a:cxnLst/>
              <a:rect l="l" t="t" r="r" b="b"/>
              <a:pathLst>
                <a:path w="323445" h="356235" extrusionOk="0">
                  <a:moveTo>
                    <a:pt x="70842" y="150995"/>
                  </a:moveTo>
                  <a:cubicBezTo>
                    <a:pt x="79343" y="101203"/>
                    <a:pt x="112538" y="64770"/>
                    <a:pt x="164758" y="64770"/>
                  </a:cubicBezTo>
                  <a:cubicBezTo>
                    <a:pt x="216575" y="64770"/>
                    <a:pt x="247340" y="101203"/>
                    <a:pt x="255437" y="150995"/>
                  </a:cubicBezTo>
                  <a:lnTo>
                    <a:pt x="70842" y="150995"/>
                  </a:lnTo>
                  <a:close/>
                  <a:moveTo>
                    <a:pt x="164758" y="0"/>
                  </a:moveTo>
                  <a:cubicBezTo>
                    <a:pt x="70842" y="0"/>
                    <a:pt x="0" y="79748"/>
                    <a:pt x="0" y="178118"/>
                  </a:cubicBezTo>
                  <a:cubicBezTo>
                    <a:pt x="0" y="276487"/>
                    <a:pt x="76914" y="356235"/>
                    <a:pt x="180546" y="356235"/>
                  </a:cubicBezTo>
                  <a:cubicBezTo>
                    <a:pt x="259889" y="356235"/>
                    <a:pt x="303609" y="317778"/>
                    <a:pt x="303609" y="317778"/>
                  </a:cubicBezTo>
                  <a:lnTo>
                    <a:pt x="303609" y="246936"/>
                  </a:lnTo>
                  <a:cubicBezTo>
                    <a:pt x="303609" y="246936"/>
                    <a:pt x="255437" y="290655"/>
                    <a:pt x="185809" y="290655"/>
                  </a:cubicBezTo>
                  <a:cubicBezTo>
                    <a:pt x="123063" y="290655"/>
                    <a:pt x="81772" y="255032"/>
                    <a:pt x="71247" y="204835"/>
                  </a:cubicBezTo>
                  <a:lnTo>
                    <a:pt x="322231" y="204835"/>
                  </a:lnTo>
                  <a:cubicBezTo>
                    <a:pt x="323041" y="195929"/>
                    <a:pt x="323445" y="186618"/>
                    <a:pt x="323445" y="177713"/>
                  </a:cubicBezTo>
                  <a:cubicBezTo>
                    <a:pt x="323445" y="79748"/>
                    <a:pt x="256247" y="0"/>
                    <a:pt x="164758" y="0"/>
                  </a:cubicBezTo>
                  <a:close/>
                </a:path>
              </a:pathLst>
            </a:custGeom>
            <a:solidFill>
              <a:schemeClr val="lt1"/>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886" name="Google Shape;1886;p56"/>
            <p:cNvSpPr/>
            <p:nvPr/>
          </p:nvSpPr>
          <p:spPr>
            <a:xfrm>
              <a:off x="3429268" y="1451556"/>
              <a:ext cx="74687" cy="65883"/>
            </a:xfrm>
            <a:custGeom>
              <a:avLst/>
              <a:gdLst/>
              <a:ahLst/>
              <a:cxnLst/>
              <a:rect l="l" t="t" r="r" b="b"/>
              <a:pathLst>
                <a:path w="99583" h="87844" extrusionOk="0">
                  <a:moveTo>
                    <a:pt x="24693" y="0"/>
                  </a:moveTo>
                  <a:lnTo>
                    <a:pt x="0" y="43720"/>
                  </a:lnTo>
                  <a:lnTo>
                    <a:pt x="24693" y="87844"/>
                  </a:lnTo>
                  <a:lnTo>
                    <a:pt x="74890" y="87844"/>
                  </a:lnTo>
                  <a:lnTo>
                    <a:pt x="99584" y="43720"/>
                  </a:lnTo>
                  <a:lnTo>
                    <a:pt x="74890" y="0"/>
                  </a:lnTo>
                  <a:close/>
                </a:path>
              </a:pathLst>
            </a:custGeom>
            <a:solidFill>
              <a:schemeClr val="lt1"/>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887" name="Google Shape;1887;p56"/>
            <p:cNvSpPr/>
            <p:nvPr/>
          </p:nvSpPr>
          <p:spPr>
            <a:xfrm>
              <a:off x="2455288" y="1554783"/>
              <a:ext cx="375868" cy="261103"/>
            </a:xfrm>
            <a:custGeom>
              <a:avLst/>
              <a:gdLst/>
              <a:ahLst/>
              <a:cxnLst/>
              <a:rect l="l" t="t" r="r" b="b"/>
              <a:pathLst>
                <a:path w="501157" h="348138" extrusionOk="0">
                  <a:moveTo>
                    <a:pt x="433149" y="405"/>
                  </a:moveTo>
                  <a:lnTo>
                    <a:pt x="422219" y="405"/>
                  </a:lnTo>
                  <a:lnTo>
                    <a:pt x="422219" y="405"/>
                  </a:lnTo>
                  <a:lnTo>
                    <a:pt x="422219" y="405"/>
                  </a:lnTo>
                  <a:lnTo>
                    <a:pt x="284988" y="230338"/>
                  </a:lnTo>
                  <a:cubicBezTo>
                    <a:pt x="284988" y="192286"/>
                    <a:pt x="284178" y="405"/>
                    <a:pt x="284178" y="405"/>
                  </a:cubicBezTo>
                  <a:lnTo>
                    <a:pt x="216575" y="405"/>
                  </a:lnTo>
                  <a:lnTo>
                    <a:pt x="205645" y="405"/>
                  </a:lnTo>
                  <a:lnTo>
                    <a:pt x="205645" y="405"/>
                  </a:lnTo>
                  <a:lnTo>
                    <a:pt x="205645" y="405"/>
                  </a:lnTo>
                  <a:lnTo>
                    <a:pt x="69223" y="229529"/>
                  </a:lnTo>
                  <a:lnTo>
                    <a:pt x="68818" y="216170"/>
                  </a:lnTo>
                  <a:lnTo>
                    <a:pt x="69628" y="405"/>
                  </a:lnTo>
                  <a:lnTo>
                    <a:pt x="0" y="405"/>
                  </a:lnTo>
                  <a:lnTo>
                    <a:pt x="0" y="348139"/>
                  </a:lnTo>
                  <a:lnTo>
                    <a:pt x="69628" y="348139"/>
                  </a:lnTo>
                  <a:cubicBezTo>
                    <a:pt x="74081" y="340852"/>
                    <a:pt x="84606" y="322636"/>
                    <a:pt x="98369" y="299157"/>
                  </a:cubicBezTo>
                  <a:lnTo>
                    <a:pt x="216575" y="100394"/>
                  </a:lnTo>
                  <a:lnTo>
                    <a:pt x="216575" y="347734"/>
                  </a:lnTo>
                  <a:lnTo>
                    <a:pt x="285393" y="347734"/>
                  </a:lnTo>
                  <a:cubicBezTo>
                    <a:pt x="285393" y="347734"/>
                    <a:pt x="285393" y="347734"/>
                    <a:pt x="285393" y="347734"/>
                  </a:cubicBezTo>
                  <a:lnTo>
                    <a:pt x="285393" y="347734"/>
                  </a:lnTo>
                  <a:lnTo>
                    <a:pt x="432340" y="101608"/>
                  </a:lnTo>
                  <a:lnTo>
                    <a:pt x="432340" y="347734"/>
                  </a:lnTo>
                  <a:lnTo>
                    <a:pt x="501158" y="347734"/>
                  </a:lnTo>
                  <a:lnTo>
                    <a:pt x="501158" y="0"/>
                  </a:lnTo>
                  <a:lnTo>
                    <a:pt x="433149" y="0"/>
                  </a:lnTo>
                  <a:close/>
                </a:path>
              </a:pathLst>
            </a:custGeom>
            <a:solidFill>
              <a:schemeClr val="lt1"/>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888" name="Google Shape;1888;p56"/>
            <p:cNvSpPr/>
            <p:nvPr/>
          </p:nvSpPr>
          <p:spPr>
            <a:xfrm>
              <a:off x="4428749" y="1553569"/>
              <a:ext cx="234690" cy="263229"/>
            </a:xfrm>
            <a:custGeom>
              <a:avLst/>
              <a:gdLst/>
              <a:ahLst/>
              <a:cxnLst/>
              <a:rect l="l" t="t" r="r" b="b"/>
              <a:pathLst>
                <a:path w="312920" h="350972" extrusionOk="0">
                  <a:moveTo>
                    <a:pt x="68009" y="136017"/>
                  </a:moveTo>
                  <a:cubicBezTo>
                    <a:pt x="72057" y="123468"/>
                    <a:pt x="78129" y="112538"/>
                    <a:pt x="85821" y="103227"/>
                  </a:cubicBezTo>
                  <a:cubicBezTo>
                    <a:pt x="97155" y="89059"/>
                    <a:pt x="110514" y="78533"/>
                    <a:pt x="125492" y="71247"/>
                  </a:cubicBezTo>
                  <a:cubicBezTo>
                    <a:pt x="140470" y="63960"/>
                    <a:pt x="155853" y="60317"/>
                    <a:pt x="171236" y="60317"/>
                  </a:cubicBezTo>
                  <a:cubicBezTo>
                    <a:pt x="194310" y="60317"/>
                    <a:pt x="212932" y="65580"/>
                    <a:pt x="226290" y="75700"/>
                  </a:cubicBezTo>
                  <a:cubicBezTo>
                    <a:pt x="238435" y="84606"/>
                    <a:pt x="244102" y="95941"/>
                    <a:pt x="244102" y="110918"/>
                  </a:cubicBezTo>
                  <a:cubicBezTo>
                    <a:pt x="244102" y="119420"/>
                    <a:pt x="242078" y="130350"/>
                    <a:pt x="225481" y="140065"/>
                  </a:cubicBezTo>
                  <a:cubicBezTo>
                    <a:pt x="209693" y="149376"/>
                    <a:pt x="190667" y="153829"/>
                    <a:pt x="169212" y="153829"/>
                  </a:cubicBezTo>
                  <a:cubicBezTo>
                    <a:pt x="139256" y="153424"/>
                    <a:pt x="104847" y="147757"/>
                    <a:pt x="68009" y="136017"/>
                  </a:cubicBezTo>
                  <a:close/>
                  <a:moveTo>
                    <a:pt x="277297" y="238030"/>
                  </a:moveTo>
                  <a:lnTo>
                    <a:pt x="261509" y="252603"/>
                  </a:lnTo>
                  <a:cubicBezTo>
                    <a:pt x="247746" y="265152"/>
                    <a:pt x="232767" y="274868"/>
                    <a:pt x="217789" y="281749"/>
                  </a:cubicBezTo>
                  <a:cubicBezTo>
                    <a:pt x="203216" y="288227"/>
                    <a:pt x="185809" y="291465"/>
                    <a:pt x="165164" y="291465"/>
                  </a:cubicBezTo>
                  <a:cubicBezTo>
                    <a:pt x="146542" y="291465"/>
                    <a:pt x="129540" y="287012"/>
                    <a:pt x="113348" y="278106"/>
                  </a:cubicBezTo>
                  <a:cubicBezTo>
                    <a:pt x="97155" y="269200"/>
                    <a:pt x="84606" y="257056"/>
                    <a:pt x="74890" y="240458"/>
                  </a:cubicBezTo>
                  <a:cubicBezTo>
                    <a:pt x="66389" y="226290"/>
                    <a:pt x="61937" y="211312"/>
                    <a:pt x="60722" y="193905"/>
                  </a:cubicBezTo>
                  <a:cubicBezTo>
                    <a:pt x="75700" y="198763"/>
                    <a:pt x="89869" y="202406"/>
                    <a:pt x="103227" y="205645"/>
                  </a:cubicBezTo>
                  <a:cubicBezTo>
                    <a:pt x="124682" y="210907"/>
                    <a:pt x="147352" y="213336"/>
                    <a:pt x="170021" y="213336"/>
                  </a:cubicBezTo>
                  <a:cubicBezTo>
                    <a:pt x="191881" y="213336"/>
                    <a:pt x="212932" y="209693"/>
                    <a:pt x="232767" y="202406"/>
                  </a:cubicBezTo>
                  <a:cubicBezTo>
                    <a:pt x="253413" y="194715"/>
                    <a:pt x="270415" y="183380"/>
                    <a:pt x="283774" y="168807"/>
                  </a:cubicBezTo>
                  <a:cubicBezTo>
                    <a:pt x="297942" y="152614"/>
                    <a:pt x="305229" y="133183"/>
                    <a:pt x="305229" y="110514"/>
                  </a:cubicBezTo>
                  <a:cubicBezTo>
                    <a:pt x="305229" y="89059"/>
                    <a:pt x="299157" y="69628"/>
                    <a:pt x="286607" y="52221"/>
                  </a:cubicBezTo>
                  <a:cubicBezTo>
                    <a:pt x="274868" y="35623"/>
                    <a:pt x="258271" y="22265"/>
                    <a:pt x="237625" y="13359"/>
                  </a:cubicBezTo>
                  <a:cubicBezTo>
                    <a:pt x="217789" y="4453"/>
                    <a:pt x="195525" y="0"/>
                    <a:pt x="172045" y="0"/>
                  </a:cubicBezTo>
                  <a:cubicBezTo>
                    <a:pt x="143708" y="0"/>
                    <a:pt x="116181" y="7287"/>
                    <a:pt x="90273" y="21455"/>
                  </a:cubicBezTo>
                  <a:cubicBezTo>
                    <a:pt x="63961" y="36028"/>
                    <a:pt x="42101" y="57078"/>
                    <a:pt x="25503" y="85011"/>
                  </a:cubicBezTo>
                  <a:cubicBezTo>
                    <a:pt x="8501" y="112943"/>
                    <a:pt x="0" y="146542"/>
                    <a:pt x="0" y="184999"/>
                  </a:cubicBezTo>
                  <a:cubicBezTo>
                    <a:pt x="0" y="219408"/>
                    <a:pt x="8096" y="249769"/>
                    <a:pt x="24289" y="274868"/>
                  </a:cubicBezTo>
                  <a:cubicBezTo>
                    <a:pt x="40481" y="299966"/>
                    <a:pt x="61532" y="319397"/>
                    <a:pt x="87845" y="331946"/>
                  </a:cubicBezTo>
                  <a:cubicBezTo>
                    <a:pt x="113348" y="344495"/>
                    <a:pt x="140470" y="350973"/>
                    <a:pt x="168807" y="350973"/>
                  </a:cubicBezTo>
                  <a:cubicBezTo>
                    <a:pt x="195525" y="350973"/>
                    <a:pt x="219409" y="346115"/>
                    <a:pt x="240459" y="336399"/>
                  </a:cubicBezTo>
                  <a:cubicBezTo>
                    <a:pt x="260699" y="327088"/>
                    <a:pt x="280131" y="313730"/>
                    <a:pt x="298752" y="297132"/>
                  </a:cubicBezTo>
                  <a:lnTo>
                    <a:pt x="312920" y="284583"/>
                  </a:lnTo>
                  <a:lnTo>
                    <a:pt x="277297" y="238030"/>
                  </a:lnTo>
                  <a:close/>
                </a:path>
              </a:pathLst>
            </a:custGeom>
            <a:solidFill>
              <a:schemeClr val="lt1"/>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889" name="Google Shape;1889;p56"/>
            <p:cNvSpPr/>
            <p:nvPr/>
          </p:nvSpPr>
          <p:spPr>
            <a:xfrm>
              <a:off x="3227064" y="1481006"/>
              <a:ext cx="183683" cy="334577"/>
            </a:xfrm>
            <a:custGeom>
              <a:avLst/>
              <a:gdLst/>
              <a:ahLst/>
              <a:cxnLst/>
              <a:rect l="l" t="t" r="r" b="b"/>
              <a:pathLst>
                <a:path w="244911" h="446103" extrusionOk="0">
                  <a:moveTo>
                    <a:pt x="156662" y="0"/>
                  </a:moveTo>
                  <a:lnTo>
                    <a:pt x="87844" y="0"/>
                  </a:lnTo>
                  <a:lnTo>
                    <a:pt x="87844" y="98369"/>
                  </a:lnTo>
                  <a:lnTo>
                    <a:pt x="0" y="98369"/>
                  </a:lnTo>
                  <a:lnTo>
                    <a:pt x="0" y="159496"/>
                  </a:lnTo>
                  <a:lnTo>
                    <a:pt x="87844" y="159496"/>
                  </a:lnTo>
                  <a:lnTo>
                    <a:pt x="87844" y="446103"/>
                  </a:lnTo>
                  <a:lnTo>
                    <a:pt x="156662" y="446103"/>
                  </a:lnTo>
                  <a:lnTo>
                    <a:pt x="156662" y="159496"/>
                  </a:lnTo>
                  <a:lnTo>
                    <a:pt x="244912" y="159496"/>
                  </a:lnTo>
                  <a:lnTo>
                    <a:pt x="244912" y="98369"/>
                  </a:lnTo>
                  <a:lnTo>
                    <a:pt x="156662" y="98369"/>
                  </a:lnTo>
                  <a:close/>
                </a:path>
              </a:pathLst>
            </a:custGeom>
            <a:solidFill>
              <a:schemeClr val="lt1"/>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890" name="Google Shape;1890;p56"/>
            <p:cNvSpPr/>
            <p:nvPr/>
          </p:nvSpPr>
          <p:spPr>
            <a:xfrm>
              <a:off x="4047416" y="1554480"/>
              <a:ext cx="140875" cy="261104"/>
            </a:xfrm>
            <a:custGeom>
              <a:avLst/>
              <a:gdLst/>
              <a:ahLst/>
              <a:cxnLst/>
              <a:rect l="l" t="t" r="r" b="b"/>
              <a:pathLst>
                <a:path w="187833" h="348138" extrusionOk="0">
                  <a:moveTo>
                    <a:pt x="4048" y="405"/>
                  </a:moveTo>
                  <a:lnTo>
                    <a:pt x="0" y="405"/>
                  </a:lnTo>
                  <a:lnTo>
                    <a:pt x="0" y="348139"/>
                  </a:lnTo>
                  <a:lnTo>
                    <a:pt x="69628" y="348139"/>
                  </a:lnTo>
                  <a:lnTo>
                    <a:pt x="69628" y="61127"/>
                  </a:lnTo>
                  <a:lnTo>
                    <a:pt x="187833" y="61127"/>
                  </a:lnTo>
                  <a:lnTo>
                    <a:pt x="187833" y="0"/>
                  </a:lnTo>
                  <a:lnTo>
                    <a:pt x="4048" y="0"/>
                  </a:lnTo>
                  <a:close/>
                </a:path>
              </a:pathLst>
            </a:custGeom>
            <a:solidFill>
              <a:schemeClr val="lt1"/>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grpSp>
      <p:sp>
        <p:nvSpPr>
          <p:cNvPr id="1891" name="Google Shape;1891;p56"/>
          <p:cNvSpPr txBox="1">
            <a:spLocks noGrp="1"/>
          </p:cNvSpPr>
          <p:nvPr>
            <p:ph type="title"/>
          </p:nvPr>
        </p:nvSpPr>
        <p:spPr>
          <a:xfrm>
            <a:off x="1338600" y="2902417"/>
            <a:ext cx="9514800" cy="1033200"/>
          </a:xfrm>
          <a:prstGeom prst="rect">
            <a:avLst/>
          </a:prstGeom>
          <a:noFill/>
        </p:spPr>
        <p:txBody>
          <a:bodyPr spcFirstLastPara="1" wrap="square" lIns="0" tIns="91425" rIns="91425" bIns="91425" anchor="t" anchorCtr="0">
            <a:noAutofit/>
          </a:bodyPr>
          <a:lstStyle>
            <a:lvl1pPr lvl="0" algn="ctr" rtl="0">
              <a:lnSpc>
                <a:spcPct val="85000"/>
              </a:lnSpc>
              <a:spcBef>
                <a:spcPts val="0"/>
              </a:spcBef>
              <a:spcAft>
                <a:spcPts val="0"/>
              </a:spcAft>
              <a:buClr>
                <a:schemeClr val="lt1"/>
              </a:buClr>
              <a:buSzPts val="4600"/>
              <a:buFont typeface="Inter Medium"/>
              <a:buNone/>
              <a:defRPr sz="6133">
                <a:solidFill>
                  <a:schemeClr val="lt1"/>
                </a:solidFill>
                <a:latin typeface="Inter Medium"/>
                <a:ea typeface="Inter Medium"/>
                <a:cs typeface="Inter Medium"/>
                <a:sym typeface="Inter Medium"/>
              </a:defRPr>
            </a:lvl1pPr>
            <a:lvl2pPr lvl="1" rtl="0">
              <a:spcBef>
                <a:spcPts val="0"/>
              </a:spcBef>
              <a:spcAft>
                <a:spcPts val="0"/>
              </a:spcAft>
              <a:buSzPts val="1100"/>
              <a:buNone/>
              <a:defRPr/>
            </a:lvl2pPr>
            <a:lvl3pPr lvl="2" rtl="0">
              <a:spcBef>
                <a:spcPts val="0"/>
              </a:spcBef>
              <a:spcAft>
                <a:spcPts val="0"/>
              </a:spcAft>
              <a:buSzPts val="1100"/>
              <a:buNone/>
              <a:defRPr/>
            </a:lvl3pPr>
            <a:lvl4pPr lvl="3" rtl="0">
              <a:spcBef>
                <a:spcPts val="0"/>
              </a:spcBef>
              <a:spcAft>
                <a:spcPts val="0"/>
              </a:spcAft>
              <a:buSzPts val="1100"/>
              <a:buNone/>
              <a:defRPr/>
            </a:lvl4pPr>
            <a:lvl5pPr lvl="4" rtl="0">
              <a:spcBef>
                <a:spcPts val="0"/>
              </a:spcBef>
              <a:spcAft>
                <a:spcPts val="0"/>
              </a:spcAft>
              <a:buSzPts val="1100"/>
              <a:buNone/>
              <a:defRPr/>
            </a:lvl5pPr>
            <a:lvl6pPr lvl="5" rtl="0">
              <a:spcBef>
                <a:spcPts val="0"/>
              </a:spcBef>
              <a:spcAft>
                <a:spcPts val="0"/>
              </a:spcAft>
              <a:buSzPts val="1100"/>
              <a:buNone/>
              <a:defRPr/>
            </a:lvl6pPr>
            <a:lvl7pPr lvl="6" rtl="0">
              <a:spcBef>
                <a:spcPts val="0"/>
              </a:spcBef>
              <a:spcAft>
                <a:spcPts val="0"/>
              </a:spcAft>
              <a:buSzPts val="1100"/>
              <a:buNone/>
              <a:defRPr/>
            </a:lvl7pPr>
            <a:lvl8pPr lvl="7" rtl="0">
              <a:spcBef>
                <a:spcPts val="0"/>
              </a:spcBef>
              <a:spcAft>
                <a:spcPts val="0"/>
              </a:spcAft>
              <a:buSzPts val="1100"/>
              <a:buNone/>
              <a:defRPr/>
            </a:lvl8pPr>
            <a:lvl9pPr lvl="8" rtl="0">
              <a:spcBef>
                <a:spcPts val="0"/>
              </a:spcBef>
              <a:spcAft>
                <a:spcPts val="0"/>
              </a:spcAft>
              <a:buSzPts val="1100"/>
              <a:buNone/>
              <a:defRPr/>
            </a:lvl9pPr>
          </a:lstStyle>
          <a:p>
            <a:endParaRPr/>
          </a:p>
        </p:txBody>
      </p:sp>
      <p:sp>
        <p:nvSpPr>
          <p:cNvPr id="1892" name="Google Shape;1892;p56"/>
          <p:cNvSpPr txBox="1"/>
          <p:nvPr/>
        </p:nvSpPr>
        <p:spPr>
          <a:xfrm>
            <a:off x="5451800" y="6245247"/>
            <a:ext cx="1288400" cy="273200"/>
          </a:xfrm>
          <a:prstGeom prst="rect">
            <a:avLst/>
          </a:prstGeom>
          <a:noFill/>
          <a:ln>
            <a:noFill/>
          </a:ln>
        </p:spPr>
        <p:txBody>
          <a:bodyPr spcFirstLastPara="1" wrap="square" lIns="0" tIns="0" rIns="0" bIns="0" anchor="b" anchorCtr="0">
            <a:noAutofit/>
          </a:bodyPr>
          <a:lstStyle/>
          <a:p>
            <a:pPr marL="0" lvl="0" indent="0" algn="ctr" rtl="0">
              <a:spcBef>
                <a:spcPts val="0"/>
              </a:spcBef>
              <a:spcAft>
                <a:spcPts val="0"/>
              </a:spcAft>
              <a:buNone/>
            </a:pPr>
            <a:r>
              <a:rPr lang="en-GB" sz="667">
                <a:solidFill>
                  <a:schemeClr val="lt1"/>
                </a:solidFill>
                <a:latin typeface="Inter"/>
                <a:ea typeface="Inter"/>
                <a:cs typeface="Inter"/>
                <a:sym typeface="Inter"/>
              </a:rPr>
              <a:t>Private and Confidential</a:t>
            </a:r>
            <a:endParaRPr sz="667">
              <a:solidFill>
                <a:schemeClr val="lt1"/>
              </a:solidFill>
              <a:latin typeface="Inter"/>
              <a:ea typeface="Inter"/>
              <a:cs typeface="Inter"/>
              <a:sym typeface="Inter"/>
            </a:endParaRPr>
          </a:p>
        </p:txBody>
      </p:sp>
      <p:grpSp>
        <p:nvGrpSpPr>
          <p:cNvPr id="1893" name="Google Shape;1893;p56"/>
          <p:cNvGrpSpPr/>
          <p:nvPr/>
        </p:nvGrpSpPr>
        <p:grpSpPr>
          <a:xfrm>
            <a:off x="1041891" y="-1687326"/>
            <a:ext cx="10668508" cy="3502603"/>
            <a:chOff x="170497" y="-742525"/>
            <a:chExt cx="8979218" cy="2947988"/>
          </a:xfrm>
        </p:grpSpPr>
        <p:sp>
          <p:nvSpPr>
            <p:cNvPr id="1894" name="Google Shape;1894;p56"/>
            <p:cNvSpPr/>
            <p:nvPr/>
          </p:nvSpPr>
          <p:spPr>
            <a:xfrm>
              <a:off x="170497" y="-740144"/>
              <a:ext cx="614363" cy="1822609"/>
            </a:xfrm>
            <a:custGeom>
              <a:avLst/>
              <a:gdLst/>
              <a:ahLst/>
              <a:cxnLst/>
              <a:rect l="l" t="t" r="r" b="b"/>
              <a:pathLst>
                <a:path w="819150" h="2430145" extrusionOk="0">
                  <a:moveTo>
                    <a:pt x="819150" y="0"/>
                  </a:moveTo>
                  <a:lnTo>
                    <a:pt x="414655" y="2240280"/>
                  </a:lnTo>
                  <a:lnTo>
                    <a:pt x="380365" y="2430145"/>
                  </a:lnTo>
                  <a:lnTo>
                    <a:pt x="0" y="2361565"/>
                  </a:lnTo>
                  <a:lnTo>
                    <a:pt x="34290" y="2171700"/>
                  </a:lnTo>
                  <a:lnTo>
                    <a:pt x="426720" y="0"/>
                  </a:lnTo>
                  <a:close/>
                </a:path>
              </a:pathLst>
            </a:custGeom>
            <a:solidFill>
              <a:schemeClr val="accent2"/>
            </a:solidFill>
            <a:ln w="76200" cap="flat" cmpd="sng">
              <a:solidFill>
                <a:schemeClr val="dk2"/>
              </a:solidFill>
              <a:prstDash val="solid"/>
              <a:round/>
              <a:headEnd type="none" w="sm" len="sm"/>
              <a:tailEnd type="none" w="sm" len="sm"/>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895" name="Google Shape;1895;p56"/>
            <p:cNvSpPr/>
            <p:nvPr/>
          </p:nvSpPr>
          <p:spPr>
            <a:xfrm>
              <a:off x="1276350" y="-740144"/>
              <a:ext cx="569595" cy="2163603"/>
            </a:xfrm>
            <a:custGeom>
              <a:avLst/>
              <a:gdLst/>
              <a:ahLst/>
              <a:cxnLst/>
              <a:rect l="l" t="t" r="r" b="b"/>
              <a:pathLst>
                <a:path w="759460" h="2884804" extrusionOk="0">
                  <a:moveTo>
                    <a:pt x="759460" y="0"/>
                  </a:moveTo>
                  <a:lnTo>
                    <a:pt x="407670" y="2693035"/>
                  </a:lnTo>
                  <a:lnTo>
                    <a:pt x="382905" y="2884805"/>
                  </a:lnTo>
                  <a:lnTo>
                    <a:pt x="0" y="2834640"/>
                  </a:lnTo>
                  <a:lnTo>
                    <a:pt x="24765" y="2643505"/>
                  </a:lnTo>
                  <a:lnTo>
                    <a:pt x="370205" y="0"/>
                  </a:lnTo>
                  <a:close/>
                </a:path>
              </a:pathLst>
            </a:custGeom>
            <a:solidFill>
              <a:schemeClr val="accent2"/>
            </a:solidFill>
            <a:ln w="76200" cap="flat" cmpd="sng">
              <a:solidFill>
                <a:schemeClr val="dk2"/>
              </a:solidFill>
              <a:prstDash val="solid"/>
              <a:round/>
              <a:headEnd type="none" w="sm" len="sm"/>
              <a:tailEnd type="none" w="sm" len="sm"/>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896" name="Google Shape;1896;p56"/>
            <p:cNvSpPr/>
            <p:nvPr/>
          </p:nvSpPr>
          <p:spPr>
            <a:xfrm>
              <a:off x="2302192" y="-740144"/>
              <a:ext cx="547211" cy="2456497"/>
            </a:xfrm>
            <a:custGeom>
              <a:avLst/>
              <a:gdLst/>
              <a:ahLst/>
              <a:cxnLst/>
              <a:rect l="l" t="t" r="r" b="b"/>
              <a:pathLst>
                <a:path w="729614" h="3275329" extrusionOk="0">
                  <a:moveTo>
                    <a:pt x="729615" y="0"/>
                  </a:moveTo>
                  <a:lnTo>
                    <a:pt x="404495" y="3083560"/>
                  </a:lnTo>
                  <a:lnTo>
                    <a:pt x="384175" y="3275330"/>
                  </a:lnTo>
                  <a:lnTo>
                    <a:pt x="0" y="3234690"/>
                  </a:lnTo>
                  <a:lnTo>
                    <a:pt x="20320" y="3042920"/>
                  </a:lnTo>
                  <a:lnTo>
                    <a:pt x="340995" y="0"/>
                  </a:lnTo>
                  <a:close/>
                </a:path>
              </a:pathLst>
            </a:custGeom>
            <a:solidFill>
              <a:schemeClr val="accent2"/>
            </a:solidFill>
            <a:ln w="76200" cap="flat" cmpd="sng">
              <a:solidFill>
                <a:schemeClr val="dk2"/>
              </a:solidFill>
              <a:prstDash val="solid"/>
              <a:round/>
              <a:headEnd type="none" w="sm" len="sm"/>
              <a:tailEnd type="none" w="sm" len="sm"/>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897" name="Google Shape;1897;p56"/>
            <p:cNvSpPr/>
            <p:nvPr/>
          </p:nvSpPr>
          <p:spPr>
            <a:xfrm>
              <a:off x="3262788" y="-740144"/>
              <a:ext cx="534829" cy="2690336"/>
            </a:xfrm>
            <a:custGeom>
              <a:avLst/>
              <a:gdLst/>
              <a:ahLst/>
              <a:cxnLst/>
              <a:rect l="l" t="t" r="r" b="b"/>
              <a:pathLst>
                <a:path w="713105" h="3587115" extrusionOk="0">
                  <a:moveTo>
                    <a:pt x="713105" y="0"/>
                  </a:moveTo>
                  <a:lnTo>
                    <a:pt x="402590" y="3394710"/>
                  </a:lnTo>
                  <a:lnTo>
                    <a:pt x="384810" y="3587115"/>
                  </a:lnTo>
                  <a:lnTo>
                    <a:pt x="0" y="3552190"/>
                  </a:lnTo>
                  <a:lnTo>
                    <a:pt x="17780" y="3359785"/>
                  </a:lnTo>
                  <a:lnTo>
                    <a:pt x="325120" y="0"/>
                  </a:lnTo>
                  <a:close/>
                </a:path>
              </a:pathLst>
            </a:custGeom>
            <a:solidFill>
              <a:schemeClr val="accent2"/>
            </a:solidFill>
            <a:ln w="76200" cap="flat" cmpd="sng">
              <a:solidFill>
                <a:schemeClr val="dk2"/>
              </a:solidFill>
              <a:prstDash val="solid"/>
              <a:round/>
              <a:headEnd type="none" w="sm" len="sm"/>
              <a:tailEnd type="none" w="sm" len="sm"/>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898" name="Google Shape;1898;p56"/>
            <p:cNvSpPr/>
            <p:nvPr/>
          </p:nvSpPr>
          <p:spPr>
            <a:xfrm>
              <a:off x="4174807" y="-740144"/>
              <a:ext cx="527685" cy="2854643"/>
            </a:xfrm>
            <a:custGeom>
              <a:avLst/>
              <a:gdLst/>
              <a:ahLst/>
              <a:cxnLst/>
              <a:rect l="l" t="t" r="r" b="b"/>
              <a:pathLst>
                <a:path w="703580" h="3806190" extrusionOk="0">
                  <a:moveTo>
                    <a:pt x="703580" y="0"/>
                  </a:moveTo>
                  <a:lnTo>
                    <a:pt x="401320" y="3613785"/>
                  </a:lnTo>
                  <a:lnTo>
                    <a:pt x="384810" y="3806190"/>
                  </a:lnTo>
                  <a:lnTo>
                    <a:pt x="0" y="3773805"/>
                  </a:lnTo>
                  <a:lnTo>
                    <a:pt x="16510" y="3581400"/>
                  </a:lnTo>
                  <a:lnTo>
                    <a:pt x="316230" y="0"/>
                  </a:lnTo>
                  <a:close/>
                </a:path>
              </a:pathLst>
            </a:custGeom>
            <a:solidFill>
              <a:schemeClr val="accent2"/>
            </a:solidFill>
            <a:ln w="76200" cap="flat" cmpd="sng">
              <a:solidFill>
                <a:schemeClr val="dk2"/>
              </a:solidFill>
              <a:prstDash val="solid"/>
              <a:round/>
              <a:headEnd type="none" w="sm" len="sm"/>
              <a:tailEnd type="none" w="sm" len="sm"/>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899" name="Google Shape;1899;p56"/>
            <p:cNvSpPr/>
            <p:nvPr/>
          </p:nvSpPr>
          <p:spPr>
            <a:xfrm>
              <a:off x="5056346" y="-740144"/>
              <a:ext cx="524351" cy="2940844"/>
            </a:xfrm>
            <a:custGeom>
              <a:avLst/>
              <a:gdLst/>
              <a:ahLst/>
              <a:cxnLst/>
              <a:rect l="l" t="t" r="r" b="b"/>
              <a:pathLst>
                <a:path w="699135" h="3921125" extrusionOk="0">
                  <a:moveTo>
                    <a:pt x="699136" y="0"/>
                  </a:moveTo>
                  <a:lnTo>
                    <a:pt x="400050" y="3728720"/>
                  </a:lnTo>
                  <a:lnTo>
                    <a:pt x="384811" y="3921125"/>
                  </a:lnTo>
                  <a:lnTo>
                    <a:pt x="0" y="3890645"/>
                  </a:lnTo>
                  <a:lnTo>
                    <a:pt x="15240" y="3698240"/>
                  </a:lnTo>
                  <a:lnTo>
                    <a:pt x="311786" y="0"/>
                  </a:lnTo>
                  <a:close/>
                </a:path>
              </a:pathLst>
            </a:custGeom>
            <a:solidFill>
              <a:schemeClr val="accent2"/>
            </a:solidFill>
            <a:ln w="76200" cap="flat" cmpd="sng">
              <a:solidFill>
                <a:schemeClr val="dk2"/>
              </a:solidFill>
              <a:prstDash val="solid"/>
              <a:round/>
              <a:headEnd type="none" w="sm" len="sm"/>
              <a:tailEnd type="none" w="sm" len="sm"/>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900" name="Google Shape;1900;p56"/>
            <p:cNvSpPr/>
            <p:nvPr/>
          </p:nvSpPr>
          <p:spPr>
            <a:xfrm>
              <a:off x="5925979" y="-740144"/>
              <a:ext cx="524350" cy="2945606"/>
            </a:xfrm>
            <a:custGeom>
              <a:avLst/>
              <a:gdLst/>
              <a:ahLst/>
              <a:cxnLst/>
              <a:rect l="l" t="t" r="r" b="b"/>
              <a:pathLst>
                <a:path w="699134" h="3927475" extrusionOk="0">
                  <a:moveTo>
                    <a:pt x="699135" y="0"/>
                  </a:moveTo>
                  <a:lnTo>
                    <a:pt x="400050" y="3735070"/>
                  </a:lnTo>
                  <a:lnTo>
                    <a:pt x="384810" y="3927475"/>
                  </a:lnTo>
                  <a:lnTo>
                    <a:pt x="0" y="3896995"/>
                  </a:lnTo>
                  <a:lnTo>
                    <a:pt x="15239" y="3704590"/>
                  </a:lnTo>
                  <a:lnTo>
                    <a:pt x="311785" y="0"/>
                  </a:lnTo>
                  <a:close/>
                </a:path>
              </a:pathLst>
            </a:custGeom>
            <a:solidFill>
              <a:schemeClr val="accent2"/>
            </a:solidFill>
            <a:ln w="76200" cap="flat" cmpd="sng">
              <a:solidFill>
                <a:schemeClr val="dk2"/>
              </a:solidFill>
              <a:prstDash val="solid"/>
              <a:round/>
              <a:headEnd type="none" w="sm" len="sm"/>
              <a:tailEnd type="none" w="sm" len="sm"/>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901" name="Google Shape;1901;p56"/>
            <p:cNvSpPr/>
            <p:nvPr/>
          </p:nvSpPr>
          <p:spPr>
            <a:xfrm>
              <a:off x="6803707" y="-740144"/>
              <a:ext cx="526732" cy="2870834"/>
            </a:xfrm>
            <a:custGeom>
              <a:avLst/>
              <a:gdLst/>
              <a:ahLst/>
              <a:cxnLst/>
              <a:rect l="l" t="t" r="r" b="b"/>
              <a:pathLst>
                <a:path w="702309" h="3827779" extrusionOk="0">
                  <a:moveTo>
                    <a:pt x="702310" y="0"/>
                  </a:moveTo>
                  <a:lnTo>
                    <a:pt x="400685" y="3635375"/>
                  </a:lnTo>
                  <a:lnTo>
                    <a:pt x="384810" y="3827780"/>
                  </a:lnTo>
                  <a:lnTo>
                    <a:pt x="0" y="3796030"/>
                  </a:lnTo>
                  <a:lnTo>
                    <a:pt x="15875" y="3603625"/>
                  </a:lnTo>
                  <a:lnTo>
                    <a:pt x="314960" y="0"/>
                  </a:lnTo>
                  <a:close/>
                </a:path>
              </a:pathLst>
            </a:custGeom>
            <a:solidFill>
              <a:schemeClr val="accent2"/>
            </a:solidFill>
            <a:ln w="76200" cap="flat" cmpd="sng">
              <a:solidFill>
                <a:schemeClr val="dk2"/>
              </a:solidFill>
              <a:prstDash val="solid"/>
              <a:round/>
              <a:headEnd type="none" w="sm" len="sm"/>
              <a:tailEnd type="none" w="sm" len="sm"/>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902" name="Google Shape;1902;p56"/>
            <p:cNvSpPr/>
            <p:nvPr/>
          </p:nvSpPr>
          <p:spPr>
            <a:xfrm>
              <a:off x="7708106" y="-740144"/>
              <a:ext cx="533400" cy="2717959"/>
            </a:xfrm>
            <a:custGeom>
              <a:avLst/>
              <a:gdLst/>
              <a:ahLst/>
              <a:cxnLst/>
              <a:rect l="l" t="t" r="r" b="b"/>
              <a:pathLst>
                <a:path w="711200" h="3623945" extrusionOk="0">
                  <a:moveTo>
                    <a:pt x="711200" y="0"/>
                  </a:moveTo>
                  <a:lnTo>
                    <a:pt x="401955" y="3431540"/>
                  </a:lnTo>
                  <a:lnTo>
                    <a:pt x="384810" y="3623945"/>
                  </a:lnTo>
                  <a:lnTo>
                    <a:pt x="0" y="3589655"/>
                  </a:lnTo>
                  <a:lnTo>
                    <a:pt x="17780" y="3397250"/>
                  </a:lnTo>
                  <a:lnTo>
                    <a:pt x="323850" y="0"/>
                  </a:lnTo>
                  <a:close/>
                </a:path>
              </a:pathLst>
            </a:custGeom>
            <a:solidFill>
              <a:schemeClr val="accent2"/>
            </a:solidFill>
            <a:ln w="76200" cap="flat" cmpd="sng">
              <a:solidFill>
                <a:schemeClr val="dk2"/>
              </a:solidFill>
              <a:prstDash val="solid"/>
              <a:round/>
              <a:headEnd type="none" w="sm" len="sm"/>
              <a:tailEnd type="none" w="sm" len="sm"/>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903" name="Google Shape;1903;p56"/>
            <p:cNvSpPr/>
            <p:nvPr/>
          </p:nvSpPr>
          <p:spPr>
            <a:xfrm>
              <a:off x="8657749" y="-742525"/>
              <a:ext cx="491965" cy="2496502"/>
            </a:xfrm>
            <a:custGeom>
              <a:avLst/>
              <a:gdLst/>
              <a:ahLst/>
              <a:cxnLst/>
              <a:rect l="l" t="t" r="r" b="b"/>
              <a:pathLst>
                <a:path w="655954" h="3328670" extrusionOk="0">
                  <a:moveTo>
                    <a:pt x="655955" y="0"/>
                  </a:moveTo>
                  <a:lnTo>
                    <a:pt x="655955" y="688975"/>
                  </a:lnTo>
                  <a:lnTo>
                    <a:pt x="403860" y="3136265"/>
                  </a:lnTo>
                  <a:lnTo>
                    <a:pt x="384175" y="3328670"/>
                  </a:lnTo>
                  <a:lnTo>
                    <a:pt x="0" y="3288665"/>
                  </a:lnTo>
                  <a:lnTo>
                    <a:pt x="19685" y="3096895"/>
                  </a:lnTo>
                  <a:lnTo>
                    <a:pt x="337820" y="3175"/>
                  </a:lnTo>
                  <a:close/>
                </a:path>
              </a:pathLst>
            </a:custGeom>
            <a:solidFill>
              <a:schemeClr val="accent2"/>
            </a:solidFill>
            <a:ln w="76200" cap="flat" cmpd="sng">
              <a:solidFill>
                <a:schemeClr val="dk2"/>
              </a:solidFill>
              <a:prstDash val="solid"/>
              <a:round/>
              <a:headEnd type="none" w="sm" len="sm"/>
              <a:tailEnd type="none" w="sm" len="sm"/>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grpSp>
    </p:spTree>
    <p:extLst>
      <p:ext uri="{BB962C8B-B14F-4D97-AF65-F5344CB8AC3E}">
        <p14:creationId xmlns:p14="http://schemas.microsoft.com/office/powerpoint/2010/main" val="233790751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matchingName="Anniversary Profile pics - 1 year 4 pics">
  <p:cSld name="Anniversary Profile pics - 1 year 4 pics">
    <p:bg>
      <p:bgPr>
        <a:solidFill>
          <a:schemeClr val="lt2"/>
        </a:solidFill>
        <a:effectLst/>
      </p:bgPr>
    </p:bg>
    <p:spTree>
      <p:nvGrpSpPr>
        <p:cNvPr id="1" name="Shape 1904"/>
        <p:cNvGrpSpPr/>
        <p:nvPr/>
      </p:nvGrpSpPr>
      <p:grpSpPr>
        <a:xfrm>
          <a:off x="0" y="0"/>
          <a:ext cx="0" cy="0"/>
          <a:chOff x="0" y="0"/>
          <a:chExt cx="0" cy="0"/>
        </a:xfrm>
      </p:grpSpPr>
      <p:grpSp>
        <p:nvGrpSpPr>
          <p:cNvPr id="1905" name="Google Shape;1905;p57"/>
          <p:cNvGrpSpPr/>
          <p:nvPr/>
        </p:nvGrpSpPr>
        <p:grpSpPr>
          <a:xfrm>
            <a:off x="1159995" y="2005437"/>
            <a:ext cx="1632893" cy="1633051"/>
            <a:chOff x="719225" y="1001350"/>
            <a:chExt cx="1184400" cy="1184400"/>
          </a:xfrm>
        </p:grpSpPr>
        <p:sp>
          <p:nvSpPr>
            <p:cNvPr id="1906" name="Google Shape;1906;p57"/>
            <p:cNvSpPr/>
            <p:nvPr/>
          </p:nvSpPr>
          <p:spPr>
            <a:xfrm>
              <a:off x="719225" y="10013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sp>
          <p:nvSpPr>
            <p:cNvPr id="1907" name="Google Shape;1907;p57"/>
            <p:cNvSpPr/>
            <p:nvPr/>
          </p:nvSpPr>
          <p:spPr>
            <a:xfrm>
              <a:off x="795425" y="10775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sp>
          <p:nvSpPr>
            <p:cNvPr id="1908" name="Google Shape;1908;p57"/>
            <p:cNvSpPr/>
            <p:nvPr/>
          </p:nvSpPr>
          <p:spPr>
            <a:xfrm>
              <a:off x="871625" y="11537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sp>
          <p:nvSpPr>
            <p:cNvPr id="1909" name="Google Shape;1909;p57"/>
            <p:cNvSpPr/>
            <p:nvPr/>
          </p:nvSpPr>
          <p:spPr>
            <a:xfrm>
              <a:off x="1737725" y="1008075"/>
              <a:ext cx="152700" cy="152700"/>
            </a:xfrm>
            <a:prstGeom prst="rtTriangle">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sp>
          <p:nvSpPr>
            <p:cNvPr id="1910" name="Google Shape;1910;p57"/>
            <p:cNvSpPr/>
            <p:nvPr/>
          </p:nvSpPr>
          <p:spPr>
            <a:xfrm rot="10800000">
              <a:off x="725809" y="2020700"/>
              <a:ext cx="152700" cy="152700"/>
            </a:xfrm>
            <a:prstGeom prst="rtTriangle">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grpSp>
      <p:grpSp>
        <p:nvGrpSpPr>
          <p:cNvPr id="1911" name="Google Shape;1911;p57"/>
          <p:cNvGrpSpPr/>
          <p:nvPr/>
        </p:nvGrpSpPr>
        <p:grpSpPr>
          <a:xfrm>
            <a:off x="3868988" y="2005437"/>
            <a:ext cx="1632893" cy="1633051"/>
            <a:chOff x="719225" y="1001350"/>
            <a:chExt cx="1184400" cy="1184400"/>
          </a:xfrm>
        </p:grpSpPr>
        <p:sp>
          <p:nvSpPr>
            <p:cNvPr id="1912" name="Google Shape;1912;p57"/>
            <p:cNvSpPr/>
            <p:nvPr/>
          </p:nvSpPr>
          <p:spPr>
            <a:xfrm>
              <a:off x="719225" y="10013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sp>
          <p:nvSpPr>
            <p:cNvPr id="1913" name="Google Shape;1913;p57"/>
            <p:cNvSpPr/>
            <p:nvPr/>
          </p:nvSpPr>
          <p:spPr>
            <a:xfrm>
              <a:off x="795425" y="10775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sp>
          <p:nvSpPr>
            <p:cNvPr id="1914" name="Google Shape;1914;p57"/>
            <p:cNvSpPr/>
            <p:nvPr/>
          </p:nvSpPr>
          <p:spPr>
            <a:xfrm>
              <a:off x="871625" y="11537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sp>
          <p:nvSpPr>
            <p:cNvPr id="1915" name="Google Shape;1915;p57"/>
            <p:cNvSpPr/>
            <p:nvPr/>
          </p:nvSpPr>
          <p:spPr>
            <a:xfrm>
              <a:off x="1737725" y="1008075"/>
              <a:ext cx="152700" cy="152700"/>
            </a:xfrm>
            <a:prstGeom prst="rtTriangle">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sp>
          <p:nvSpPr>
            <p:cNvPr id="1916" name="Google Shape;1916;p57"/>
            <p:cNvSpPr/>
            <p:nvPr/>
          </p:nvSpPr>
          <p:spPr>
            <a:xfrm rot="10800000">
              <a:off x="725809" y="2020700"/>
              <a:ext cx="152700" cy="152700"/>
            </a:xfrm>
            <a:prstGeom prst="rtTriangle">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grpSp>
      <p:grpSp>
        <p:nvGrpSpPr>
          <p:cNvPr id="1917" name="Google Shape;1917;p57"/>
          <p:cNvGrpSpPr/>
          <p:nvPr/>
        </p:nvGrpSpPr>
        <p:grpSpPr>
          <a:xfrm>
            <a:off x="6843600" y="2005437"/>
            <a:ext cx="1632893" cy="1633051"/>
            <a:chOff x="719225" y="1001350"/>
            <a:chExt cx="1184400" cy="1184400"/>
          </a:xfrm>
        </p:grpSpPr>
        <p:sp>
          <p:nvSpPr>
            <p:cNvPr id="1918" name="Google Shape;1918;p57"/>
            <p:cNvSpPr/>
            <p:nvPr/>
          </p:nvSpPr>
          <p:spPr>
            <a:xfrm>
              <a:off x="719225" y="10013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sp>
          <p:nvSpPr>
            <p:cNvPr id="1919" name="Google Shape;1919;p57"/>
            <p:cNvSpPr/>
            <p:nvPr/>
          </p:nvSpPr>
          <p:spPr>
            <a:xfrm>
              <a:off x="795425" y="10775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sp>
          <p:nvSpPr>
            <p:cNvPr id="1920" name="Google Shape;1920;p57"/>
            <p:cNvSpPr/>
            <p:nvPr/>
          </p:nvSpPr>
          <p:spPr>
            <a:xfrm>
              <a:off x="871625" y="11537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sp>
          <p:nvSpPr>
            <p:cNvPr id="1921" name="Google Shape;1921;p57"/>
            <p:cNvSpPr/>
            <p:nvPr/>
          </p:nvSpPr>
          <p:spPr>
            <a:xfrm>
              <a:off x="1737725" y="1008075"/>
              <a:ext cx="152700" cy="152700"/>
            </a:xfrm>
            <a:prstGeom prst="rtTriangle">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sp>
          <p:nvSpPr>
            <p:cNvPr id="1922" name="Google Shape;1922;p57"/>
            <p:cNvSpPr/>
            <p:nvPr/>
          </p:nvSpPr>
          <p:spPr>
            <a:xfrm rot="10800000">
              <a:off x="725809" y="2020700"/>
              <a:ext cx="152700" cy="152700"/>
            </a:xfrm>
            <a:prstGeom prst="rtTriangle">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grpSp>
      <p:grpSp>
        <p:nvGrpSpPr>
          <p:cNvPr id="1923" name="Google Shape;1923;p57"/>
          <p:cNvGrpSpPr/>
          <p:nvPr/>
        </p:nvGrpSpPr>
        <p:grpSpPr>
          <a:xfrm>
            <a:off x="9547312" y="2005437"/>
            <a:ext cx="1632893" cy="1633051"/>
            <a:chOff x="719225" y="1001350"/>
            <a:chExt cx="1184400" cy="1184400"/>
          </a:xfrm>
        </p:grpSpPr>
        <p:sp>
          <p:nvSpPr>
            <p:cNvPr id="1924" name="Google Shape;1924;p57"/>
            <p:cNvSpPr/>
            <p:nvPr/>
          </p:nvSpPr>
          <p:spPr>
            <a:xfrm>
              <a:off x="719225" y="10013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sp>
          <p:nvSpPr>
            <p:cNvPr id="1925" name="Google Shape;1925;p57"/>
            <p:cNvSpPr/>
            <p:nvPr/>
          </p:nvSpPr>
          <p:spPr>
            <a:xfrm>
              <a:off x="795425" y="10775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sp>
          <p:nvSpPr>
            <p:cNvPr id="1926" name="Google Shape;1926;p57"/>
            <p:cNvSpPr/>
            <p:nvPr/>
          </p:nvSpPr>
          <p:spPr>
            <a:xfrm>
              <a:off x="871625" y="11537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sp>
          <p:nvSpPr>
            <p:cNvPr id="1927" name="Google Shape;1927;p57"/>
            <p:cNvSpPr/>
            <p:nvPr/>
          </p:nvSpPr>
          <p:spPr>
            <a:xfrm>
              <a:off x="1737725" y="1008075"/>
              <a:ext cx="152700" cy="152700"/>
            </a:xfrm>
            <a:prstGeom prst="rtTriangle">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sp>
          <p:nvSpPr>
            <p:cNvPr id="1928" name="Google Shape;1928;p57"/>
            <p:cNvSpPr/>
            <p:nvPr/>
          </p:nvSpPr>
          <p:spPr>
            <a:xfrm rot="10800000">
              <a:off x="725809" y="2020700"/>
              <a:ext cx="152700" cy="152700"/>
            </a:xfrm>
            <a:prstGeom prst="rtTriangle">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grpSp>
      <p:sp>
        <p:nvSpPr>
          <p:cNvPr id="1929" name="Google Shape;1929;p57"/>
          <p:cNvSpPr>
            <a:spLocks noGrp="1"/>
          </p:cNvSpPr>
          <p:nvPr>
            <p:ph type="pic" idx="2"/>
          </p:nvPr>
        </p:nvSpPr>
        <p:spPr>
          <a:xfrm>
            <a:off x="1160219" y="2005397"/>
            <a:ext cx="1422800" cy="1422800"/>
          </a:xfrm>
          <a:prstGeom prst="roundRect">
            <a:avLst>
              <a:gd name="adj" fmla="val 3181"/>
            </a:avLst>
          </a:prstGeom>
          <a:noFill/>
          <a:ln>
            <a:noFill/>
          </a:ln>
        </p:spPr>
      </p:sp>
      <p:sp>
        <p:nvSpPr>
          <p:cNvPr id="1930" name="Google Shape;1930;p57"/>
          <p:cNvSpPr>
            <a:spLocks noGrp="1"/>
          </p:cNvSpPr>
          <p:nvPr>
            <p:ph type="pic" idx="3"/>
          </p:nvPr>
        </p:nvSpPr>
        <p:spPr>
          <a:xfrm>
            <a:off x="3869112" y="2005397"/>
            <a:ext cx="1422800" cy="1422800"/>
          </a:xfrm>
          <a:prstGeom prst="roundRect">
            <a:avLst>
              <a:gd name="adj" fmla="val 3181"/>
            </a:avLst>
          </a:prstGeom>
          <a:noFill/>
          <a:ln>
            <a:noFill/>
          </a:ln>
        </p:spPr>
      </p:sp>
      <p:sp>
        <p:nvSpPr>
          <p:cNvPr id="1931" name="Google Shape;1931;p57"/>
          <p:cNvSpPr>
            <a:spLocks noGrp="1"/>
          </p:cNvSpPr>
          <p:nvPr>
            <p:ph type="pic" idx="4"/>
          </p:nvPr>
        </p:nvSpPr>
        <p:spPr>
          <a:xfrm>
            <a:off x="6843604" y="2005397"/>
            <a:ext cx="1422800" cy="1422800"/>
          </a:xfrm>
          <a:prstGeom prst="roundRect">
            <a:avLst>
              <a:gd name="adj" fmla="val 3181"/>
            </a:avLst>
          </a:prstGeom>
          <a:noFill/>
          <a:ln>
            <a:noFill/>
          </a:ln>
        </p:spPr>
      </p:sp>
      <p:sp>
        <p:nvSpPr>
          <p:cNvPr id="1932" name="Google Shape;1932;p57"/>
          <p:cNvSpPr>
            <a:spLocks noGrp="1"/>
          </p:cNvSpPr>
          <p:nvPr>
            <p:ph type="pic" idx="5"/>
          </p:nvPr>
        </p:nvSpPr>
        <p:spPr>
          <a:xfrm>
            <a:off x="9547276" y="2005397"/>
            <a:ext cx="1422800" cy="1422800"/>
          </a:xfrm>
          <a:prstGeom prst="roundRect">
            <a:avLst>
              <a:gd name="adj" fmla="val 3181"/>
            </a:avLst>
          </a:prstGeom>
          <a:noFill/>
          <a:ln>
            <a:noFill/>
          </a:ln>
        </p:spPr>
      </p:sp>
      <p:sp>
        <p:nvSpPr>
          <p:cNvPr id="1933" name="Google Shape;1933;p57"/>
          <p:cNvSpPr txBox="1">
            <a:spLocks noGrp="1"/>
          </p:cNvSpPr>
          <p:nvPr>
            <p:ph type="title"/>
          </p:nvPr>
        </p:nvSpPr>
        <p:spPr>
          <a:xfrm>
            <a:off x="951700" y="359997"/>
            <a:ext cx="10515600" cy="975200"/>
          </a:xfrm>
          <a:prstGeom prst="rect">
            <a:avLst/>
          </a:prstGeom>
          <a:noFill/>
          <a:ln>
            <a:noFill/>
          </a:ln>
        </p:spPr>
        <p:txBody>
          <a:bodyPr spcFirstLastPara="1" wrap="square" lIns="0" tIns="0" rIns="68575" bIns="34275" anchor="t" anchorCtr="0">
            <a:noAutofit/>
          </a:bodyPr>
          <a:lstStyle>
            <a:lvl1pPr lvl="0" algn="l" rtl="0">
              <a:lnSpc>
                <a:spcPct val="90000"/>
              </a:lnSpc>
              <a:spcBef>
                <a:spcPts val="0"/>
              </a:spcBef>
              <a:spcAft>
                <a:spcPts val="0"/>
              </a:spcAft>
              <a:buClr>
                <a:schemeClr val="dk1"/>
              </a:buClr>
              <a:buSzPts val="2400"/>
              <a:buFont typeface="Inter Medium"/>
              <a:buNone/>
              <a:defRPr sz="3200">
                <a:solidFill>
                  <a:schemeClr val="dk1"/>
                </a:solidFill>
                <a:latin typeface="Inter Medium"/>
                <a:ea typeface="Inter Medium"/>
                <a:cs typeface="Inter Medium"/>
                <a:sym typeface="Inter Medium"/>
              </a:defRPr>
            </a:lvl1pPr>
            <a:lvl2pPr lvl="1" rtl="0">
              <a:spcBef>
                <a:spcPts val="0"/>
              </a:spcBef>
              <a:spcAft>
                <a:spcPts val="0"/>
              </a:spcAft>
              <a:buClr>
                <a:schemeClr val="dk1"/>
              </a:buClr>
              <a:buSzPts val="1100"/>
              <a:buNone/>
              <a:defRPr b="1">
                <a:solidFill>
                  <a:schemeClr val="dk1"/>
                </a:solidFill>
              </a:defRPr>
            </a:lvl2pPr>
            <a:lvl3pPr lvl="2" rtl="0">
              <a:spcBef>
                <a:spcPts val="0"/>
              </a:spcBef>
              <a:spcAft>
                <a:spcPts val="0"/>
              </a:spcAft>
              <a:buClr>
                <a:schemeClr val="dk1"/>
              </a:buClr>
              <a:buSzPts val="1100"/>
              <a:buNone/>
              <a:defRPr b="1">
                <a:solidFill>
                  <a:schemeClr val="dk1"/>
                </a:solidFill>
              </a:defRPr>
            </a:lvl3pPr>
            <a:lvl4pPr lvl="3" rtl="0">
              <a:spcBef>
                <a:spcPts val="0"/>
              </a:spcBef>
              <a:spcAft>
                <a:spcPts val="0"/>
              </a:spcAft>
              <a:buClr>
                <a:schemeClr val="dk1"/>
              </a:buClr>
              <a:buSzPts val="1100"/>
              <a:buNone/>
              <a:defRPr b="1">
                <a:solidFill>
                  <a:schemeClr val="dk1"/>
                </a:solidFill>
              </a:defRPr>
            </a:lvl4pPr>
            <a:lvl5pPr lvl="4" rtl="0">
              <a:spcBef>
                <a:spcPts val="0"/>
              </a:spcBef>
              <a:spcAft>
                <a:spcPts val="0"/>
              </a:spcAft>
              <a:buClr>
                <a:schemeClr val="dk1"/>
              </a:buClr>
              <a:buSzPts val="1100"/>
              <a:buNone/>
              <a:defRPr b="1">
                <a:solidFill>
                  <a:schemeClr val="dk1"/>
                </a:solidFill>
              </a:defRPr>
            </a:lvl5pPr>
            <a:lvl6pPr lvl="5" rtl="0">
              <a:spcBef>
                <a:spcPts val="0"/>
              </a:spcBef>
              <a:spcAft>
                <a:spcPts val="0"/>
              </a:spcAft>
              <a:buClr>
                <a:schemeClr val="dk1"/>
              </a:buClr>
              <a:buSzPts val="1100"/>
              <a:buNone/>
              <a:defRPr b="1">
                <a:solidFill>
                  <a:schemeClr val="dk1"/>
                </a:solidFill>
              </a:defRPr>
            </a:lvl6pPr>
            <a:lvl7pPr lvl="6" rtl="0">
              <a:spcBef>
                <a:spcPts val="0"/>
              </a:spcBef>
              <a:spcAft>
                <a:spcPts val="0"/>
              </a:spcAft>
              <a:buClr>
                <a:schemeClr val="dk1"/>
              </a:buClr>
              <a:buSzPts val="1100"/>
              <a:buNone/>
              <a:defRPr b="1">
                <a:solidFill>
                  <a:schemeClr val="dk1"/>
                </a:solidFill>
              </a:defRPr>
            </a:lvl7pPr>
            <a:lvl8pPr lvl="7" rtl="0">
              <a:spcBef>
                <a:spcPts val="0"/>
              </a:spcBef>
              <a:spcAft>
                <a:spcPts val="0"/>
              </a:spcAft>
              <a:buClr>
                <a:schemeClr val="dk1"/>
              </a:buClr>
              <a:buSzPts val="1100"/>
              <a:buNone/>
              <a:defRPr b="1">
                <a:solidFill>
                  <a:schemeClr val="dk1"/>
                </a:solidFill>
              </a:defRPr>
            </a:lvl8pPr>
            <a:lvl9pPr lvl="8" rtl="0">
              <a:spcBef>
                <a:spcPts val="0"/>
              </a:spcBef>
              <a:spcAft>
                <a:spcPts val="0"/>
              </a:spcAft>
              <a:buClr>
                <a:schemeClr val="dk1"/>
              </a:buClr>
              <a:buSzPts val="1100"/>
              <a:buNone/>
              <a:defRPr b="1">
                <a:solidFill>
                  <a:schemeClr val="dk1"/>
                </a:solidFill>
              </a:defRPr>
            </a:lvl9pPr>
          </a:lstStyle>
          <a:p>
            <a:endParaRPr/>
          </a:p>
        </p:txBody>
      </p:sp>
      <p:sp>
        <p:nvSpPr>
          <p:cNvPr id="1934" name="Google Shape;1934;p57"/>
          <p:cNvSpPr txBox="1">
            <a:spLocks noGrp="1"/>
          </p:cNvSpPr>
          <p:nvPr>
            <p:ph type="sldNum" idx="12"/>
          </p:nvPr>
        </p:nvSpPr>
        <p:spPr>
          <a:xfrm>
            <a:off x="10978812" y="5993647"/>
            <a:ext cx="731600" cy="524800"/>
          </a:xfrm>
          <a:prstGeom prst="rect">
            <a:avLst/>
          </a:prstGeom>
          <a:noFill/>
        </p:spPr>
        <p:txBody>
          <a:bodyPr spcFirstLastPara="1" wrap="square" lIns="91425" tIns="91425" rIns="0" bIns="0" anchor="b" anchorCtr="0">
            <a:noAutofit/>
          </a:bodyPr>
          <a:lstStyle>
            <a:lvl1pPr lvl="0" algn="r" rtl="0">
              <a:buNone/>
              <a:defRPr sz="667">
                <a:latin typeface="Inter"/>
                <a:ea typeface="Inter"/>
                <a:cs typeface="Inter"/>
                <a:sym typeface="Inter"/>
              </a:defRPr>
            </a:lvl1pPr>
            <a:lvl2pPr lvl="1" algn="r" rtl="0">
              <a:buNone/>
              <a:defRPr sz="667">
                <a:latin typeface="Inter"/>
                <a:ea typeface="Inter"/>
                <a:cs typeface="Inter"/>
                <a:sym typeface="Inter"/>
              </a:defRPr>
            </a:lvl2pPr>
            <a:lvl3pPr lvl="2" algn="r" rtl="0">
              <a:buNone/>
              <a:defRPr sz="667">
                <a:latin typeface="Inter"/>
                <a:ea typeface="Inter"/>
                <a:cs typeface="Inter"/>
                <a:sym typeface="Inter"/>
              </a:defRPr>
            </a:lvl3pPr>
            <a:lvl4pPr lvl="3" algn="r" rtl="0">
              <a:buNone/>
              <a:defRPr sz="667">
                <a:latin typeface="Inter"/>
                <a:ea typeface="Inter"/>
                <a:cs typeface="Inter"/>
                <a:sym typeface="Inter"/>
              </a:defRPr>
            </a:lvl4pPr>
            <a:lvl5pPr lvl="4" algn="r" rtl="0">
              <a:buNone/>
              <a:defRPr sz="667">
                <a:latin typeface="Inter"/>
                <a:ea typeface="Inter"/>
                <a:cs typeface="Inter"/>
                <a:sym typeface="Inter"/>
              </a:defRPr>
            </a:lvl5pPr>
            <a:lvl6pPr lvl="5" algn="r" rtl="0">
              <a:buNone/>
              <a:defRPr sz="667">
                <a:latin typeface="Inter"/>
                <a:ea typeface="Inter"/>
                <a:cs typeface="Inter"/>
                <a:sym typeface="Inter"/>
              </a:defRPr>
            </a:lvl6pPr>
            <a:lvl7pPr lvl="6" algn="r" rtl="0">
              <a:buNone/>
              <a:defRPr sz="667">
                <a:latin typeface="Inter"/>
                <a:ea typeface="Inter"/>
                <a:cs typeface="Inter"/>
                <a:sym typeface="Inter"/>
              </a:defRPr>
            </a:lvl7pPr>
            <a:lvl8pPr lvl="7" algn="r" rtl="0">
              <a:buNone/>
              <a:defRPr sz="667">
                <a:latin typeface="Inter"/>
                <a:ea typeface="Inter"/>
                <a:cs typeface="Inter"/>
                <a:sym typeface="Inter"/>
              </a:defRPr>
            </a:lvl8pPr>
            <a:lvl9pPr lvl="8" algn="r" rtl="0">
              <a:buNone/>
              <a:defRPr sz="667">
                <a:latin typeface="Inter"/>
                <a:ea typeface="Inter"/>
                <a:cs typeface="Inter"/>
                <a:sym typeface="Inter"/>
              </a:defRPr>
            </a:lvl9pPr>
          </a:lstStyle>
          <a:p>
            <a:fld id="{00000000-1234-1234-1234-123412341234}" type="slidenum">
              <a:rPr lang="en-GB" smtClean="0"/>
              <a:pPr/>
              <a:t>‹#›</a:t>
            </a:fld>
            <a:endParaRPr lang="en-GB"/>
          </a:p>
        </p:txBody>
      </p:sp>
      <p:sp>
        <p:nvSpPr>
          <p:cNvPr id="1935" name="Google Shape;1935;p57"/>
          <p:cNvSpPr txBox="1"/>
          <p:nvPr/>
        </p:nvSpPr>
        <p:spPr>
          <a:xfrm>
            <a:off x="481600" y="6245247"/>
            <a:ext cx="1288400" cy="273200"/>
          </a:xfrm>
          <a:prstGeom prst="rect">
            <a:avLst/>
          </a:prstGeom>
          <a:noFill/>
          <a:ln>
            <a:noFill/>
          </a:ln>
        </p:spPr>
        <p:txBody>
          <a:bodyPr spcFirstLastPara="1" wrap="square" lIns="0" tIns="0" rIns="0" bIns="0" anchor="b" anchorCtr="0">
            <a:noAutofit/>
          </a:bodyPr>
          <a:lstStyle/>
          <a:p>
            <a:pPr marL="0" lvl="0" indent="0" algn="l" rtl="0">
              <a:spcBef>
                <a:spcPts val="0"/>
              </a:spcBef>
              <a:spcAft>
                <a:spcPts val="0"/>
              </a:spcAft>
              <a:buNone/>
            </a:pPr>
            <a:r>
              <a:rPr lang="en-GB" sz="667">
                <a:solidFill>
                  <a:schemeClr val="dk2"/>
                </a:solidFill>
                <a:latin typeface="Inter"/>
                <a:ea typeface="Inter"/>
                <a:cs typeface="Inter"/>
                <a:sym typeface="Inter"/>
              </a:rPr>
              <a:t>Multiverse</a:t>
            </a:r>
            <a:endParaRPr sz="667">
              <a:solidFill>
                <a:schemeClr val="dk2"/>
              </a:solidFill>
              <a:latin typeface="Inter"/>
              <a:ea typeface="Inter"/>
              <a:cs typeface="Inter"/>
              <a:sym typeface="Inter"/>
            </a:endParaRPr>
          </a:p>
        </p:txBody>
      </p:sp>
      <p:sp>
        <p:nvSpPr>
          <p:cNvPr id="1936" name="Google Shape;1936;p57"/>
          <p:cNvSpPr/>
          <p:nvPr/>
        </p:nvSpPr>
        <p:spPr>
          <a:xfrm>
            <a:off x="481601" y="414630"/>
            <a:ext cx="349111" cy="305471"/>
          </a:xfrm>
          <a:custGeom>
            <a:avLst/>
            <a:gdLst/>
            <a:ahLst/>
            <a:cxnLst/>
            <a:rect l="l" t="t" r="r" b="b"/>
            <a:pathLst>
              <a:path w="1586865" h="1388506" extrusionOk="0">
                <a:moveTo>
                  <a:pt x="1083683" y="969931"/>
                </a:moveTo>
                <a:lnTo>
                  <a:pt x="1083683" y="579692"/>
                </a:lnTo>
                <a:lnTo>
                  <a:pt x="849297" y="969931"/>
                </a:lnTo>
                <a:lnTo>
                  <a:pt x="848892" y="969931"/>
                </a:lnTo>
                <a:cubicBezTo>
                  <a:pt x="848892" y="969931"/>
                  <a:pt x="848892" y="969931"/>
                  <a:pt x="848892" y="969931"/>
                </a:cubicBezTo>
                <a:lnTo>
                  <a:pt x="738783" y="969931"/>
                </a:lnTo>
                <a:lnTo>
                  <a:pt x="738783" y="577668"/>
                </a:lnTo>
                <a:lnTo>
                  <a:pt x="549735" y="892612"/>
                </a:lnTo>
                <a:cubicBezTo>
                  <a:pt x="527876" y="929449"/>
                  <a:pt x="510873" y="958191"/>
                  <a:pt x="503992" y="969931"/>
                </a:cubicBezTo>
                <a:lnTo>
                  <a:pt x="393073" y="969931"/>
                </a:lnTo>
                <a:lnTo>
                  <a:pt x="393073" y="418576"/>
                </a:lnTo>
                <a:lnTo>
                  <a:pt x="503992" y="418576"/>
                </a:lnTo>
                <a:lnTo>
                  <a:pt x="502777" y="760643"/>
                </a:lnTo>
                <a:lnTo>
                  <a:pt x="503587" y="782098"/>
                </a:lnTo>
                <a:lnTo>
                  <a:pt x="721781" y="418981"/>
                </a:lnTo>
                <a:lnTo>
                  <a:pt x="721781" y="418981"/>
                </a:lnTo>
                <a:lnTo>
                  <a:pt x="721781" y="418981"/>
                </a:lnTo>
                <a:lnTo>
                  <a:pt x="739188" y="418981"/>
                </a:lnTo>
                <a:lnTo>
                  <a:pt x="847678" y="418981"/>
                </a:lnTo>
                <a:cubicBezTo>
                  <a:pt x="847678" y="418981"/>
                  <a:pt x="848487" y="722995"/>
                  <a:pt x="848892" y="783717"/>
                </a:cubicBezTo>
                <a:lnTo>
                  <a:pt x="1067895" y="418981"/>
                </a:lnTo>
                <a:lnTo>
                  <a:pt x="1067895" y="418981"/>
                </a:lnTo>
                <a:lnTo>
                  <a:pt x="1067895" y="418981"/>
                </a:lnTo>
                <a:lnTo>
                  <a:pt x="1085302" y="418981"/>
                </a:lnTo>
                <a:lnTo>
                  <a:pt x="1193387" y="418981"/>
                </a:lnTo>
                <a:lnTo>
                  <a:pt x="1193387" y="970336"/>
                </a:lnTo>
                <a:lnTo>
                  <a:pt x="1083683" y="970336"/>
                </a:lnTo>
                <a:close/>
                <a:moveTo>
                  <a:pt x="1190149" y="0"/>
                </a:moveTo>
                <a:lnTo>
                  <a:pt x="396716" y="0"/>
                </a:lnTo>
                <a:lnTo>
                  <a:pt x="0" y="694253"/>
                </a:lnTo>
                <a:lnTo>
                  <a:pt x="396716" y="1388507"/>
                </a:lnTo>
                <a:lnTo>
                  <a:pt x="1190149" y="1388507"/>
                </a:lnTo>
                <a:lnTo>
                  <a:pt x="1586865" y="694253"/>
                </a:lnTo>
                <a:lnTo>
                  <a:pt x="1190149" y="0"/>
                </a:lnTo>
                <a:close/>
              </a:path>
            </a:pathLst>
          </a:custGeom>
          <a:solidFill>
            <a:schemeClr val="dk2"/>
          </a:solidFill>
          <a:ln>
            <a:noFill/>
          </a:ln>
        </p:spPr>
        <p:txBody>
          <a:bodyPr spcFirstLastPara="1" wrap="square" lIns="91433" tIns="45700" rIns="91433" bIns="45700" anchor="ctr" anchorCtr="0">
            <a:noAutofit/>
          </a:bodyPr>
          <a:lstStyle/>
          <a:p>
            <a:pPr marL="0" marR="0" lvl="0" indent="0" algn="l" rtl="0">
              <a:spcBef>
                <a:spcPts val="0"/>
              </a:spcBef>
              <a:spcAft>
                <a:spcPts val="0"/>
              </a:spcAft>
              <a:buNone/>
            </a:pPr>
            <a:endParaRPr sz="1867">
              <a:solidFill>
                <a:schemeClr val="dk2"/>
              </a:solidFill>
              <a:latin typeface="Calibri"/>
              <a:ea typeface="Calibri"/>
              <a:cs typeface="Calibri"/>
              <a:sym typeface="Calibri"/>
            </a:endParaRPr>
          </a:p>
        </p:txBody>
      </p:sp>
      <p:cxnSp>
        <p:nvCxnSpPr>
          <p:cNvPr id="1937" name="Google Shape;1937;p57"/>
          <p:cNvCxnSpPr/>
          <p:nvPr/>
        </p:nvCxnSpPr>
        <p:spPr>
          <a:xfrm>
            <a:off x="6097704" y="2005400"/>
            <a:ext cx="0" cy="420400"/>
          </a:xfrm>
          <a:prstGeom prst="straightConnector1">
            <a:avLst/>
          </a:prstGeom>
          <a:noFill/>
          <a:ln w="9525" cap="flat" cmpd="sng">
            <a:solidFill>
              <a:schemeClr val="dk2"/>
            </a:solidFill>
            <a:prstDash val="dot"/>
            <a:round/>
            <a:headEnd type="none" w="med" len="med"/>
            <a:tailEnd type="none" w="med" len="med"/>
          </a:ln>
        </p:spPr>
      </p:cxnSp>
      <p:grpSp>
        <p:nvGrpSpPr>
          <p:cNvPr id="1938" name="Google Shape;1938;p57"/>
          <p:cNvGrpSpPr/>
          <p:nvPr/>
        </p:nvGrpSpPr>
        <p:grpSpPr>
          <a:xfrm>
            <a:off x="5949789" y="2583261"/>
            <a:ext cx="333959" cy="524792"/>
            <a:chOff x="1045680" y="4644845"/>
            <a:chExt cx="680252" cy="1068968"/>
          </a:xfrm>
        </p:grpSpPr>
        <p:sp>
          <p:nvSpPr>
            <p:cNvPr id="1939" name="Google Shape;1939;p57"/>
            <p:cNvSpPr/>
            <p:nvPr/>
          </p:nvSpPr>
          <p:spPr>
            <a:xfrm>
              <a:off x="1045680" y="4644845"/>
              <a:ext cx="680252" cy="680252"/>
            </a:xfrm>
            <a:custGeom>
              <a:avLst/>
              <a:gdLst/>
              <a:ahLst/>
              <a:cxnLst/>
              <a:rect l="l" t="t" r="r" b="b"/>
              <a:pathLst>
                <a:path w="680252" h="680252" extrusionOk="0">
                  <a:moveTo>
                    <a:pt x="340126" y="680253"/>
                  </a:moveTo>
                  <a:cubicBezTo>
                    <a:pt x="527973" y="680253"/>
                    <a:pt x="680253" y="527973"/>
                    <a:pt x="680253" y="340126"/>
                  </a:cubicBezTo>
                  <a:cubicBezTo>
                    <a:pt x="680253" y="152279"/>
                    <a:pt x="527973" y="0"/>
                    <a:pt x="340126" y="0"/>
                  </a:cubicBezTo>
                  <a:cubicBezTo>
                    <a:pt x="152279" y="0"/>
                    <a:pt x="0" y="152279"/>
                    <a:pt x="0" y="340126"/>
                  </a:cubicBezTo>
                  <a:cubicBezTo>
                    <a:pt x="0" y="527973"/>
                    <a:pt x="152279" y="680253"/>
                    <a:pt x="340126" y="680253"/>
                  </a:cubicBezTo>
                  <a:close/>
                </a:path>
              </a:pathLst>
            </a:custGeom>
            <a:noFill/>
            <a:ln w="9525" cap="rnd" cmpd="sng">
              <a:solidFill>
                <a:schemeClr val="dk2"/>
              </a:solidFill>
              <a:prstDash val="solid"/>
              <a:round/>
              <a:headEnd type="none" w="sm" len="sm"/>
              <a:tailEnd type="none" w="sm" len="sm"/>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940" name="Google Shape;1940;p57"/>
            <p:cNvSpPr/>
            <p:nvPr/>
          </p:nvSpPr>
          <p:spPr>
            <a:xfrm>
              <a:off x="1142859" y="5270678"/>
              <a:ext cx="485894" cy="443135"/>
            </a:xfrm>
            <a:custGeom>
              <a:avLst/>
              <a:gdLst/>
              <a:ahLst/>
              <a:cxnLst/>
              <a:rect l="l" t="t" r="r" b="b"/>
              <a:pathLst>
                <a:path w="485894" h="443135" extrusionOk="0">
                  <a:moveTo>
                    <a:pt x="58793" y="486"/>
                  </a:moveTo>
                  <a:lnTo>
                    <a:pt x="0" y="443136"/>
                  </a:lnTo>
                  <a:lnTo>
                    <a:pt x="242947" y="297368"/>
                  </a:lnTo>
                  <a:lnTo>
                    <a:pt x="485895" y="443136"/>
                  </a:lnTo>
                  <a:lnTo>
                    <a:pt x="427101" y="0"/>
                  </a:lnTo>
                </a:path>
              </a:pathLst>
            </a:custGeom>
            <a:noFill/>
            <a:ln w="9525" cap="rnd" cmpd="sng">
              <a:solidFill>
                <a:schemeClr val="dk2"/>
              </a:solidFill>
              <a:prstDash val="solid"/>
              <a:round/>
              <a:headEnd type="none" w="sm" len="sm"/>
              <a:tailEnd type="none" w="sm" len="sm"/>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grpSp>
      <p:sp>
        <p:nvSpPr>
          <p:cNvPr id="1941" name="Google Shape;1941;p57"/>
          <p:cNvSpPr txBox="1">
            <a:spLocks noGrp="1"/>
          </p:cNvSpPr>
          <p:nvPr>
            <p:ph type="subTitle" idx="1"/>
          </p:nvPr>
        </p:nvSpPr>
        <p:spPr>
          <a:xfrm>
            <a:off x="3275433" y="1383867"/>
            <a:ext cx="5587600" cy="470000"/>
          </a:xfrm>
          <a:prstGeom prst="rect">
            <a:avLst/>
          </a:prstGeom>
          <a:noFill/>
        </p:spPr>
        <p:txBody>
          <a:bodyPr spcFirstLastPara="1" wrap="square" lIns="0" tIns="34275" rIns="68575" bIns="34275" anchor="t" anchorCtr="0">
            <a:noAutofit/>
          </a:bodyPr>
          <a:lstStyle>
            <a:lvl1pPr lvl="0" algn="ctr" rtl="0">
              <a:spcBef>
                <a:spcPts val="1067"/>
              </a:spcBef>
              <a:spcAft>
                <a:spcPts val="0"/>
              </a:spcAft>
              <a:buClr>
                <a:schemeClr val="dk1"/>
              </a:buClr>
              <a:buSzPts val="700"/>
              <a:buFont typeface="Inter Medium"/>
              <a:buNone/>
              <a:defRPr sz="1867">
                <a:solidFill>
                  <a:schemeClr val="dk1"/>
                </a:solidFill>
                <a:highlight>
                  <a:schemeClr val="accent4"/>
                </a:highlight>
                <a:latin typeface="Inter Medium"/>
                <a:ea typeface="Inter Medium"/>
                <a:cs typeface="Inter Medium"/>
                <a:sym typeface="Inter Medium"/>
              </a:defRPr>
            </a:lvl1pPr>
            <a:lvl2pPr lvl="1" algn="ctr" rtl="0">
              <a:spcBef>
                <a:spcPts val="533"/>
              </a:spcBef>
              <a:spcAft>
                <a:spcPts val="0"/>
              </a:spcAft>
              <a:buSzPts val="1200"/>
              <a:buNone/>
              <a:defRPr/>
            </a:lvl2pPr>
            <a:lvl3pPr lvl="2" algn="ctr" rtl="0">
              <a:spcBef>
                <a:spcPts val="533"/>
              </a:spcBef>
              <a:spcAft>
                <a:spcPts val="0"/>
              </a:spcAft>
              <a:buSzPts val="1200"/>
              <a:buNone/>
              <a:defRPr/>
            </a:lvl3pPr>
            <a:lvl4pPr lvl="3" algn="ctr" rtl="0">
              <a:spcBef>
                <a:spcPts val="533"/>
              </a:spcBef>
              <a:spcAft>
                <a:spcPts val="0"/>
              </a:spcAft>
              <a:buSzPts val="1200"/>
              <a:buNone/>
              <a:defRPr/>
            </a:lvl4pPr>
            <a:lvl5pPr lvl="4" algn="ctr" rtl="0">
              <a:spcBef>
                <a:spcPts val="533"/>
              </a:spcBef>
              <a:spcAft>
                <a:spcPts val="0"/>
              </a:spcAft>
              <a:buSzPts val="1200"/>
              <a:buNone/>
              <a:defRPr/>
            </a:lvl5pPr>
            <a:lvl6pPr lvl="5" algn="ctr" rtl="0">
              <a:spcBef>
                <a:spcPts val="533"/>
              </a:spcBef>
              <a:spcAft>
                <a:spcPts val="0"/>
              </a:spcAft>
              <a:buSzPts val="1200"/>
              <a:buNone/>
              <a:defRPr/>
            </a:lvl6pPr>
            <a:lvl7pPr lvl="6" algn="ctr" rtl="0">
              <a:spcBef>
                <a:spcPts val="533"/>
              </a:spcBef>
              <a:spcAft>
                <a:spcPts val="0"/>
              </a:spcAft>
              <a:buSzPts val="1200"/>
              <a:buNone/>
              <a:defRPr/>
            </a:lvl7pPr>
            <a:lvl8pPr lvl="7" algn="ctr" rtl="0">
              <a:spcBef>
                <a:spcPts val="533"/>
              </a:spcBef>
              <a:spcAft>
                <a:spcPts val="0"/>
              </a:spcAft>
              <a:buSzPts val="1200"/>
              <a:buNone/>
              <a:defRPr/>
            </a:lvl8pPr>
            <a:lvl9pPr lvl="8" algn="ctr" rtl="0">
              <a:spcBef>
                <a:spcPts val="533"/>
              </a:spcBef>
              <a:spcAft>
                <a:spcPts val="0"/>
              </a:spcAft>
              <a:buSzPts val="1200"/>
              <a:buNone/>
              <a:defRPr/>
            </a:lvl9pPr>
          </a:lstStyle>
          <a:p>
            <a:endParaRPr/>
          </a:p>
        </p:txBody>
      </p:sp>
      <p:sp>
        <p:nvSpPr>
          <p:cNvPr id="1942" name="Google Shape;1942;p57"/>
          <p:cNvSpPr txBox="1">
            <a:spLocks noGrp="1"/>
          </p:cNvSpPr>
          <p:nvPr>
            <p:ph type="subTitle" idx="6"/>
          </p:nvPr>
        </p:nvSpPr>
        <p:spPr>
          <a:xfrm>
            <a:off x="1159967" y="3823475"/>
            <a:ext cx="2046400" cy="470000"/>
          </a:xfrm>
          <a:prstGeom prst="rect">
            <a:avLst/>
          </a:prstGeom>
          <a:noFill/>
        </p:spPr>
        <p:txBody>
          <a:bodyPr spcFirstLastPara="1" wrap="square" lIns="0" tIns="34275" rIns="68575" bIns="34275" anchor="t" anchorCtr="0">
            <a:noAutofit/>
          </a:bodyPr>
          <a:lstStyle>
            <a:lvl1pPr lvl="0" rtl="0">
              <a:lnSpc>
                <a:spcPct val="100000"/>
              </a:lnSpc>
              <a:spcBef>
                <a:spcPts val="0"/>
              </a:spcBef>
              <a:spcAft>
                <a:spcPts val="0"/>
              </a:spcAft>
              <a:buClr>
                <a:schemeClr val="dk1"/>
              </a:buClr>
              <a:buSzPts val="900"/>
              <a:buFont typeface="Inter"/>
              <a:buNone/>
              <a:defRPr sz="1200" b="1">
                <a:solidFill>
                  <a:schemeClr val="dk1"/>
                </a:solidFill>
              </a:defRPr>
            </a:lvl1pPr>
            <a:lvl2pPr lvl="1" rtl="0">
              <a:lnSpc>
                <a:spcPct val="100000"/>
              </a:lnSpc>
              <a:spcBef>
                <a:spcPts val="0"/>
              </a:spcBef>
              <a:spcAft>
                <a:spcPts val="0"/>
              </a:spcAft>
              <a:buClr>
                <a:schemeClr val="dk1"/>
              </a:buClr>
              <a:buSzPts val="900"/>
              <a:buFont typeface="Inter"/>
              <a:buNone/>
              <a:defRPr sz="1200" b="1">
                <a:solidFill>
                  <a:schemeClr val="dk1"/>
                </a:solidFill>
              </a:defRPr>
            </a:lvl2pPr>
            <a:lvl3pPr lvl="2" rtl="0">
              <a:lnSpc>
                <a:spcPct val="100000"/>
              </a:lnSpc>
              <a:spcBef>
                <a:spcPts val="0"/>
              </a:spcBef>
              <a:spcAft>
                <a:spcPts val="0"/>
              </a:spcAft>
              <a:buClr>
                <a:schemeClr val="dk1"/>
              </a:buClr>
              <a:buSzPts val="900"/>
              <a:buFont typeface="Inter"/>
              <a:buNone/>
              <a:defRPr sz="1200" b="1">
                <a:solidFill>
                  <a:schemeClr val="dk1"/>
                </a:solidFill>
              </a:defRPr>
            </a:lvl3pPr>
            <a:lvl4pPr lvl="3" rtl="0">
              <a:lnSpc>
                <a:spcPct val="100000"/>
              </a:lnSpc>
              <a:spcBef>
                <a:spcPts val="0"/>
              </a:spcBef>
              <a:spcAft>
                <a:spcPts val="0"/>
              </a:spcAft>
              <a:buClr>
                <a:schemeClr val="dk1"/>
              </a:buClr>
              <a:buSzPts val="900"/>
              <a:buFont typeface="Inter"/>
              <a:buNone/>
              <a:defRPr sz="1200" b="1">
                <a:solidFill>
                  <a:schemeClr val="dk1"/>
                </a:solidFill>
              </a:defRPr>
            </a:lvl4pPr>
            <a:lvl5pPr lvl="4" rtl="0">
              <a:lnSpc>
                <a:spcPct val="100000"/>
              </a:lnSpc>
              <a:spcBef>
                <a:spcPts val="0"/>
              </a:spcBef>
              <a:spcAft>
                <a:spcPts val="0"/>
              </a:spcAft>
              <a:buClr>
                <a:schemeClr val="dk1"/>
              </a:buClr>
              <a:buSzPts val="900"/>
              <a:buFont typeface="Inter"/>
              <a:buNone/>
              <a:defRPr sz="1200" b="1">
                <a:solidFill>
                  <a:schemeClr val="dk1"/>
                </a:solidFill>
              </a:defRPr>
            </a:lvl5pPr>
            <a:lvl6pPr lvl="5" rtl="0">
              <a:lnSpc>
                <a:spcPct val="100000"/>
              </a:lnSpc>
              <a:spcBef>
                <a:spcPts val="0"/>
              </a:spcBef>
              <a:spcAft>
                <a:spcPts val="0"/>
              </a:spcAft>
              <a:buClr>
                <a:schemeClr val="dk1"/>
              </a:buClr>
              <a:buSzPts val="900"/>
              <a:buFont typeface="Inter"/>
              <a:buNone/>
              <a:defRPr sz="1200" b="1">
                <a:solidFill>
                  <a:schemeClr val="dk1"/>
                </a:solidFill>
                <a:latin typeface="Inter"/>
                <a:ea typeface="Inter"/>
                <a:cs typeface="Inter"/>
                <a:sym typeface="Inter"/>
              </a:defRPr>
            </a:lvl6pPr>
            <a:lvl7pPr lvl="6" rtl="0">
              <a:lnSpc>
                <a:spcPct val="100000"/>
              </a:lnSpc>
              <a:spcBef>
                <a:spcPts val="0"/>
              </a:spcBef>
              <a:spcAft>
                <a:spcPts val="0"/>
              </a:spcAft>
              <a:buClr>
                <a:schemeClr val="dk1"/>
              </a:buClr>
              <a:buSzPts val="900"/>
              <a:buFont typeface="Inter"/>
              <a:buNone/>
              <a:defRPr sz="1200" b="1">
                <a:solidFill>
                  <a:schemeClr val="dk1"/>
                </a:solidFill>
                <a:latin typeface="Inter"/>
                <a:ea typeface="Inter"/>
                <a:cs typeface="Inter"/>
                <a:sym typeface="Inter"/>
              </a:defRPr>
            </a:lvl7pPr>
            <a:lvl8pPr lvl="7" rtl="0">
              <a:lnSpc>
                <a:spcPct val="100000"/>
              </a:lnSpc>
              <a:spcBef>
                <a:spcPts val="0"/>
              </a:spcBef>
              <a:spcAft>
                <a:spcPts val="0"/>
              </a:spcAft>
              <a:buClr>
                <a:schemeClr val="dk1"/>
              </a:buClr>
              <a:buSzPts val="900"/>
              <a:buFont typeface="Inter"/>
              <a:buNone/>
              <a:defRPr sz="1200" b="1">
                <a:solidFill>
                  <a:schemeClr val="dk1"/>
                </a:solidFill>
                <a:latin typeface="Inter"/>
                <a:ea typeface="Inter"/>
                <a:cs typeface="Inter"/>
                <a:sym typeface="Inter"/>
              </a:defRPr>
            </a:lvl8pPr>
            <a:lvl9pPr lvl="8" rtl="0">
              <a:lnSpc>
                <a:spcPct val="100000"/>
              </a:lnSpc>
              <a:spcBef>
                <a:spcPts val="0"/>
              </a:spcBef>
              <a:spcAft>
                <a:spcPts val="0"/>
              </a:spcAft>
              <a:buClr>
                <a:schemeClr val="dk1"/>
              </a:buClr>
              <a:buSzPts val="900"/>
              <a:buFont typeface="Inter"/>
              <a:buNone/>
              <a:defRPr sz="1200" b="1">
                <a:solidFill>
                  <a:schemeClr val="dk1"/>
                </a:solidFill>
                <a:latin typeface="Inter"/>
                <a:ea typeface="Inter"/>
                <a:cs typeface="Inter"/>
                <a:sym typeface="Inter"/>
              </a:defRPr>
            </a:lvl9pPr>
          </a:lstStyle>
          <a:p>
            <a:endParaRPr/>
          </a:p>
        </p:txBody>
      </p:sp>
      <p:sp>
        <p:nvSpPr>
          <p:cNvPr id="1943" name="Google Shape;1943;p57"/>
          <p:cNvSpPr txBox="1">
            <a:spLocks noGrp="1"/>
          </p:cNvSpPr>
          <p:nvPr>
            <p:ph type="subTitle" idx="7"/>
          </p:nvPr>
        </p:nvSpPr>
        <p:spPr>
          <a:xfrm>
            <a:off x="3869000" y="3823475"/>
            <a:ext cx="2046400" cy="470000"/>
          </a:xfrm>
          <a:prstGeom prst="rect">
            <a:avLst/>
          </a:prstGeom>
          <a:noFill/>
        </p:spPr>
        <p:txBody>
          <a:bodyPr spcFirstLastPara="1" wrap="square" lIns="0" tIns="34275" rIns="68575" bIns="34275" anchor="t" anchorCtr="0">
            <a:noAutofit/>
          </a:bodyPr>
          <a:lstStyle>
            <a:lvl1pPr lvl="0" rtl="0">
              <a:lnSpc>
                <a:spcPct val="100000"/>
              </a:lnSpc>
              <a:spcBef>
                <a:spcPts val="0"/>
              </a:spcBef>
              <a:spcAft>
                <a:spcPts val="0"/>
              </a:spcAft>
              <a:buClr>
                <a:schemeClr val="dk1"/>
              </a:buClr>
              <a:buSzPts val="900"/>
              <a:buFont typeface="Inter"/>
              <a:buNone/>
              <a:defRPr sz="1200" b="1">
                <a:solidFill>
                  <a:schemeClr val="dk1"/>
                </a:solidFill>
              </a:defRPr>
            </a:lvl1pPr>
            <a:lvl2pPr lvl="1" rtl="0">
              <a:lnSpc>
                <a:spcPct val="100000"/>
              </a:lnSpc>
              <a:spcBef>
                <a:spcPts val="0"/>
              </a:spcBef>
              <a:spcAft>
                <a:spcPts val="0"/>
              </a:spcAft>
              <a:buClr>
                <a:schemeClr val="dk1"/>
              </a:buClr>
              <a:buSzPts val="900"/>
              <a:buFont typeface="Inter"/>
              <a:buNone/>
              <a:defRPr sz="1200" b="1">
                <a:solidFill>
                  <a:schemeClr val="dk1"/>
                </a:solidFill>
              </a:defRPr>
            </a:lvl2pPr>
            <a:lvl3pPr lvl="2" rtl="0">
              <a:lnSpc>
                <a:spcPct val="100000"/>
              </a:lnSpc>
              <a:spcBef>
                <a:spcPts val="0"/>
              </a:spcBef>
              <a:spcAft>
                <a:spcPts val="0"/>
              </a:spcAft>
              <a:buClr>
                <a:schemeClr val="dk1"/>
              </a:buClr>
              <a:buSzPts val="900"/>
              <a:buFont typeface="Inter"/>
              <a:buNone/>
              <a:defRPr sz="1200" b="1">
                <a:solidFill>
                  <a:schemeClr val="dk1"/>
                </a:solidFill>
              </a:defRPr>
            </a:lvl3pPr>
            <a:lvl4pPr lvl="3" rtl="0">
              <a:lnSpc>
                <a:spcPct val="100000"/>
              </a:lnSpc>
              <a:spcBef>
                <a:spcPts val="0"/>
              </a:spcBef>
              <a:spcAft>
                <a:spcPts val="0"/>
              </a:spcAft>
              <a:buClr>
                <a:schemeClr val="dk1"/>
              </a:buClr>
              <a:buSzPts val="900"/>
              <a:buFont typeface="Inter"/>
              <a:buNone/>
              <a:defRPr sz="1200" b="1">
                <a:solidFill>
                  <a:schemeClr val="dk1"/>
                </a:solidFill>
              </a:defRPr>
            </a:lvl4pPr>
            <a:lvl5pPr lvl="4" rtl="0">
              <a:lnSpc>
                <a:spcPct val="100000"/>
              </a:lnSpc>
              <a:spcBef>
                <a:spcPts val="0"/>
              </a:spcBef>
              <a:spcAft>
                <a:spcPts val="0"/>
              </a:spcAft>
              <a:buClr>
                <a:schemeClr val="dk1"/>
              </a:buClr>
              <a:buSzPts val="900"/>
              <a:buFont typeface="Inter"/>
              <a:buNone/>
              <a:defRPr sz="1200" b="1">
                <a:solidFill>
                  <a:schemeClr val="dk1"/>
                </a:solidFill>
              </a:defRPr>
            </a:lvl5pPr>
            <a:lvl6pPr lvl="5" rtl="0">
              <a:lnSpc>
                <a:spcPct val="100000"/>
              </a:lnSpc>
              <a:spcBef>
                <a:spcPts val="0"/>
              </a:spcBef>
              <a:spcAft>
                <a:spcPts val="0"/>
              </a:spcAft>
              <a:buClr>
                <a:schemeClr val="dk1"/>
              </a:buClr>
              <a:buSzPts val="900"/>
              <a:buFont typeface="Inter"/>
              <a:buNone/>
              <a:defRPr sz="1200" b="1">
                <a:solidFill>
                  <a:schemeClr val="dk1"/>
                </a:solidFill>
                <a:latin typeface="Inter"/>
                <a:ea typeface="Inter"/>
                <a:cs typeface="Inter"/>
                <a:sym typeface="Inter"/>
              </a:defRPr>
            </a:lvl6pPr>
            <a:lvl7pPr lvl="6" rtl="0">
              <a:lnSpc>
                <a:spcPct val="100000"/>
              </a:lnSpc>
              <a:spcBef>
                <a:spcPts val="0"/>
              </a:spcBef>
              <a:spcAft>
                <a:spcPts val="0"/>
              </a:spcAft>
              <a:buClr>
                <a:schemeClr val="dk1"/>
              </a:buClr>
              <a:buSzPts val="900"/>
              <a:buFont typeface="Inter"/>
              <a:buNone/>
              <a:defRPr sz="1200" b="1">
                <a:solidFill>
                  <a:schemeClr val="dk1"/>
                </a:solidFill>
                <a:latin typeface="Inter"/>
                <a:ea typeface="Inter"/>
                <a:cs typeface="Inter"/>
                <a:sym typeface="Inter"/>
              </a:defRPr>
            </a:lvl7pPr>
            <a:lvl8pPr lvl="7" rtl="0">
              <a:lnSpc>
                <a:spcPct val="100000"/>
              </a:lnSpc>
              <a:spcBef>
                <a:spcPts val="0"/>
              </a:spcBef>
              <a:spcAft>
                <a:spcPts val="0"/>
              </a:spcAft>
              <a:buClr>
                <a:schemeClr val="dk1"/>
              </a:buClr>
              <a:buSzPts val="900"/>
              <a:buFont typeface="Inter"/>
              <a:buNone/>
              <a:defRPr sz="1200" b="1">
                <a:solidFill>
                  <a:schemeClr val="dk1"/>
                </a:solidFill>
                <a:latin typeface="Inter"/>
                <a:ea typeface="Inter"/>
                <a:cs typeface="Inter"/>
                <a:sym typeface="Inter"/>
              </a:defRPr>
            </a:lvl8pPr>
            <a:lvl9pPr lvl="8" rtl="0">
              <a:lnSpc>
                <a:spcPct val="100000"/>
              </a:lnSpc>
              <a:spcBef>
                <a:spcPts val="0"/>
              </a:spcBef>
              <a:spcAft>
                <a:spcPts val="0"/>
              </a:spcAft>
              <a:buClr>
                <a:schemeClr val="dk1"/>
              </a:buClr>
              <a:buSzPts val="900"/>
              <a:buFont typeface="Inter"/>
              <a:buNone/>
              <a:defRPr sz="1200" b="1">
                <a:solidFill>
                  <a:schemeClr val="dk1"/>
                </a:solidFill>
                <a:latin typeface="Inter"/>
                <a:ea typeface="Inter"/>
                <a:cs typeface="Inter"/>
                <a:sym typeface="Inter"/>
              </a:defRPr>
            </a:lvl9pPr>
          </a:lstStyle>
          <a:p>
            <a:endParaRPr/>
          </a:p>
        </p:txBody>
      </p:sp>
      <p:sp>
        <p:nvSpPr>
          <p:cNvPr id="1944" name="Google Shape;1944;p57"/>
          <p:cNvSpPr txBox="1">
            <a:spLocks noGrp="1"/>
          </p:cNvSpPr>
          <p:nvPr>
            <p:ph type="subTitle" idx="8"/>
          </p:nvPr>
        </p:nvSpPr>
        <p:spPr>
          <a:xfrm>
            <a:off x="6843600" y="3823475"/>
            <a:ext cx="2046400" cy="470000"/>
          </a:xfrm>
          <a:prstGeom prst="rect">
            <a:avLst/>
          </a:prstGeom>
          <a:noFill/>
        </p:spPr>
        <p:txBody>
          <a:bodyPr spcFirstLastPara="1" wrap="square" lIns="0" tIns="34275" rIns="68575" bIns="34275" anchor="t" anchorCtr="0">
            <a:noAutofit/>
          </a:bodyPr>
          <a:lstStyle>
            <a:lvl1pPr lvl="0" rtl="0">
              <a:lnSpc>
                <a:spcPct val="100000"/>
              </a:lnSpc>
              <a:spcBef>
                <a:spcPts val="0"/>
              </a:spcBef>
              <a:spcAft>
                <a:spcPts val="0"/>
              </a:spcAft>
              <a:buClr>
                <a:schemeClr val="dk1"/>
              </a:buClr>
              <a:buSzPts val="900"/>
              <a:buFont typeface="Inter"/>
              <a:buNone/>
              <a:defRPr sz="1200" b="1">
                <a:solidFill>
                  <a:schemeClr val="dk1"/>
                </a:solidFill>
              </a:defRPr>
            </a:lvl1pPr>
            <a:lvl2pPr lvl="1" rtl="0">
              <a:lnSpc>
                <a:spcPct val="100000"/>
              </a:lnSpc>
              <a:spcBef>
                <a:spcPts val="0"/>
              </a:spcBef>
              <a:spcAft>
                <a:spcPts val="0"/>
              </a:spcAft>
              <a:buClr>
                <a:schemeClr val="dk1"/>
              </a:buClr>
              <a:buSzPts val="900"/>
              <a:buFont typeface="Inter"/>
              <a:buNone/>
              <a:defRPr sz="1200" b="1">
                <a:solidFill>
                  <a:schemeClr val="dk1"/>
                </a:solidFill>
              </a:defRPr>
            </a:lvl2pPr>
            <a:lvl3pPr lvl="2" rtl="0">
              <a:lnSpc>
                <a:spcPct val="100000"/>
              </a:lnSpc>
              <a:spcBef>
                <a:spcPts val="0"/>
              </a:spcBef>
              <a:spcAft>
                <a:spcPts val="0"/>
              </a:spcAft>
              <a:buClr>
                <a:schemeClr val="dk1"/>
              </a:buClr>
              <a:buSzPts val="900"/>
              <a:buFont typeface="Inter"/>
              <a:buNone/>
              <a:defRPr sz="1200" b="1">
                <a:solidFill>
                  <a:schemeClr val="dk1"/>
                </a:solidFill>
              </a:defRPr>
            </a:lvl3pPr>
            <a:lvl4pPr lvl="3" rtl="0">
              <a:lnSpc>
                <a:spcPct val="100000"/>
              </a:lnSpc>
              <a:spcBef>
                <a:spcPts val="0"/>
              </a:spcBef>
              <a:spcAft>
                <a:spcPts val="0"/>
              </a:spcAft>
              <a:buClr>
                <a:schemeClr val="dk1"/>
              </a:buClr>
              <a:buSzPts val="900"/>
              <a:buFont typeface="Inter"/>
              <a:buNone/>
              <a:defRPr sz="1200" b="1">
                <a:solidFill>
                  <a:schemeClr val="dk1"/>
                </a:solidFill>
              </a:defRPr>
            </a:lvl4pPr>
            <a:lvl5pPr lvl="4" rtl="0">
              <a:lnSpc>
                <a:spcPct val="100000"/>
              </a:lnSpc>
              <a:spcBef>
                <a:spcPts val="0"/>
              </a:spcBef>
              <a:spcAft>
                <a:spcPts val="0"/>
              </a:spcAft>
              <a:buClr>
                <a:schemeClr val="dk1"/>
              </a:buClr>
              <a:buSzPts val="900"/>
              <a:buFont typeface="Inter"/>
              <a:buNone/>
              <a:defRPr sz="1200" b="1">
                <a:solidFill>
                  <a:schemeClr val="dk1"/>
                </a:solidFill>
              </a:defRPr>
            </a:lvl5pPr>
            <a:lvl6pPr lvl="5" rtl="0">
              <a:lnSpc>
                <a:spcPct val="100000"/>
              </a:lnSpc>
              <a:spcBef>
                <a:spcPts val="0"/>
              </a:spcBef>
              <a:spcAft>
                <a:spcPts val="0"/>
              </a:spcAft>
              <a:buClr>
                <a:schemeClr val="dk1"/>
              </a:buClr>
              <a:buSzPts val="900"/>
              <a:buFont typeface="Inter"/>
              <a:buNone/>
              <a:defRPr sz="1200" b="1">
                <a:solidFill>
                  <a:schemeClr val="dk1"/>
                </a:solidFill>
                <a:latin typeface="Inter"/>
                <a:ea typeface="Inter"/>
                <a:cs typeface="Inter"/>
                <a:sym typeface="Inter"/>
              </a:defRPr>
            </a:lvl6pPr>
            <a:lvl7pPr lvl="6" rtl="0">
              <a:lnSpc>
                <a:spcPct val="100000"/>
              </a:lnSpc>
              <a:spcBef>
                <a:spcPts val="0"/>
              </a:spcBef>
              <a:spcAft>
                <a:spcPts val="0"/>
              </a:spcAft>
              <a:buClr>
                <a:schemeClr val="dk1"/>
              </a:buClr>
              <a:buSzPts val="900"/>
              <a:buFont typeface="Inter"/>
              <a:buNone/>
              <a:defRPr sz="1200" b="1">
                <a:solidFill>
                  <a:schemeClr val="dk1"/>
                </a:solidFill>
                <a:latin typeface="Inter"/>
                <a:ea typeface="Inter"/>
                <a:cs typeface="Inter"/>
                <a:sym typeface="Inter"/>
              </a:defRPr>
            </a:lvl7pPr>
            <a:lvl8pPr lvl="7" rtl="0">
              <a:lnSpc>
                <a:spcPct val="100000"/>
              </a:lnSpc>
              <a:spcBef>
                <a:spcPts val="0"/>
              </a:spcBef>
              <a:spcAft>
                <a:spcPts val="0"/>
              </a:spcAft>
              <a:buClr>
                <a:schemeClr val="dk1"/>
              </a:buClr>
              <a:buSzPts val="900"/>
              <a:buFont typeface="Inter"/>
              <a:buNone/>
              <a:defRPr sz="1200" b="1">
                <a:solidFill>
                  <a:schemeClr val="dk1"/>
                </a:solidFill>
                <a:latin typeface="Inter"/>
                <a:ea typeface="Inter"/>
                <a:cs typeface="Inter"/>
                <a:sym typeface="Inter"/>
              </a:defRPr>
            </a:lvl8pPr>
            <a:lvl9pPr lvl="8" rtl="0">
              <a:lnSpc>
                <a:spcPct val="100000"/>
              </a:lnSpc>
              <a:spcBef>
                <a:spcPts val="0"/>
              </a:spcBef>
              <a:spcAft>
                <a:spcPts val="0"/>
              </a:spcAft>
              <a:buClr>
                <a:schemeClr val="dk1"/>
              </a:buClr>
              <a:buSzPts val="900"/>
              <a:buFont typeface="Inter"/>
              <a:buNone/>
              <a:defRPr sz="1200" b="1">
                <a:solidFill>
                  <a:schemeClr val="dk1"/>
                </a:solidFill>
                <a:latin typeface="Inter"/>
                <a:ea typeface="Inter"/>
                <a:cs typeface="Inter"/>
                <a:sym typeface="Inter"/>
              </a:defRPr>
            </a:lvl9pPr>
          </a:lstStyle>
          <a:p>
            <a:endParaRPr/>
          </a:p>
        </p:txBody>
      </p:sp>
      <p:sp>
        <p:nvSpPr>
          <p:cNvPr id="1945" name="Google Shape;1945;p57"/>
          <p:cNvSpPr txBox="1">
            <a:spLocks noGrp="1"/>
          </p:cNvSpPr>
          <p:nvPr>
            <p:ph type="subTitle" idx="9"/>
          </p:nvPr>
        </p:nvSpPr>
        <p:spPr>
          <a:xfrm>
            <a:off x="9547267" y="3823475"/>
            <a:ext cx="2046400" cy="470000"/>
          </a:xfrm>
          <a:prstGeom prst="rect">
            <a:avLst/>
          </a:prstGeom>
          <a:noFill/>
        </p:spPr>
        <p:txBody>
          <a:bodyPr spcFirstLastPara="1" wrap="square" lIns="0" tIns="34275" rIns="68575" bIns="34275" anchor="t" anchorCtr="0">
            <a:noAutofit/>
          </a:bodyPr>
          <a:lstStyle>
            <a:lvl1pPr lvl="0" rtl="0">
              <a:lnSpc>
                <a:spcPct val="100000"/>
              </a:lnSpc>
              <a:spcBef>
                <a:spcPts val="0"/>
              </a:spcBef>
              <a:spcAft>
                <a:spcPts val="0"/>
              </a:spcAft>
              <a:buClr>
                <a:schemeClr val="dk1"/>
              </a:buClr>
              <a:buSzPts val="900"/>
              <a:buFont typeface="Inter"/>
              <a:buNone/>
              <a:defRPr sz="1200" b="1">
                <a:solidFill>
                  <a:schemeClr val="dk1"/>
                </a:solidFill>
              </a:defRPr>
            </a:lvl1pPr>
            <a:lvl2pPr lvl="1" rtl="0">
              <a:lnSpc>
                <a:spcPct val="100000"/>
              </a:lnSpc>
              <a:spcBef>
                <a:spcPts val="0"/>
              </a:spcBef>
              <a:spcAft>
                <a:spcPts val="0"/>
              </a:spcAft>
              <a:buClr>
                <a:schemeClr val="dk1"/>
              </a:buClr>
              <a:buSzPts val="900"/>
              <a:buFont typeface="Inter"/>
              <a:buNone/>
              <a:defRPr sz="1200" b="1">
                <a:solidFill>
                  <a:schemeClr val="dk1"/>
                </a:solidFill>
              </a:defRPr>
            </a:lvl2pPr>
            <a:lvl3pPr lvl="2" rtl="0">
              <a:lnSpc>
                <a:spcPct val="100000"/>
              </a:lnSpc>
              <a:spcBef>
                <a:spcPts val="0"/>
              </a:spcBef>
              <a:spcAft>
                <a:spcPts val="0"/>
              </a:spcAft>
              <a:buClr>
                <a:schemeClr val="dk1"/>
              </a:buClr>
              <a:buSzPts val="900"/>
              <a:buFont typeface="Inter"/>
              <a:buNone/>
              <a:defRPr sz="1200" b="1">
                <a:solidFill>
                  <a:schemeClr val="dk1"/>
                </a:solidFill>
              </a:defRPr>
            </a:lvl3pPr>
            <a:lvl4pPr lvl="3" rtl="0">
              <a:lnSpc>
                <a:spcPct val="100000"/>
              </a:lnSpc>
              <a:spcBef>
                <a:spcPts val="0"/>
              </a:spcBef>
              <a:spcAft>
                <a:spcPts val="0"/>
              </a:spcAft>
              <a:buClr>
                <a:schemeClr val="dk1"/>
              </a:buClr>
              <a:buSzPts val="900"/>
              <a:buFont typeface="Inter"/>
              <a:buNone/>
              <a:defRPr sz="1200" b="1">
                <a:solidFill>
                  <a:schemeClr val="dk1"/>
                </a:solidFill>
              </a:defRPr>
            </a:lvl4pPr>
            <a:lvl5pPr lvl="4" rtl="0">
              <a:lnSpc>
                <a:spcPct val="100000"/>
              </a:lnSpc>
              <a:spcBef>
                <a:spcPts val="0"/>
              </a:spcBef>
              <a:spcAft>
                <a:spcPts val="0"/>
              </a:spcAft>
              <a:buClr>
                <a:schemeClr val="dk1"/>
              </a:buClr>
              <a:buSzPts val="900"/>
              <a:buFont typeface="Inter"/>
              <a:buNone/>
              <a:defRPr sz="1200" b="1">
                <a:solidFill>
                  <a:schemeClr val="dk1"/>
                </a:solidFill>
              </a:defRPr>
            </a:lvl5pPr>
            <a:lvl6pPr lvl="5" rtl="0">
              <a:lnSpc>
                <a:spcPct val="100000"/>
              </a:lnSpc>
              <a:spcBef>
                <a:spcPts val="0"/>
              </a:spcBef>
              <a:spcAft>
                <a:spcPts val="0"/>
              </a:spcAft>
              <a:buClr>
                <a:schemeClr val="dk1"/>
              </a:buClr>
              <a:buSzPts val="900"/>
              <a:buFont typeface="Inter"/>
              <a:buNone/>
              <a:defRPr sz="1200" b="1">
                <a:solidFill>
                  <a:schemeClr val="dk1"/>
                </a:solidFill>
                <a:latin typeface="Inter"/>
                <a:ea typeface="Inter"/>
                <a:cs typeface="Inter"/>
                <a:sym typeface="Inter"/>
              </a:defRPr>
            </a:lvl6pPr>
            <a:lvl7pPr lvl="6" rtl="0">
              <a:lnSpc>
                <a:spcPct val="100000"/>
              </a:lnSpc>
              <a:spcBef>
                <a:spcPts val="0"/>
              </a:spcBef>
              <a:spcAft>
                <a:spcPts val="0"/>
              </a:spcAft>
              <a:buClr>
                <a:schemeClr val="dk1"/>
              </a:buClr>
              <a:buSzPts val="900"/>
              <a:buFont typeface="Inter"/>
              <a:buNone/>
              <a:defRPr sz="1200" b="1">
                <a:solidFill>
                  <a:schemeClr val="dk1"/>
                </a:solidFill>
                <a:latin typeface="Inter"/>
                <a:ea typeface="Inter"/>
                <a:cs typeface="Inter"/>
                <a:sym typeface="Inter"/>
              </a:defRPr>
            </a:lvl7pPr>
            <a:lvl8pPr lvl="7" rtl="0">
              <a:lnSpc>
                <a:spcPct val="100000"/>
              </a:lnSpc>
              <a:spcBef>
                <a:spcPts val="0"/>
              </a:spcBef>
              <a:spcAft>
                <a:spcPts val="0"/>
              </a:spcAft>
              <a:buClr>
                <a:schemeClr val="dk1"/>
              </a:buClr>
              <a:buSzPts val="900"/>
              <a:buFont typeface="Inter"/>
              <a:buNone/>
              <a:defRPr sz="1200" b="1">
                <a:solidFill>
                  <a:schemeClr val="dk1"/>
                </a:solidFill>
                <a:latin typeface="Inter"/>
                <a:ea typeface="Inter"/>
                <a:cs typeface="Inter"/>
                <a:sym typeface="Inter"/>
              </a:defRPr>
            </a:lvl8pPr>
            <a:lvl9pPr lvl="8" rtl="0">
              <a:lnSpc>
                <a:spcPct val="100000"/>
              </a:lnSpc>
              <a:spcBef>
                <a:spcPts val="0"/>
              </a:spcBef>
              <a:spcAft>
                <a:spcPts val="0"/>
              </a:spcAft>
              <a:buClr>
                <a:schemeClr val="dk1"/>
              </a:buClr>
              <a:buSzPts val="900"/>
              <a:buFont typeface="Inter"/>
              <a:buNone/>
              <a:defRPr sz="1200" b="1">
                <a:solidFill>
                  <a:schemeClr val="dk1"/>
                </a:solidFill>
                <a:latin typeface="Inter"/>
                <a:ea typeface="Inter"/>
                <a:cs typeface="Inter"/>
                <a:sym typeface="Inter"/>
              </a:defRPr>
            </a:lvl9pPr>
          </a:lstStyle>
          <a:p>
            <a:endParaRPr/>
          </a:p>
        </p:txBody>
      </p:sp>
      <p:cxnSp>
        <p:nvCxnSpPr>
          <p:cNvPr id="1946" name="Google Shape;1946;p57"/>
          <p:cNvCxnSpPr/>
          <p:nvPr/>
        </p:nvCxnSpPr>
        <p:spPr>
          <a:xfrm>
            <a:off x="6097704" y="3351600"/>
            <a:ext cx="0" cy="420400"/>
          </a:xfrm>
          <a:prstGeom prst="straightConnector1">
            <a:avLst/>
          </a:prstGeom>
          <a:noFill/>
          <a:ln w="9525" cap="flat" cmpd="sng">
            <a:solidFill>
              <a:schemeClr val="dk2"/>
            </a:solidFill>
            <a:prstDash val="dot"/>
            <a:round/>
            <a:headEnd type="none" w="med" len="med"/>
            <a:tailEnd type="none" w="med" len="med"/>
          </a:ln>
        </p:spPr>
      </p:cxnSp>
    </p:spTree>
    <p:extLst>
      <p:ext uri="{BB962C8B-B14F-4D97-AF65-F5344CB8AC3E}">
        <p14:creationId xmlns:p14="http://schemas.microsoft.com/office/powerpoint/2010/main" val="205332253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matchingName="Anniversary Profile pics - 3 years 6 pics">
  <p:cSld name="Anniversary Profile pics - 3 years 6 pics">
    <p:bg>
      <p:bgPr>
        <a:solidFill>
          <a:schemeClr val="lt2"/>
        </a:solidFill>
        <a:effectLst/>
      </p:bgPr>
    </p:bg>
    <p:spTree>
      <p:nvGrpSpPr>
        <p:cNvPr id="1" name="Shape 1947"/>
        <p:cNvGrpSpPr/>
        <p:nvPr/>
      </p:nvGrpSpPr>
      <p:grpSpPr>
        <a:xfrm>
          <a:off x="0" y="0"/>
          <a:ext cx="0" cy="0"/>
          <a:chOff x="0" y="0"/>
          <a:chExt cx="0" cy="0"/>
        </a:xfrm>
      </p:grpSpPr>
      <p:grpSp>
        <p:nvGrpSpPr>
          <p:cNvPr id="1948" name="Google Shape;1948;p58"/>
          <p:cNvGrpSpPr/>
          <p:nvPr/>
        </p:nvGrpSpPr>
        <p:grpSpPr>
          <a:xfrm>
            <a:off x="1722480" y="2005463"/>
            <a:ext cx="1356533" cy="1356691"/>
            <a:chOff x="719225" y="1001350"/>
            <a:chExt cx="1184400" cy="1184400"/>
          </a:xfrm>
        </p:grpSpPr>
        <p:sp>
          <p:nvSpPr>
            <p:cNvPr id="1949" name="Google Shape;1949;p58"/>
            <p:cNvSpPr/>
            <p:nvPr/>
          </p:nvSpPr>
          <p:spPr>
            <a:xfrm>
              <a:off x="719225" y="10013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sp>
          <p:nvSpPr>
            <p:cNvPr id="1950" name="Google Shape;1950;p58"/>
            <p:cNvSpPr/>
            <p:nvPr/>
          </p:nvSpPr>
          <p:spPr>
            <a:xfrm>
              <a:off x="795425" y="10775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sp>
          <p:nvSpPr>
            <p:cNvPr id="1951" name="Google Shape;1951;p58"/>
            <p:cNvSpPr/>
            <p:nvPr/>
          </p:nvSpPr>
          <p:spPr>
            <a:xfrm>
              <a:off x="871625" y="11537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sp>
          <p:nvSpPr>
            <p:cNvPr id="1952" name="Google Shape;1952;p58"/>
            <p:cNvSpPr/>
            <p:nvPr/>
          </p:nvSpPr>
          <p:spPr>
            <a:xfrm>
              <a:off x="1737725" y="1008075"/>
              <a:ext cx="152700" cy="152700"/>
            </a:xfrm>
            <a:prstGeom prst="rtTriangle">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sp>
          <p:nvSpPr>
            <p:cNvPr id="1953" name="Google Shape;1953;p58"/>
            <p:cNvSpPr/>
            <p:nvPr/>
          </p:nvSpPr>
          <p:spPr>
            <a:xfrm rot="10800000">
              <a:off x="725809" y="2020700"/>
              <a:ext cx="152700" cy="152700"/>
            </a:xfrm>
            <a:prstGeom prst="rtTriangle">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grpSp>
      <p:grpSp>
        <p:nvGrpSpPr>
          <p:cNvPr id="1954" name="Google Shape;1954;p58"/>
          <p:cNvGrpSpPr/>
          <p:nvPr/>
        </p:nvGrpSpPr>
        <p:grpSpPr>
          <a:xfrm>
            <a:off x="1722480" y="4220429"/>
            <a:ext cx="1356533" cy="1356691"/>
            <a:chOff x="719225" y="1001350"/>
            <a:chExt cx="1184400" cy="1184400"/>
          </a:xfrm>
        </p:grpSpPr>
        <p:sp>
          <p:nvSpPr>
            <p:cNvPr id="1955" name="Google Shape;1955;p58"/>
            <p:cNvSpPr/>
            <p:nvPr/>
          </p:nvSpPr>
          <p:spPr>
            <a:xfrm>
              <a:off x="719225" y="10013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sp>
          <p:nvSpPr>
            <p:cNvPr id="1956" name="Google Shape;1956;p58"/>
            <p:cNvSpPr/>
            <p:nvPr/>
          </p:nvSpPr>
          <p:spPr>
            <a:xfrm>
              <a:off x="795425" y="10775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sp>
          <p:nvSpPr>
            <p:cNvPr id="1957" name="Google Shape;1957;p58"/>
            <p:cNvSpPr/>
            <p:nvPr/>
          </p:nvSpPr>
          <p:spPr>
            <a:xfrm>
              <a:off x="871625" y="11537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sp>
          <p:nvSpPr>
            <p:cNvPr id="1958" name="Google Shape;1958;p58"/>
            <p:cNvSpPr/>
            <p:nvPr/>
          </p:nvSpPr>
          <p:spPr>
            <a:xfrm>
              <a:off x="1737725" y="1008075"/>
              <a:ext cx="152700" cy="152700"/>
            </a:xfrm>
            <a:prstGeom prst="rtTriangle">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sp>
          <p:nvSpPr>
            <p:cNvPr id="1959" name="Google Shape;1959;p58"/>
            <p:cNvSpPr/>
            <p:nvPr/>
          </p:nvSpPr>
          <p:spPr>
            <a:xfrm rot="10800000">
              <a:off x="725809" y="2020700"/>
              <a:ext cx="152700" cy="152700"/>
            </a:xfrm>
            <a:prstGeom prst="rtTriangle">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grpSp>
      <p:grpSp>
        <p:nvGrpSpPr>
          <p:cNvPr id="1960" name="Google Shape;1960;p58"/>
          <p:cNvGrpSpPr/>
          <p:nvPr/>
        </p:nvGrpSpPr>
        <p:grpSpPr>
          <a:xfrm>
            <a:off x="5413291" y="2005463"/>
            <a:ext cx="1356533" cy="1356691"/>
            <a:chOff x="719225" y="1001350"/>
            <a:chExt cx="1184400" cy="1184400"/>
          </a:xfrm>
        </p:grpSpPr>
        <p:sp>
          <p:nvSpPr>
            <p:cNvPr id="1961" name="Google Shape;1961;p58"/>
            <p:cNvSpPr/>
            <p:nvPr/>
          </p:nvSpPr>
          <p:spPr>
            <a:xfrm>
              <a:off x="719225" y="10013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sp>
          <p:nvSpPr>
            <p:cNvPr id="1962" name="Google Shape;1962;p58"/>
            <p:cNvSpPr/>
            <p:nvPr/>
          </p:nvSpPr>
          <p:spPr>
            <a:xfrm>
              <a:off x="795425" y="10775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sp>
          <p:nvSpPr>
            <p:cNvPr id="1963" name="Google Shape;1963;p58"/>
            <p:cNvSpPr/>
            <p:nvPr/>
          </p:nvSpPr>
          <p:spPr>
            <a:xfrm>
              <a:off x="871625" y="11537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sp>
          <p:nvSpPr>
            <p:cNvPr id="1964" name="Google Shape;1964;p58"/>
            <p:cNvSpPr/>
            <p:nvPr/>
          </p:nvSpPr>
          <p:spPr>
            <a:xfrm>
              <a:off x="1737725" y="1008075"/>
              <a:ext cx="152700" cy="152700"/>
            </a:xfrm>
            <a:prstGeom prst="rtTriangle">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sp>
          <p:nvSpPr>
            <p:cNvPr id="1965" name="Google Shape;1965;p58"/>
            <p:cNvSpPr/>
            <p:nvPr/>
          </p:nvSpPr>
          <p:spPr>
            <a:xfrm rot="10800000">
              <a:off x="725809" y="2020700"/>
              <a:ext cx="152700" cy="152700"/>
            </a:xfrm>
            <a:prstGeom prst="rtTriangle">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grpSp>
      <p:grpSp>
        <p:nvGrpSpPr>
          <p:cNvPr id="1966" name="Google Shape;1966;p58"/>
          <p:cNvGrpSpPr/>
          <p:nvPr/>
        </p:nvGrpSpPr>
        <p:grpSpPr>
          <a:xfrm>
            <a:off x="5413291" y="4220429"/>
            <a:ext cx="1356533" cy="1356691"/>
            <a:chOff x="719225" y="1001350"/>
            <a:chExt cx="1184400" cy="1184400"/>
          </a:xfrm>
        </p:grpSpPr>
        <p:sp>
          <p:nvSpPr>
            <p:cNvPr id="1967" name="Google Shape;1967;p58"/>
            <p:cNvSpPr/>
            <p:nvPr/>
          </p:nvSpPr>
          <p:spPr>
            <a:xfrm>
              <a:off x="719225" y="10013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sp>
          <p:nvSpPr>
            <p:cNvPr id="1968" name="Google Shape;1968;p58"/>
            <p:cNvSpPr/>
            <p:nvPr/>
          </p:nvSpPr>
          <p:spPr>
            <a:xfrm>
              <a:off x="795425" y="10775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sp>
          <p:nvSpPr>
            <p:cNvPr id="1969" name="Google Shape;1969;p58"/>
            <p:cNvSpPr/>
            <p:nvPr/>
          </p:nvSpPr>
          <p:spPr>
            <a:xfrm>
              <a:off x="871625" y="11537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sp>
          <p:nvSpPr>
            <p:cNvPr id="1970" name="Google Shape;1970;p58"/>
            <p:cNvSpPr/>
            <p:nvPr/>
          </p:nvSpPr>
          <p:spPr>
            <a:xfrm>
              <a:off x="1737725" y="1008075"/>
              <a:ext cx="152700" cy="152700"/>
            </a:xfrm>
            <a:prstGeom prst="rtTriangle">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sp>
          <p:nvSpPr>
            <p:cNvPr id="1971" name="Google Shape;1971;p58"/>
            <p:cNvSpPr/>
            <p:nvPr/>
          </p:nvSpPr>
          <p:spPr>
            <a:xfrm rot="10800000">
              <a:off x="725809" y="2020700"/>
              <a:ext cx="152700" cy="152700"/>
            </a:xfrm>
            <a:prstGeom prst="rtTriangle">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grpSp>
      <p:grpSp>
        <p:nvGrpSpPr>
          <p:cNvPr id="1972" name="Google Shape;1972;p58"/>
          <p:cNvGrpSpPr/>
          <p:nvPr/>
        </p:nvGrpSpPr>
        <p:grpSpPr>
          <a:xfrm>
            <a:off x="9175311" y="2005463"/>
            <a:ext cx="1356533" cy="1356691"/>
            <a:chOff x="719225" y="1001350"/>
            <a:chExt cx="1184400" cy="1184400"/>
          </a:xfrm>
        </p:grpSpPr>
        <p:sp>
          <p:nvSpPr>
            <p:cNvPr id="1973" name="Google Shape;1973;p58"/>
            <p:cNvSpPr/>
            <p:nvPr/>
          </p:nvSpPr>
          <p:spPr>
            <a:xfrm>
              <a:off x="719225" y="10013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sp>
          <p:nvSpPr>
            <p:cNvPr id="1974" name="Google Shape;1974;p58"/>
            <p:cNvSpPr/>
            <p:nvPr/>
          </p:nvSpPr>
          <p:spPr>
            <a:xfrm>
              <a:off x="795425" y="10775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sp>
          <p:nvSpPr>
            <p:cNvPr id="1975" name="Google Shape;1975;p58"/>
            <p:cNvSpPr/>
            <p:nvPr/>
          </p:nvSpPr>
          <p:spPr>
            <a:xfrm>
              <a:off x="871625" y="11537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sp>
          <p:nvSpPr>
            <p:cNvPr id="1976" name="Google Shape;1976;p58"/>
            <p:cNvSpPr/>
            <p:nvPr/>
          </p:nvSpPr>
          <p:spPr>
            <a:xfrm>
              <a:off x="1737725" y="1008075"/>
              <a:ext cx="152700" cy="152700"/>
            </a:xfrm>
            <a:prstGeom prst="rtTriangle">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sp>
          <p:nvSpPr>
            <p:cNvPr id="1977" name="Google Shape;1977;p58"/>
            <p:cNvSpPr/>
            <p:nvPr/>
          </p:nvSpPr>
          <p:spPr>
            <a:xfrm rot="10800000">
              <a:off x="725809" y="2020700"/>
              <a:ext cx="152700" cy="152700"/>
            </a:xfrm>
            <a:prstGeom prst="rtTriangle">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grpSp>
      <p:grpSp>
        <p:nvGrpSpPr>
          <p:cNvPr id="1978" name="Google Shape;1978;p58"/>
          <p:cNvGrpSpPr/>
          <p:nvPr/>
        </p:nvGrpSpPr>
        <p:grpSpPr>
          <a:xfrm>
            <a:off x="9175311" y="4220429"/>
            <a:ext cx="1356533" cy="1356691"/>
            <a:chOff x="719225" y="1001350"/>
            <a:chExt cx="1184400" cy="1184400"/>
          </a:xfrm>
        </p:grpSpPr>
        <p:sp>
          <p:nvSpPr>
            <p:cNvPr id="1979" name="Google Shape;1979;p58"/>
            <p:cNvSpPr/>
            <p:nvPr/>
          </p:nvSpPr>
          <p:spPr>
            <a:xfrm>
              <a:off x="719225" y="10013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sp>
          <p:nvSpPr>
            <p:cNvPr id="1980" name="Google Shape;1980;p58"/>
            <p:cNvSpPr/>
            <p:nvPr/>
          </p:nvSpPr>
          <p:spPr>
            <a:xfrm>
              <a:off x="795425" y="10775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sp>
          <p:nvSpPr>
            <p:cNvPr id="1981" name="Google Shape;1981;p58"/>
            <p:cNvSpPr/>
            <p:nvPr/>
          </p:nvSpPr>
          <p:spPr>
            <a:xfrm>
              <a:off x="871625" y="11537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sp>
          <p:nvSpPr>
            <p:cNvPr id="1982" name="Google Shape;1982;p58"/>
            <p:cNvSpPr/>
            <p:nvPr/>
          </p:nvSpPr>
          <p:spPr>
            <a:xfrm>
              <a:off x="1737725" y="1008075"/>
              <a:ext cx="152700" cy="152700"/>
            </a:xfrm>
            <a:prstGeom prst="rtTriangle">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sp>
          <p:nvSpPr>
            <p:cNvPr id="1983" name="Google Shape;1983;p58"/>
            <p:cNvSpPr/>
            <p:nvPr/>
          </p:nvSpPr>
          <p:spPr>
            <a:xfrm rot="10800000">
              <a:off x="725809" y="2020700"/>
              <a:ext cx="152700" cy="152700"/>
            </a:xfrm>
            <a:prstGeom prst="rtTriangle">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grpSp>
      <p:sp>
        <p:nvSpPr>
          <p:cNvPr id="1984" name="Google Shape;1984;p58"/>
          <p:cNvSpPr>
            <a:spLocks noGrp="1"/>
          </p:cNvSpPr>
          <p:nvPr>
            <p:ph type="pic" idx="2"/>
          </p:nvPr>
        </p:nvSpPr>
        <p:spPr>
          <a:xfrm>
            <a:off x="1722688" y="2005413"/>
            <a:ext cx="1182000" cy="1182000"/>
          </a:xfrm>
          <a:prstGeom prst="roundRect">
            <a:avLst>
              <a:gd name="adj" fmla="val 3181"/>
            </a:avLst>
          </a:prstGeom>
          <a:noFill/>
          <a:ln>
            <a:noFill/>
          </a:ln>
        </p:spPr>
      </p:sp>
      <p:sp>
        <p:nvSpPr>
          <p:cNvPr id="1985" name="Google Shape;1985;p58"/>
          <p:cNvSpPr>
            <a:spLocks noGrp="1"/>
          </p:cNvSpPr>
          <p:nvPr>
            <p:ph type="pic" idx="3"/>
          </p:nvPr>
        </p:nvSpPr>
        <p:spPr>
          <a:xfrm>
            <a:off x="5413416" y="2005413"/>
            <a:ext cx="1182000" cy="1182000"/>
          </a:xfrm>
          <a:prstGeom prst="roundRect">
            <a:avLst>
              <a:gd name="adj" fmla="val 3181"/>
            </a:avLst>
          </a:prstGeom>
          <a:noFill/>
          <a:ln>
            <a:noFill/>
          </a:ln>
        </p:spPr>
      </p:sp>
      <p:sp>
        <p:nvSpPr>
          <p:cNvPr id="1986" name="Google Shape;1986;p58"/>
          <p:cNvSpPr>
            <a:spLocks noGrp="1"/>
          </p:cNvSpPr>
          <p:nvPr>
            <p:ph type="pic" idx="4"/>
          </p:nvPr>
        </p:nvSpPr>
        <p:spPr>
          <a:xfrm>
            <a:off x="9175336" y="2005413"/>
            <a:ext cx="1182000" cy="1182000"/>
          </a:xfrm>
          <a:prstGeom prst="roundRect">
            <a:avLst>
              <a:gd name="adj" fmla="val 3181"/>
            </a:avLst>
          </a:prstGeom>
          <a:noFill/>
          <a:ln>
            <a:noFill/>
          </a:ln>
        </p:spPr>
      </p:sp>
      <p:sp>
        <p:nvSpPr>
          <p:cNvPr id="1987" name="Google Shape;1987;p58"/>
          <p:cNvSpPr>
            <a:spLocks noGrp="1"/>
          </p:cNvSpPr>
          <p:nvPr>
            <p:ph type="pic" idx="5"/>
          </p:nvPr>
        </p:nvSpPr>
        <p:spPr>
          <a:xfrm>
            <a:off x="1722688" y="4220447"/>
            <a:ext cx="1182000" cy="1182000"/>
          </a:xfrm>
          <a:prstGeom prst="roundRect">
            <a:avLst>
              <a:gd name="adj" fmla="val 3181"/>
            </a:avLst>
          </a:prstGeom>
          <a:noFill/>
          <a:ln>
            <a:noFill/>
          </a:ln>
        </p:spPr>
      </p:sp>
      <p:sp>
        <p:nvSpPr>
          <p:cNvPr id="1988" name="Google Shape;1988;p58"/>
          <p:cNvSpPr>
            <a:spLocks noGrp="1"/>
          </p:cNvSpPr>
          <p:nvPr>
            <p:ph type="pic" idx="6"/>
          </p:nvPr>
        </p:nvSpPr>
        <p:spPr>
          <a:xfrm>
            <a:off x="5413416" y="4220447"/>
            <a:ext cx="1182000" cy="1182000"/>
          </a:xfrm>
          <a:prstGeom prst="roundRect">
            <a:avLst>
              <a:gd name="adj" fmla="val 3181"/>
            </a:avLst>
          </a:prstGeom>
          <a:noFill/>
          <a:ln>
            <a:noFill/>
          </a:ln>
        </p:spPr>
      </p:sp>
      <p:sp>
        <p:nvSpPr>
          <p:cNvPr id="1989" name="Google Shape;1989;p58"/>
          <p:cNvSpPr>
            <a:spLocks noGrp="1"/>
          </p:cNvSpPr>
          <p:nvPr>
            <p:ph type="pic" idx="7"/>
          </p:nvPr>
        </p:nvSpPr>
        <p:spPr>
          <a:xfrm>
            <a:off x="9175336" y="4220447"/>
            <a:ext cx="1182000" cy="1182000"/>
          </a:xfrm>
          <a:prstGeom prst="roundRect">
            <a:avLst>
              <a:gd name="adj" fmla="val 3181"/>
            </a:avLst>
          </a:prstGeom>
          <a:noFill/>
          <a:ln>
            <a:noFill/>
          </a:ln>
        </p:spPr>
      </p:sp>
      <p:sp>
        <p:nvSpPr>
          <p:cNvPr id="1990" name="Google Shape;1990;p58"/>
          <p:cNvSpPr txBox="1">
            <a:spLocks noGrp="1"/>
          </p:cNvSpPr>
          <p:nvPr>
            <p:ph type="title"/>
          </p:nvPr>
        </p:nvSpPr>
        <p:spPr>
          <a:xfrm>
            <a:off x="951700" y="359997"/>
            <a:ext cx="10515600" cy="975200"/>
          </a:xfrm>
          <a:prstGeom prst="rect">
            <a:avLst/>
          </a:prstGeom>
          <a:noFill/>
          <a:ln>
            <a:noFill/>
          </a:ln>
        </p:spPr>
        <p:txBody>
          <a:bodyPr spcFirstLastPara="1" wrap="square" lIns="0" tIns="0" rIns="68575" bIns="34275" anchor="t" anchorCtr="0">
            <a:noAutofit/>
          </a:bodyPr>
          <a:lstStyle>
            <a:lvl1pPr lvl="0" algn="l" rtl="0">
              <a:lnSpc>
                <a:spcPct val="90000"/>
              </a:lnSpc>
              <a:spcBef>
                <a:spcPts val="0"/>
              </a:spcBef>
              <a:spcAft>
                <a:spcPts val="0"/>
              </a:spcAft>
              <a:buClr>
                <a:schemeClr val="dk1"/>
              </a:buClr>
              <a:buSzPts val="2400"/>
              <a:buFont typeface="Inter Medium"/>
              <a:buNone/>
              <a:defRPr sz="3200">
                <a:solidFill>
                  <a:schemeClr val="dk1"/>
                </a:solidFill>
                <a:latin typeface="Inter Medium"/>
                <a:ea typeface="Inter Medium"/>
                <a:cs typeface="Inter Medium"/>
                <a:sym typeface="Inter Medium"/>
              </a:defRPr>
            </a:lvl1pPr>
            <a:lvl2pPr lvl="1" rtl="0">
              <a:spcBef>
                <a:spcPts val="0"/>
              </a:spcBef>
              <a:spcAft>
                <a:spcPts val="0"/>
              </a:spcAft>
              <a:buClr>
                <a:schemeClr val="dk1"/>
              </a:buClr>
              <a:buSzPts val="1100"/>
              <a:buNone/>
              <a:defRPr b="1">
                <a:solidFill>
                  <a:schemeClr val="dk1"/>
                </a:solidFill>
              </a:defRPr>
            </a:lvl2pPr>
            <a:lvl3pPr lvl="2" rtl="0">
              <a:spcBef>
                <a:spcPts val="0"/>
              </a:spcBef>
              <a:spcAft>
                <a:spcPts val="0"/>
              </a:spcAft>
              <a:buClr>
                <a:schemeClr val="dk1"/>
              </a:buClr>
              <a:buSzPts val="1100"/>
              <a:buNone/>
              <a:defRPr b="1">
                <a:solidFill>
                  <a:schemeClr val="dk1"/>
                </a:solidFill>
              </a:defRPr>
            </a:lvl3pPr>
            <a:lvl4pPr lvl="3" rtl="0">
              <a:spcBef>
                <a:spcPts val="0"/>
              </a:spcBef>
              <a:spcAft>
                <a:spcPts val="0"/>
              </a:spcAft>
              <a:buClr>
                <a:schemeClr val="dk1"/>
              </a:buClr>
              <a:buSzPts val="1100"/>
              <a:buNone/>
              <a:defRPr b="1">
                <a:solidFill>
                  <a:schemeClr val="dk1"/>
                </a:solidFill>
              </a:defRPr>
            </a:lvl4pPr>
            <a:lvl5pPr lvl="4" rtl="0">
              <a:spcBef>
                <a:spcPts val="0"/>
              </a:spcBef>
              <a:spcAft>
                <a:spcPts val="0"/>
              </a:spcAft>
              <a:buClr>
                <a:schemeClr val="dk1"/>
              </a:buClr>
              <a:buSzPts val="1100"/>
              <a:buNone/>
              <a:defRPr b="1">
                <a:solidFill>
                  <a:schemeClr val="dk1"/>
                </a:solidFill>
              </a:defRPr>
            </a:lvl5pPr>
            <a:lvl6pPr lvl="5" rtl="0">
              <a:spcBef>
                <a:spcPts val="0"/>
              </a:spcBef>
              <a:spcAft>
                <a:spcPts val="0"/>
              </a:spcAft>
              <a:buClr>
                <a:schemeClr val="dk1"/>
              </a:buClr>
              <a:buSzPts val="1100"/>
              <a:buNone/>
              <a:defRPr b="1">
                <a:solidFill>
                  <a:schemeClr val="dk1"/>
                </a:solidFill>
              </a:defRPr>
            </a:lvl6pPr>
            <a:lvl7pPr lvl="6" rtl="0">
              <a:spcBef>
                <a:spcPts val="0"/>
              </a:spcBef>
              <a:spcAft>
                <a:spcPts val="0"/>
              </a:spcAft>
              <a:buClr>
                <a:schemeClr val="dk1"/>
              </a:buClr>
              <a:buSzPts val="1100"/>
              <a:buNone/>
              <a:defRPr b="1">
                <a:solidFill>
                  <a:schemeClr val="dk1"/>
                </a:solidFill>
              </a:defRPr>
            </a:lvl7pPr>
            <a:lvl8pPr lvl="7" rtl="0">
              <a:spcBef>
                <a:spcPts val="0"/>
              </a:spcBef>
              <a:spcAft>
                <a:spcPts val="0"/>
              </a:spcAft>
              <a:buClr>
                <a:schemeClr val="dk1"/>
              </a:buClr>
              <a:buSzPts val="1100"/>
              <a:buNone/>
              <a:defRPr b="1">
                <a:solidFill>
                  <a:schemeClr val="dk1"/>
                </a:solidFill>
              </a:defRPr>
            </a:lvl8pPr>
            <a:lvl9pPr lvl="8" rtl="0">
              <a:spcBef>
                <a:spcPts val="0"/>
              </a:spcBef>
              <a:spcAft>
                <a:spcPts val="0"/>
              </a:spcAft>
              <a:buClr>
                <a:schemeClr val="dk1"/>
              </a:buClr>
              <a:buSzPts val="1100"/>
              <a:buNone/>
              <a:defRPr b="1">
                <a:solidFill>
                  <a:schemeClr val="dk1"/>
                </a:solidFill>
              </a:defRPr>
            </a:lvl9pPr>
          </a:lstStyle>
          <a:p>
            <a:endParaRPr/>
          </a:p>
        </p:txBody>
      </p:sp>
      <p:sp>
        <p:nvSpPr>
          <p:cNvPr id="1991" name="Google Shape;1991;p58"/>
          <p:cNvSpPr txBox="1">
            <a:spLocks noGrp="1"/>
          </p:cNvSpPr>
          <p:nvPr>
            <p:ph type="sldNum" idx="12"/>
          </p:nvPr>
        </p:nvSpPr>
        <p:spPr>
          <a:xfrm>
            <a:off x="10978812" y="5993647"/>
            <a:ext cx="731600" cy="524800"/>
          </a:xfrm>
          <a:prstGeom prst="rect">
            <a:avLst/>
          </a:prstGeom>
          <a:noFill/>
        </p:spPr>
        <p:txBody>
          <a:bodyPr spcFirstLastPara="1" wrap="square" lIns="91425" tIns="91425" rIns="0" bIns="0" anchor="b" anchorCtr="0">
            <a:noAutofit/>
          </a:bodyPr>
          <a:lstStyle>
            <a:lvl1pPr lvl="0" algn="r" rtl="0">
              <a:buNone/>
              <a:defRPr sz="667">
                <a:latin typeface="Inter"/>
                <a:ea typeface="Inter"/>
                <a:cs typeface="Inter"/>
                <a:sym typeface="Inter"/>
              </a:defRPr>
            </a:lvl1pPr>
            <a:lvl2pPr lvl="1" algn="r" rtl="0">
              <a:buNone/>
              <a:defRPr sz="667">
                <a:latin typeface="Inter"/>
                <a:ea typeface="Inter"/>
                <a:cs typeface="Inter"/>
                <a:sym typeface="Inter"/>
              </a:defRPr>
            </a:lvl2pPr>
            <a:lvl3pPr lvl="2" algn="r" rtl="0">
              <a:buNone/>
              <a:defRPr sz="667">
                <a:latin typeface="Inter"/>
                <a:ea typeface="Inter"/>
                <a:cs typeface="Inter"/>
                <a:sym typeface="Inter"/>
              </a:defRPr>
            </a:lvl3pPr>
            <a:lvl4pPr lvl="3" algn="r" rtl="0">
              <a:buNone/>
              <a:defRPr sz="667">
                <a:latin typeface="Inter"/>
                <a:ea typeface="Inter"/>
                <a:cs typeface="Inter"/>
                <a:sym typeface="Inter"/>
              </a:defRPr>
            </a:lvl4pPr>
            <a:lvl5pPr lvl="4" algn="r" rtl="0">
              <a:buNone/>
              <a:defRPr sz="667">
                <a:latin typeface="Inter"/>
                <a:ea typeface="Inter"/>
                <a:cs typeface="Inter"/>
                <a:sym typeface="Inter"/>
              </a:defRPr>
            </a:lvl5pPr>
            <a:lvl6pPr lvl="5" algn="r" rtl="0">
              <a:buNone/>
              <a:defRPr sz="667">
                <a:latin typeface="Inter"/>
                <a:ea typeface="Inter"/>
                <a:cs typeface="Inter"/>
                <a:sym typeface="Inter"/>
              </a:defRPr>
            </a:lvl6pPr>
            <a:lvl7pPr lvl="6" algn="r" rtl="0">
              <a:buNone/>
              <a:defRPr sz="667">
                <a:latin typeface="Inter"/>
                <a:ea typeface="Inter"/>
                <a:cs typeface="Inter"/>
                <a:sym typeface="Inter"/>
              </a:defRPr>
            </a:lvl7pPr>
            <a:lvl8pPr lvl="7" algn="r" rtl="0">
              <a:buNone/>
              <a:defRPr sz="667">
                <a:latin typeface="Inter"/>
                <a:ea typeface="Inter"/>
                <a:cs typeface="Inter"/>
                <a:sym typeface="Inter"/>
              </a:defRPr>
            </a:lvl8pPr>
            <a:lvl9pPr lvl="8" algn="r" rtl="0">
              <a:buNone/>
              <a:defRPr sz="667">
                <a:latin typeface="Inter"/>
                <a:ea typeface="Inter"/>
                <a:cs typeface="Inter"/>
                <a:sym typeface="Inter"/>
              </a:defRPr>
            </a:lvl9pPr>
          </a:lstStyle>
          <a:p>
            <a:fld id="{00000000-1234-1234-1234-123412341234}" type="slidenum">
              <a:rPr lang="en-GB" smtClean="0"/>
              <a:pPr/>
              <a:t>‹#›</a:t>
            </a:fld>
            <a:endParaRPr lang="en-GB"/>
          </a:p>
        </p:txBody>
      </p:sp>
      <p:sp>
        <p:nvSpPr>
          <p:cNvPr id="1992" name="Google Shape;1992;p58"/>
          <p:cNvSpPr txBox="1"/>
          <p:nvPr/>
        </p:nvSpPr>
        <p:spPr>
          <a:xfrm>
            <a:off x="481600" y="6245247"/>
            <a:ext cx="1288400" cy="273200"/>
          </a:xfrm>
          <a:prstGeom prst="rect">
            <a:avLst/>
          </a:prstGeom>
          <a:noFill/>
          <a:ln>
            <a:noFill/>
          </a:ln>
        </p:spPr>
        <p:txBody>
          <a:bodyPr spcFirstLastPara="1" wrap="square" lIns="0" tIns="0" rIns="0" bIns="0" anchor="b" anchorCtr="0">
            <a:noAutofit/>
          </a:bodyPr>
          <a:lstStyle/>
          <a:p>
            <a:pPr marL="0" lvl="0" indent="0" algn="l" rtl="0">
              <a:spcBef>
                <a:spcPts val="0"/>
              </a:spcBef>
              <a:spcAft>
                <a:spcPts val="0"/>
              </a:spcAft>
              <a:buNone/>
            </a:pPr>
            <a:r>
              <a:rPr lang="en-GB" sz="667">
                <a:solidFill>
                  <a:schemeClr val="dk2"/>
                </a:solidFill>
                <a:latin typeface="Inter"/>
                <a:ea typeface="Inter"/>
                <a:cs typeface="Inter"/>
                <a:sym typeface="Inter"/>
              </a:rPr>
              <a:t>Multiverse</a:t>
            </a:r>
            <a:endParaRPr sz="667">
              <a:solidFill>
                <a:schemeClr val="dk2"/>
              </a:solidFill>
              <a:latin typeface="Inter"/>
              <a:ea typeface="Inter"/>
              <a:cs typeface="Inter"/>
              <a:sym typeface="Inter"/>
            </a:endParaRPr>
          </a:p>
        </p:txBody>
      </p:sp>
      <p:sp>
        <p:nvSpPr>
          <p:cNvPr id="1993" name="Google Shape;1993;p58"/>
          <p:cNvSpPr/>
          <p:nvPr/>
        </p:nvSpPr>
        <p:spPr>
          <a:xfrm>
            <a:off x="481601" y="414630"/>
            <a:ext cx="349111" cy="305471"/>
          </a:xfrm>
          <a:custGeom>
            <a:avLst/>
            <a:gdLst/>
            <a:ahLst/>
            <a:cxnLst/>
            <a:rect l="l" t="t" r="r" b="b"/>
            <a:pathLst>
              <a:path w="1586865" h="1388506" extrusionOk="0">
                <a:moveTo>
                  <a:pt x="1083683" y="969931"/>
                </a:moveTo>
                <a:lnTo>
                  <a:pt x="1083683" y="579692"/>
                </a:lnTo>
                <a:lnTo>
                  <a:pt x="849297" y="969931"/>
                </a:lnTo>
                <a:lnTo>
                  <a:pt x="848892" y="969931"/>
                </a:lnTo>
                <a:cubicBezTo>
                  <a:pt x="848892" y="969931"/>
                  <a:pt x="848892" y="969931"/>
                  <a:pt x="848892" y="969931"/>
                </a:cubicBezTo>
                <a:lnTo>
                  <a:pt x="738783" y="969931"/>
                </a:lnTo>
                <a:lnTo>
                  <a:pt x="738783" y="577668"/>
                </a:lnTo>
                <a:lnTo>
                  <a:pt x="549735" y="892612"/>
                </a:lnTo>
                <a:cubicBezTo>
                  <a:pt x="527876" y="929449"/>
                  <a:pt x="510873" y="958191"/>
                  <a:pt x="503992" y="969931"/>
                </a:cubicBezTo>
                <a:lnTo>
                  <a:pt x="393073" y="969931"/>
                </a:lnTo>
                <a:lnTo>
                  <a:pt x="393073" y="418576"/>
                </a:lnTo>
                <a:lnTo>
                  <a:pt x="503992" y="418576"/>
                </a:lnTo>
                <a:lnTo>
                  <a:pt x="502777" y="760643"/>
                </a:lnTo>
                <a:lnTo>
                  <a:pt x="503587" y="782098"/>
                </a:lnTo>
                <a:lnTo>
                  <a:pt x="721781" y="418981"/>
                </a:lnTo>
                <a:lnTo>
                  <a:pt x="721781" y="418981"/>
                </a:lnTo>
                <a:lnTo>
                  <a:pt x="721781" y="418981"/>
                </a:lnTo>
                <a:lnTo>
                  <a:pt x="739188" y="418981"/>
                </a:lnTo>
                <a:lnTo>
                  <a:pt x="847678" y="418981"/>
                </a:lnTo>
                <a:cubicBezTo>
                  <a:pt x="847678" y="418981"/>
                  <a:pt x="848487" y="722995"/>
                  <a:pt x="848892" y="783717"/>
                </a:cubicBezTo>
                <a:lnTo>
                  <a:pt x="1067895" y="418981"/>
                </a:lnTo>
                <a:lnTo>
                  <a:pt x="1067895" y="418981"/>
                </a:lnTo>
                <a:lnTo>
                  <a:pt x="1067895" y="418981"/>
                </a:lnTo>
                <a:lnTo>
                  <a:pt x="1085302" y="418981"/>
                </a:lnTo>
                <a:lnTo>
                  <a:pt x="1193387" y="418981"/>
                </a:lnTo>
                <a:lnTo>
                  <a:pt x="1193387" y="970336"/>
                </a:lnTo>
                <a:lnTo>
                  <a:pt x="1083683" y="970336"/>
                </a:lnTo>
                <a:close/>
                <a:moveTo>
                  <a:pt x="1190149" y="0"/>
                </a:moveTo>
                <a:lnTo>
                  <a:pt x="396716" y="0"/>
                </a:lnTo>
                <a:lnTo>
                  <a:pt x="0" y="694253"/>
                </a:lnTo>
                <a:lnTo>
                  <a:pt x="396716" y="1388507"/>
                </a:lnTo>
                <a:lnTo>
                  <a:pt x="1190149" y="1388507"/>
                </a:lnTo>
                <a:lnTo>
                  <a:pt x="1586865" y="694253"/>
                </a:lnTo>
                <a:lnTo>
                  <a:pt x="1190149" y="0"/>
                </a:lnTo>
                <a:close/>
              </a:path>
            </a:pathLst>
          </a:custGeom>
          <a:solidFill>
            <a:schemeClr val="dk2"/>
          </a:solidFill>
          <a:ln>
            <a:noFill/>
          </a:ln>
        </p:spPr>
        <p:txBody>
          <a:bodyPr spcFirstLastPara="1" wrap="square" lIns="91433" tIns="45700" rIns="91433" bIns="45700"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cxnSp>
        <p:nvCxnSpPr>
          <p:cNvPr id="1994" name="Google Shape;1994;p58"/>
          <p:cNvCxnSpPr/>
          <p:nvPr/>
        </p:nvCxnSpPr>
        <p:spPr>
          <a:xfrm>
            <a:off x="7976368" y="4356100"/>
            <a:ext cx="0" cy="1727200"/>
          </a:xfrm>
          <a:prstGeom prst="straightConnector1">
            <a:avLst/>
          </a:prstGeom>
          <a:noFill/>
          <a:ln w="9525" cap="flat" cmpd="sng">
            <a:solidFill>
              <a:schemeClr val="dk2"/>
            </a:solidFill>
            <a:prstDash val="dot"/>
            <a:round/>
            <a:headEnd type="none" w="med" len="med"/>
            <a:tailEnd type="none" w="med" len="med"/>
          </a:ln>
        </p:spPr>
      </p:cxnSp>
      <p:cxnSp>
        <p:nvCxnSpPr>
          <p:cNvPr id="1995" name="Google Shape;1995;p58"/>
          <p:cNvCxnSpPr/>
          <p:nvPr/>
        </p:nvCxnSpPr>
        <p:spPr>
          <a:xfrm>
            <a:off x="7976368" y="1408067"/>
            <a:ext cx="0" cy="1868400"/>
          </a:xfrm>
          <a:prstGeom prst="straightConnector1">
            <a:avLst/>
          </a:prstGeom>
          <a:noFill/>
          <a:ln w="9525" cap="flat" cmpd="sng">
            <a:solidFill>
              <a:schemeClr val="dk2"/>
            </a:solidFill>
            <a:prstDash val="dot"/>
            <a:round/>
            <a:headEnd type="none" w="med" len="med"/>
            <a:tailEnd type="none" w="med" len="med"/>
          </a:ln>
        </p:spPr>
      </p:cxnSp>
      <p:grpSp>
        <p:nvGrpSpPr>
          <p:cNvPr id="1996" name="Google Shape;1996;p58"/>
          <p:cNvGrpSpPr/>
          <p:nvPr/>
        </p:nvGrpSpPr>
        <p:grpSpPr>
          <a:xfrm>
            <a:off x="7828453" y="3541179"/>
            <a:ext cx="333959" cy="524792"/>
            <a:chOff x="1045680" y="4644845"/>
            <a:chExt cx="680252" cy="1068968"/>
          </a:xfrm>
        </p:grpSpPr>
        <p:sp>
          <p:nvSpPr>
            <p:cNvPr id="1997" name="Google Shape;1997;p58"/>
            <p:cNvSpPr/>
            <p:nvPr/>
          </p:nvSpPr>
          <p:spPr>
            <a:xfrm>
              <a:off x="1045680" y="4644845"/>
              <a:ext cx="680252" cy="680252"/>
            </a:xfrm>
            <a:custGeom>
              <a:avLst/>
              <a:gdLst/>
              <a:ahLst/>
              <a:cxnLst/>
              <a:rect l="l" t="t" r="r" b="b"/>
              <a:pathLst>
                <a:path w="680252" h="680252" extrusionOk="0">
                  <a:moveTo>
                    <a:pt x="340126" y="680253"/>
                  </a:moveTo>
                  <a:cubicBezTo>
                    <a:pt x="527973" y="680253"/>
                    <a:pt x="680253" y="527973"/>
                    <a:pt x="680253" y="340126"/>
                  </a:cubicBezTo>
                  <a:cubicBezTo>
                    <a:pt x="680253" y="152279"/>
                    <a:pt x="527973" y="0"/>
                    <a:pt x="340126" y="0"/>
                  </a:cubicBezTo>
                  <a:cubicBezTo>
                    <a:pt x="152279" y="0"/>
                    <a:pt x="0" y="152279"/>
                    <a:pt x="0" y="340126"/>
                  </a:cubicBezTo>
                  <a:cubicBezTo>
                    <a:pt x="0" y="527973"/>
                    <a:pt x="152279" y="680253"/>
                    <a:pt x="340126" y="680253"/>
                  </a:cubicBezTo>
                  <a:close/>
                </a:path>
              </a:pathLst>
            </a:custGeom>
            <a:noFill/>
            <a:ln w="9525" cap="rnd" cmpd="sng">
              <a:solidFill>
                <a:schemeClr val="dk2"/>
              </a:solidFill>
              <a:prstDash val="solid"/>
              <a:round/>
              <a:headEnd type="none" w="sm" len="sm"/>
              <a:tailEnd type="none" w="sm" len="sm"/>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1998" name="Google Shape;1998;p58"/>
            <p:cNvSpPr/>
            <p:nvPr/>
          </p:nvSpPr>
          <p:spPr>
            <a:xfrm>
              <a:off x="1142859" y="5270678"/>
              <a:ext cx="485894" cy="443135"/>
            </a:xfrm>
            <a:custGeom>
              <a:avLst/>
              <a:gdLst/>
              <a:ahLst/>
              <a:cxnLst/>
              <a:rect l="l" t="t" r="r" b="b"/>
              <a:pathLst>
                <a:path w="485894" h="443135" extrusionOk="0">
                  <a:moveTo>
                    <a:pt x="58793" y="486"/>
                  </a:moveTo>
                  <a:lnTo>
                    <a:pt x="0" y="443136"/>
                  </a:lnTo>
                  <a:lnTo>
                    <a:pt x="242947" y="297368"/>
                  </a:lnTo>
                  <a:lnTo>
                    <a:pt x="485895" y="443136"/>
                  </a:lnTo>
                  <a:lnTo>
                    <a:pt x="427101" y="0"/>
                  </a:lnTo>
                </a:path>
              </a:pathLst>
            </a:custGeom>
            <a:noFill/>
            <a:ln w="9525" cap="rnd" cmpd="sng">
              <a:solidFill>
                <a:schemeClr val="dk2"/>
              </a:solidFill>
              <a:prstDash val="solid"/>
              <a:round/>
              <a:headEnd type="none" w="sm" len="sm"/>
              <a:tailEnd type="none" w="sm" len="sm"/>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grpSp>
      <p:sp>
        <p:nvSpPr>
          <p:cNvPr id="1999" name="Google Shape;1999;p58"/>
          <p:cNvSpPr txBox="1">
            <a:spLocks noGrp="1"/>
          </p:cNvSpPr>
          <p:nvPr>
            <p:ph type="subTitle" idx="1"/>
          </p:nvPr>
        </p:nvSpPr>
        <p:spPr>
          <a:xfrm>
            <a:off x="481600" y="1383867"/>
            <a:ext cx="3707200" cy="470000"/>
          </a:xfrm>
          <a:prstGeom prst="rect">
            <a:avLst/>
          </a:prstGeom>
          <a:noFill/>
        </p:spPr>
        <p:txBody>
          <a:bodyPr spcFirstLastPara="1" wrap="square" lIns="0" tIns="34275" rIns="68575" bIns="34275" anchor="t" anchorCtr="0">
            <a:noAutofit/>
          </a:bodyPr>
          <a:lstStyle>
            <a:lvl1pPr lvl="0" algn="ctr" rtl="0">
              <a:spcBef>
                <a:spcPts val="1067"/>
              </a:spcBef>
              <a:spcAft>
                <a:spcPts val="0"/>
              </a:spcAft>
              <a:buClr>
                <a:schemeClr val="dk1"/>
              </a:buClr>
              <a:buSzPts val="700"/>
              <a:buFont typeface="Inter Medium"/>
              <a:buNone/>
              <a:defRPr sz="1867">
                <a:solidFill>
                  <a:schemeClr val="dk1"/>
                </a:solidFill>
                <a:highlight>
                  <a:schemeClr val="accent4"/>
                </a:highlight>
                <a:latin typeface="Inter Medium"/>
                <a:ea typeface="Inter Medium"/>
                <a:cs typeface="Inter Medium"/>
                <a:sym typeface="Inter Medium"/>
              </a:defRPr>
            </a:lvl1pPr>
            <a:lvl2pPr lvl="1" algn="ctr" rtl="0">
              <a:spcBef>
                <a:spcPts val="533"/>
              </a:spcBef>
              <a:spcAft>
                <a:spcPts val="0"/>
              </a:spcAft>
              <a:buClr>
                <a:schemeClr val="dk1"/>
              </a:buClr>
              <a:buSzPts val="1200"/>
              <a:buNone/>
              <a:defRPr>
                <a:solidFill>
                  <a:schemeClr val="dk1"/>
                </a:solidFill>
                <a:highlight>
                  <a:schemeClr val="accent4"/>
                </a:highlight>
              </a:defRPr>
            </a:lvl2pPr>
            <a:lvl3pPr lvl="2" algn="ctr" rtl="0">
              <a:spcBef>
                <a:spcPts val="533"/>
              </a:spcBef>
              <a:spcAft>
                <a:spcPts val="0"/>
              </a:spcAft>
              <a:buClr>
                <a:schemeClr val="dk1"/>
              </a:buClr>
              <a:buSzPts val="1200"/>
              <a:buNone/>
              <a:defRPr>
                <a:solidFill>
                  <a:schemeClr val="dk1"/>
                </a:solidFill>
                <a:highlight>
                  <a:schemeClr val="accent4"/>
                </a:highlight>
              </a:defRPr>
            </a:lvl3pPr>
            <a:lvl4pPr lvl="3" algn="ctr" rtl="0">
              <a:spcBef>
                <a:spcPts val="533"/>
              </a:spcBef>
              <a:spcAft>
                <a:spcPts val="0"/>
              </a:spcAft>
              <a:buClr>
                <a:schemeClr val="dk1"/>
              </a:buClr>
              <a:buSzPts val="1200"/>
              <a:buNone/>
              <a:defRPr>
                <a:solidFill>
                  <a:schemeClr val="dk1"/>
                </a:solidFill>
                <a:highlight>
                  <a:schemeClr val="accent4"/>
                </a:highlight>
              </a:defRPr>
            </a:lvl4pPr>
            <a:lvl5pPr lvl="4" algn="ctr" rtl="0">
              <a:spcBef>
                <a:spcPts val="533"/>
              </a:spcBef>
              <a:spcAft>
                <a:spcPts val="0"/>
              </a:spcAft>
              <a:buClr>
                <a:schemeClr val="dk1"/>
              </a:buClr>
              <a:buSzPts val="1200"/>
              <a:buNone/>
              <a:defRPr>
                <a:solidFill>
                  <a:schemeClr val="dk1"/>
                </a:solidFill>
                <a:highlight>
                  <a:schemeClr val="accent4"/>
                </a:highlight>
              </a:defRPr>
            </a:lvl5pPr>
            <a:lvl6pPr lvl="5" algn="ctr" rtl="0">
              <a:spcBef>
                <a:spcPts val="533"/>
              </a:spcBef>
              <a:spcAft>
                <a:spcPts val="0"/>
              </a:spcAft>
              <a:buClr>
                <a:schemeClr val="dk1"/>
              </a:buClr>
              <a:buSzPts val="1200"/>
              <a:buNone/>
              <a:defRPr>
                <a:solidFill>
                  <a:schemeClr val="dk1"/>
                </a:solidFill>
                <a:highlight>
                  <a:schemeClr val="accent4"/>
                </a:highlight>
              </a:defRPr>
            </a:lvl6pPr>
            <a:lvl7pPr lvl="6" algn="ctr" rtl="0">
              <a:spcBef>
                <a:spcPts val="533"/>
              </a:spcBef>
              <a:spcAft>
                <a:spcPts val="0"/>
              </a:spcAft>
              <a:buClr>
                <a:schemeClr val="dk1"/>
              </a:buClr>
              <a:buSzPts val="1200"/>
              <a:buNone/>
              <a:defRPr>
                <a:solidFill>
                  <a:schemeClr val="dk1"/>
                </a:solidFill>
                <a:highlight>
                  <a:schemeClr val="accent4"/>
                </a:highlight>
              </a:defRPr>
            </a:lvl7pPr>
            <a:lvl8pPr lvl="7" algn="ctr" rtl="0">
              <a:spcBef>
                <a:spcPts val="533"/>
              </a:spcBef>
              <a:spcAft>
                <a:spcPts val="0"/>
              </a:spcAft>
              <a:buClr>
                <a:schemeClr val="dk1"/>
              </a:buClr>
              <a:buSzPts val="1200"/>
              <a:buNone/>
              <a:defRPr>
                <a:solidFill>
                  <a:schemeClr val="dk1"/>
                </a:solidFill>
                <a:highlight>
                  <a:schemeClr val="accent4"/>
                </a:highlight>
              </a:defRPr>
            </a:lvl8pPr>
            <a:lvl9pPr lvl="8" algn="ctr" rtl="0">
              <a:spcBef>
                <a:spcPts val="533"/>
              </a:spcBef>
              <a:spcAft>
                <a:spcPts val="0"/>
              </a:spcAft>
              <a:buClr>
                <a:schemeClr val="dk1"/>
              </a:buClr>
              <a:buSzPts val="1200"/>
              <a:buNone/>
              <a:defRPr>
                <a:solidFill>
                  <a:schemeClr val="dk1"/>
                </a:solidFill>
                <a:highlight>
                  <a:schemeClr val="accent4"/>
                </a:highlight>
              </a:defRPr>
            </a:lvl9pPr>
          </a:lstStyle>
          <a:p>
            <a:endParaRPr/>
          </a:p>
        </p:txBody>
      </p:sp>
      <p:sp>
        <p:nvSpPr>
          <p:cNvPr id="2000" name="Google Shape;2000;p58"/>
          <p:cNvSpPr txBox="1">
            <a:spLocks noGrp="1"/>
          </p:cNvSpPr>
          <p:nvPr>
            <p:ph type="subTitle" idx="8"/>
          </p:nvPr>
        </p:nvSpPr>
        <p:spPr>
          <a:xfrm>
            <a:off x="4242500" y="1383867"/>
            <a:ext cx="3707200" cy="470000"/>
          </a:xfrm>
          <a:prstGeom prst="rect">
            <a:avLst/>
          </a:prstGeom>
          <a:noFill/>
        </p:spPr>
        <p:txBody>
          <a:bodyPr spcFirstLastPara="1" wrap="square" lIns="0" tIns="34275" rIns="68575" bIns="34275" anchor="t" anchorCtr="0">
            <a:noAutofit/>
          </a:bodyPr>
          <a:lstStyle>
            <a:lvl1pPr lvl="0" algn="ctr" rtl="0">
              <a:spcBef>
                <a:spcPts val="1067"/>
              </a:spcBef>
              <a:spcAft>
                <a:spcPts val="0"/>
              </a:spcAft>
              <a:buClr>
                <a:schemeClr val="dk1"/>
              </a:buClr>
              <a:buSzPts val="700"/>
              <a:buFont typeface="Inter Medium"/>
              <a:buNone/>
              <a:defRPr sz="1867">
                <a:solidFill>
                  <a:schemeClr val="dk1"/>
                </a:solidFill>
                <a:highlight>
                  <a:schemeClr val="accent4"/>
                </a:highlight>
                <a:latin typeface="Inter Medium"/>
                <a:ea typeface="Inter Medium"/>
                <a:cs typeface="Inter Medium"/>
                <a:sym typeface="Inter Medium"/>
              </a:defRPr>
            </a:lvl1pPr>
            <a:lvl2pPr lvl="1" algn="ctr" rtl="0">
              <a:spcBef>
                <a:spcPts val="533"/>
              </a:spcBef>
              <a:spcAft>
                <a:spcPts val="0"/>
              </a:spcAft>
              <a:buClr>
                <a:schemeClr val="dk1"/>
              </a:buClr>
              <a:buSzPts val="1200"/>
              <a:buNone/>
              <a:defRPr>
                <a:solidFill>
                  <a:schemeClr val="dk1"/>
                </a:solidFill>
                <a:highlight>
                  <a:schemeClr val="accent4"/>
                </a:highlight>
              </a:defRPr>
            </a:lvl2pPr>
            <a:lvl3pPr lvl="2" algn="ctr" rtl="0">
              <a:spcBef>
                <a:spcPts val="533"/>
              </a:spcBef>
              <a:spcAft>
                <a:spcPts val="0"/>
              </a:spcAft>
              <a:buClr>
                <a:schemeClr val="dk1"/>
              </a:buClr>
              <a:buSzPts val="1200"/>
              <a:buNone/>
              <a:defRPr>
                <a:solidFill>
                  <a:schemeClr val="dk1"/>
                </a:solidFill>
                <a:highlight>
                  <a:schemeClr val="accent4"/>
                </a:highlight>
              </a:defRPr>
            </a:lvl3pPr>
            <a:lvl4pPr lvl="3" algn="ctr" rtl="0">
              <a:spcBef>
                <a:spcPts val="533"/>
              </a:spcBef>
              <a:spcAft>
                <a:spcPts val="0"/>
              </a:spcAft>
              <a:buClr>
                <a:schemeClr val="dk1"/>
              </a:buClr>
              <a:buSzPts val="1200"/>
              <a:buNone/>
              <a:defRPr>
                <a:solidFill>
                  <a:schemeClr val="dk1"/>
                </a:solidFill>
                <a:highlight>
                  <a:schemeClr val="accent4"/>
                </a:highlight>
              </a:defRPr>
            </a:lvl4pPr>
            <a:lvl5pPr lvl="4" algn="ctr" rtl="0">
              <a:spcBef>
                <a:spcPts val="533"/>
              </a:spcBef>
              <a:spcAft>
                <a:spcPts val="0"/>
              </a:spcAft>
              <a:buClr>
                <a:schemeClr val="dk1"/>
              </a:buClr>
              <a:buSzPts val="1200"/>
              <a:buNone/>
              <a:defRPr>
                <a:solidFill>
                  <a:schemeClr val="dk1"/>
                </a:solidFill>
                <a:highlight>
                  <a:schemeClr val="accent4"/>
                </a:highlight>
              </a:defRPr>
            </a:lvl5pPr>
            <a:lvl6pPr lvl="5" algn="ctr" rtl="0">
              <a:spcBef>
                <a:spcPts val="533"/>
              </a:spcBef>
              <a:spcAft>
                <a:spcPts val="0"/>
              </a:spcAft>
              <a:buClr>
                <a:schemeClr val="dk1"/>
              </a:buClr>
              <a:buSzPts val="1200"/>
              <a:buNone/>
              <a:defRPr>
                <a:solidFill>
                  <a:schemeClr val="dk1"/>
                </a:solidFill>
                <a:highlight>
                  <a:schemeClr val="accent4"/>
                </a:highlight>
              </a:defRPr>
            </a:lvl6pPr>
            <a:lvl7pPr lvl="6" algn="ctr" rtl="0">
              <a:spcBef>
                <a:spcPts val="533"/>
              </a:spcBef>
              <a:spcAft>
                <a:spcPts val="0"/>
              </a:spcAft>
              <a:buClr>
                <a:schemeClr val="dk1"/>
              </a:buClr>
              <a:buSzPts val="1200"/>
              <a:buNone/>
              <a:defRPr>
                <a:solidFill>
                  <a:schemeClr val="dk1"/>
                </a:solidFill>
                <a:highlight>
                  <a:schemeClr val="accent4"/>
                </a:highlight>
              </a:defRPr>
            </a:lvl7pPr>
            <a:lvl8pPr lvl="7" algn="ctr" rtl="0">
              <a:spcBef>
                <a:spcPts val="533"/>
              </a:spcBef>
              <a:spcAft>
                <a:spcPts val="0"/>
              </a:spcAft>
              <a:buClr>
                <a:schemeClr val="dk1"/>
              </a:buClr>
              <a:buSzPts val="1200"/>
              <a:buNone/>
              <a:defRPr>
                <a:solidFill>
                  <a:schemeClr val="dk1"/>
                </a:solidFill>
                <a:highlight>
                  <a:schemeClr val="accent4"/>
                </a:highlight>
              </a:defRPr>
            </a:lvl8pPr>
            <a:lvl9pPr lvl="8" algn="ctr" rtl="0">
              <a:spcBef>
                <a:spcPts val="533"/>
              </a:spcBef>
              <a:spcAft>
                <a:spcPts val="0"/>
              </a:spcAft>
              <a:buClr>
                <a:schemeClr val="dk1"/>
              </a:buClr>
              <a:buSzPts val="1200"/>
              <a:buNone/>
              <a:defRPr>
                <a:solidFill>
                  <a:schemeClr val="dk1"/>
                </a:solidFill>
                <a:highlight>
                  <a:schemeClr val="accent4"/>
                </a:highlight>
              </a:defRPr>
            </a:lvl9pPr>
          </a:lstStyle>
          <a:p>
            <a:endParaRPr/>
          </a:p>
        </p:txBody>
      </p:sp>
      <p:sp>
        <p:nvSpPr>
          <p:cNvPr id="2001" name="Google Shape;2001;p58"/>
          <p:cNvSpPr txBox="1">
            <a:spLocks noGrp="1"/>
          </p:cNvSpPr>
          <p:nvPr>
            <p:ph type="subTitle" idx="9"/>
          </p:nvPr>
        </p:nvSpPr>
        <p:spPr>
          <a:xfrm>
            <a:off x="8003400" y="1383867"/>
            <a:ext cx="3707200" cy="470000"/>
          </a:xfrm>
          <a:prstGeom prst="rect">
            <a:avLst/>
          </a:prstGeom>
          <a:noFill/>
        </p:spPr>
        <p:txBody>
          <a:bodyPr spcFirstLastPara="1" wrap="square" lIns="0" tIns="34275" rIns="68575" bIns="34275" anchor="t" anchorCtr="0">
            <a:noAutofit/>
          </a:bodyPr>
          <a:lstStyle>
            <a:lvl1pPr lvl="0" algn="ctr" rtl="0">
              <a:spcBef>
                <a:spcPts val="1067"/>
              </a:spcBef>
              <a:spcAft>
                <a:spcPts val="0"/>
              </a:spcAft>
              <a:buClr>
                <a:schemeClr val="dk1"/>
              </a:buClr>
              <a:buSzPts val="700"/>
              <a:buFont typeface="Inter Medium"/>
              <a:buNone/>
              <a:defRPr sz="1867">
                <a:solidFill>
                  <a:schemeClr val="dk1"/>
                </a:solidFill>
                <a:highlight>
                  <a:schemeClr val="accent4"/>
                </a:highlight>
                <a:latin typeface="Inter Medium"/>
                <a:ea typeface="Inter Medium"/>
                <a:cs typeface="Inter Medium"/>
                <a:sym typeface="Inter Medium"/>
              </a:defRPr>
            </a:lvl1pPr>
            <a:lvl2pPr lvl="1" algn="ctr" rtl="0">
              <a:spcBef>
                <a:spcPts val="533"/>
              </a:spcBef>
              <a:spcAft>
                <a:spcPts val="0"/>
              </a:spcAft>
              <a:buClr>
                <a:schemeClr val="dk1"/>
              </a:buClr>
              <a:buSzPts val="1200"/>
              <a:buNone/>
              <a:defRPr>
                <a:solidFill>
                  <a:schemeClr val="dk1"/>
                </a:solidFill>
                <a:highlight>
                  <a:schemeClr val="accent4"/>
                </a:highlight>
              </a:defRPr>
            </a:lvl2pPr>
            <a:lvl3pPr lvl="2" algn="ctr" rtl="0">
              <a:spcBef>
                <a:spcPts val="533"/>
              </a:spcBef>
              <a:spcAft>
                <a:spcPts val="0"/>
              </a:spcAft>
              <a:buClr>
                <a:schemeClr val="dk1"/>
              </a:buClr>
              <a:buSzPts val="1200"/>
              <a:buNone/>
              <a:defRPr>
                <a:solidFill>
                  <a:schemeClr val="dk1"/>
                </a:solidFill>
                <a:highlight>
                  <a:schemeClr val="accent4"/>
                </a:highlight>
              </a:defRPr>
            </a:lvl3pPr>
            <a:lvl4pPr lvl="3" algn="ctr" rtl="0">
              <a:spcBef>
                <a:spcPts val="533"/>
              </a:spcBef>
              <a:spcAft>
                <a:spcPts val="0"/>
              </a:spcAft>
              <a:buClr>
                <a:schemeClr val="dk1"/>
              </a:buClr>
              <a:buSzPts val="1200"/>
              <a:buNone/>
              <a:defRPr>
                <a:solidFill>
                  <a:schemeClr val="dk1"/>
                </a:solidFill>
                <a:highlight>
                  <a:schemeClr val="accent4"/>
                </a:highlight>
              </a:defRPr>
            </a:lvl4pPr>
            <a:lvl5pPr lvl="4" algn="ctr" rtl="0">
              <a:spcBef>
                <a:spcPts val="533"/>
              </a:spcBef>
              <a:spcAft>
                <a:spcPts val="0"/>
              </a:spcAft>
              <a:buClr>
                <a:schemeClr val="dk1"/>
              </a:buClr>
              <a:buSzPts val="1200"/>
              <a:buNone/>
              <a:defRPr>
                <a:solidFill>
                  <a:schemeClr val="dk1"/>
                </a:solidFill>
                <a:highlight>
                  <a:schemeClr val="accent4"/>
                </a:highlight>
              </a:defRPr>
            </a:lvl5pPr>
            <a:lvl6pPr lvl="5" algn="ctr" rtl="0">
              <a:spcBef>
                <a:spcPts val="533"/>
              </a:spcBef>
              <a:spcAft>
                <a:spcPts val="0"/>
              </a:spcAft>
              <a:buClr>
                <a:schemeClr val="dk1"/>
              </a:buClr>
              <a:buSzPts val="1200"/>
              <a:buNone/>
              <a:defRPr>
                <a:solidFill>
                  <a:schemeClr val="dk1"/>
                </a:solidFill>
                <a:highlight>
                  <a:schemeClr val="accent4"/>
                </a:highlight>
              </a:defRPr>
            </a:lvl6pPr>
            <a:lvl7pPr lvl="6" algn="ctr" rtl="0">
              <a:spcBef>
                <a:spcPts val="533"/>
              </a:spcBef>
              <a:spcAft>
                <a:spcPts val="0"/>
              </a:spcAft>
              <a:buClr>
                <a:schemeClr val="dk1"/>
              </a:buClr>
              <a:buSzPts val="1200"/>
              <a:buNone/>
              <a:defRPr>
                <a:solidFill>
                  <a:schemeClr val="dk1"/>
                </a:solidFill>
                <a:highlight>
                  <a:schemeClr val="accent4"/>
                </a:highlight>
              </a:defRPr>
            </a:lvl7pPr>
            <a:lvl8pPr lvl="7" algn="ctr" rtl="0">
              <a:spcBef>
                <a:spcPts val="533"/>
              </a:spcBef>
              <a:spcAft>
                <a:spcPts val="0"/>
              </a:spcAft>
              <a:buClr>
                <a:schemeClr val="dk1"/>
              </a:buClr>
              <a:buSzPts val="1200"/>
              <a:buNone/>
              <a:defRPr>
                <a:solidFill>
                  <a:schemeClr val="dk1"/>
                </a:solidFill>
                <a:highlight>
                  <a:schemeClr val="accent4"/>
                </a:highlight>
              </a:defRPr>
            </a:lvl8pPr>
            <a:lvl9pPr lvl="8" algn="ctr" rtl="0">
              <a:spcBef>
                <a:spcPts val="533"/>
              </a:spcBef>
              <a:spcAft>
                <a:spcPts val="0"/>
              </a:spcAft>
              <a:buClr>
                <a:schemeClr val="dk1"/>
              </a:buClr>
              <a:buSzPts val="1200"/>
              <a:buNone/>
              <a:defRPr>
                <a:solidFill>
                  <a:schemeClr val="dk1"/>
                </a:solidFill>
                <a:highlight>
                  <a:schemeClr val="accent4"/>
                </a:highlight>
              </a:defRPr>
            </a:lvl9pPr>
          </a:lstStyle>
          <a:p>
            <a:endParaRPr/>
          </a:p>
        </p:txBody>
      </p:sp>
      <p:sp>
        <p:nvSpPr>
          <p:cNvPr id="2002" name="Google Shape;2002;p58"/>
          <p:cNvSpPr txBox="1">
            <a:spLocks noGrp="1"/>
          </p:cNvSpPr>
          <p:nvPr>
            <p:ph type="subTitle" idx="13"/>
          </p:nvPr>
        </p:nvSpPr>
        <p:spPr>
          <a:xfrm>
            <a:off x="1722488" y="3417075"/>
            <a:ext cx="2046400" cy="470000"/>
          </a:xfrm>
          <a:prstGeom prst="rect">
            <a:avLst/>
          </a:prstGeom>
          <a:noFill/>
        </p:spPr>
        <p:txBody>
          <a:bodyPr spcFirstLastPara="1" wrap="square" lIns="0" tIns="34275" rIns="68575" bIns="34275" anchor="t" anchorCtr="0">
            <a:noAutofit/>
          </a:bodyPr>
          <a:lstStyle>
            <a:lvl1pPr lvl="0" rtl="0">
              <a:lnSpc>
                <a:spcPct val="100000"/>
              </a:lnSpc>
              <a:spcBef>
                <a:spcPts val="0"/>
              </a:spcBef>
              <a:spcAft>
                <a:spcPts val="0"/>
              </a:spcAft>
              <a:buClr>
                <a:schemeClr val="dk1"/>
              </a:buClr>
              <a:buSzPts val="900"/>
              <a:buFont typeface="Inter"/>
              <a:buNone/>
              <a:defRPr sz="1200" b="1">
                <a:solidFill>
                  <a:schemeClr val="dk1"/>
                </a:solidFill>
              </a:defRPr>
            </a:lvl1pPr>
            <a:lvl2pPr lvl="1" rtl="0">
              <a:lnSpc>
                <a:spcPct val="100000"/>
              </a:lnSpc>
              <a:spcBef>
                <a:spcPts val="0"/>
              </a:spcBef>
              <a:spcAft>
                <a:spcPts val="0"/>
              </a:spcAft>
              <a:buClr>
                <a:schemeClr val="dk1"/>
              </a:buClr>
              <a:buSzPts val="900"/>
              <a:buFont typeface="Inter"/>
              <a:buNone/>
              <a:defRPr sz="1200" b="1">
                <a:solidFill>
                  <a:schemeClr val="dk1"/>
                </a:solidFill>
              </a:defRPr>
            </a:lvl2pPr>
            <a:lvl3pPr lvl="2" rtl="0">
              <a:lnSpc>
                <a:spcPct val="100000"/>
              </a:lnSpc>
              <a:spcBef>
                <a:spcPts val="0"/>
              </a:spcBef>
              <a:spcAft>
                <a:spcPts val="0"/>
              </a:spcAft>
              <a:buClr>
                <a:schemeClr val="dk1"/>
              </a:buClr>
              <a:buSzPts val="900"/>
              <a:buFont typeface="Inter"/>
              <a:buNone/>
              <a:defRPr sz="1200" b="1">
                <a:solidFill>
                  <a:schemeClr val="dk1"/>
                </a:solidFill>
              </a:defRPr>
            </a:lvl3pPr>
            <a:lvl4pPr lvl="3" rtl="0">
              <a:lnSpc>
                <a:spcPct val="100000"/>
              </a:lnSpc>
              <a:spcBef>
                <a:spcPts val="0"/>
              </a:spcBef>
              <a:spcAft>
                <a:spcPts val="0"/>
              </a:spcAft>
              <a:buClr>
                <a:schemeClr val="dk1"/>
              </a:buClr>
              <a:buSzPts val="900"/>
              <a:buFont typeface="Inter"/>
              <a:buNone/>
              <a:defRPr sz="1200" b="1">
                <a:solidFill>
                  <a:schemeClr val="dk1"/>
                </a:solidFill>
              </a:defRPr>
            </a:lvl4pPr>
            <a:lvl5pPr lvl="4" rtl="0">
              <a:lnSpc>
                <a:spcPct val="100000"/>
              </a:lnSpc>
              <a:spcBef>
                <a:spcPts val="0"/>
              </a:spcBef>
              <a:spcAft>
                <a:spcPts val="0"/>
              </a:spcAft>
              <a:buClr>
                <a:schemeClr val="dk1"/>
              </a:buClr>
              <a:buSzPts val="900"/>
              <a:buFont typeface="Inter"/>
              <a:buNone/>
              <a:defRPr sz="1200" b="1">
                <a:solidFill>
                  <a:schemeClr val="dk1"/>
                </a:solidFill>
              </a:defRPr>
            </a:lvl5pPr>
            <a:lvl6pPr lvl="5" rtl="0">
              <a:lnSpc>
                <a:spcPct val="100000"/>
              </a:lnSpc>
              <a:spcBef>
                <a:spcPts val="0"/>
              </a:spcBef>
              <a:spcAft>
                <a:spcPts val="0"/>
              </a:spcAft>
              <a:buClr>
                <a:schemeClr val="dk1"/>
              </a:buClr>
              <a:buSzPts val="900"/>
              <a:buFont typeface="Inter"/>
              <a:buNone/>
              <a:defRPr sz="1200" b="1">
                <a:solidFill>
                  <a:schemeClr val="dk1"/>
                </a:solidFill>
                <a:latin typeface="Inter"/>
                <a:ea typeface="Inter"/>
                <a:cs typeface="Inter"/>
                <a:sym typeface="Inter"/>
              </a:defRPr>
            </a:lvl6pPr>
            <a:lvl7pPr lvl="6" rtl="0">
              <a:lnSpc>
                <a:spcPct val="100000"/>
              </a:lnSpc>
              <a:spcBef>
                <a:spcPts val="0"/>
              </a:spcBef>
              <a:spcAft>
                <a:spcPts val="0"/>
              </a:spcAft>
              <a:buClr>
                <a:schemeClr val="dk1"/>
              </a:buClr>
              <a:buSzPts val="900"/>
              <a:buFont typeface="Inter"/>
              <a:buNone/>
              <a:defRPr sz="1200" b="1">
                <a:solidFill>
                  <a:schemeClr val="dk1"/>
                </a:solidFill>
                <a:latin typeface="Inter"/>
                <a:ea typeface="Inter"/>
                <a:cs typeface="Inter"/>
                <a:sym typeface="Inter"/>
              </a:defRPr>
            </a:lvl7pPr>
            <a:lvl8pPr lvl="7" rtl="0">
              <a:lnSpc>
                <a:spcPct val="100000"/>
              </a:lnSpc>
              <a:spcBef>
                <a:spcPts val="0"/>
              </a:spcBef>
              <a:spcAft>
                <a:spcPts val="0"/>
              </a:spcAft>
              <a:buClr>
                <a:schemeClr val="dk1"/>
              </a:buClr>
              <a:buSzPts val="900"/>
              <a:buFont typeface="Inter"/>
              <a:buNone/>
              <a:defRPr sz="1200" b="1">
                <a:solidFill>
                  <a:schemeClr val="dk1"/>
                </a:solidFill>
                <a:latin typeface="Inter"/>
                <a:ea typeface="Inter"/>
                <a:cs typeface="Inter"/>
                <a:sym typeface="Inter"/>
              </a:defRPr>
            </a:lvl8pPr>
            <a:lvl9pPr lvl="8" rtl="0">
              <a:lnSpc>
                <a:spcPct val="100000"/>
              </a:lnSpc>
              <a:spcBef>
                <a:spcPts val="0"/>
              </a:spcBef>
              <a:spcAft>
                <a:spcPts val="0"/>
              </a:spcAft>
              <a:buClr>
                <a:schemeClr val="dk1"/>
              </a:buClr>
              <a:buSzPts val="900"/>
              <a:buFont typeface="Inter"/>
              <a:buNone/>
              <a:defRPr sz="1200" b="1">
                <a:solidFill>
                  <a:schemeClr val="dk1"/>
                </a:solidFill>
                <a:latin typeface="Inter"/>
                <a:ea typeface="Inter"/>
                <a:cs typeface="Inter"/>
                <a:sym typeface="Inter"/>
              </a:defRPr>
            </a:lvl9pPr>
          </a:lstStyle>
          <a:p>
            <a:endParaRPr/>
          </a:p>
        </p:txBody>
      </p:sp>
      <p:sp>
        <p:nvSpPr>
          <p:cNvPr id="2003" name="Google Shape;2003;p58"/>
          <p:cNvSpPr txBox="1">
            <a:spLocks noGrp="1"/>
          </p:cNvSpPr>
          <p:nvPr>
            <p:ph type="subTitle" idx="14"/>
          </p:nvPr>
        </p:nvSpPr>
        <p:spPr>
          <a:xfrm>
            <a:off x="5413283" y="3417075"/>
            <a:ext cx="2046400" cy="470000"/>
          </a:xfrm>
          <a:prstGeom prst="rect">
            <a:avLst/>
          </a:prstGeom>
          <a:noFill/>
        </p:spPr>
        <p:txBody>
          <a:bodyPr spcFirstLastPara="1" wrap="square" lIns="0" tIns="34275" rIns="68575" bIns="34275" anchor="t" anchorCtr="0">
            <a:noAutofit/>
          </a:bodyPr>
          <a:lstStyle>
            <a:lvl1pPr lvl="0" rtl="0">
              <a:lnSpc>
                <a:spcPct val="100000"/>
              </a:lnSpc>
              <a:spcBef>
                <a:spcPts val="0"/>
              </a:spcBef>
              <a:spcAft>
                <a:spcPts val="0"/>
              </a:spcAft>
              <a:buClr>
                <a:schemeClr val="dk1"/>
              </a:buClr>
              <a:buSzPts val="900"/>
              <a:buFont typeface="Inter"/>
              <a:buNone/>
              <a:defRPr sz="1200" b="1">
                <a:solidFill>
                  <a:schemeClr val="dk1"/>
                </a:solidFill>
              </a:defRPr>
            </a:lvl1pPr>
            <a:lvl2pPr lvl="1" rtl="0">
              <a:lnSpc>
                <a:spcPct val="100000"/>
              </a:lnSpc>
              <a:spcBef>
                <a:spcPts val="0"/>
              </a:spcBef>
              <a:spcAft>
                <a:spcPts val="0"/>
              </a:spcAft>
              <a:buClr>
                <a:schemeClr val="dk1"/>
              </a:buClr>
              <a:buSzPts val="900"/>
              <a:buFont typeface="Inter"/>
              <a:buNone/>
              <a:defRPr sz="1200" b="1">
                <a:solidFill>
                  <a:schemeClr val="dk1"/>
                </a:solidFill>
              </a:defRPr>
            </a:lvl2pPr>
            <a:lvl3pPr lvl="2" rtl="0">
              <a:lnSpc>
                <a:spcPct val="100000"/>
              </a:lnSpc>
              <a:spcBef>
                <a:spcPts val="0"/>
              </a:spcBef>
              <a:spcAft>
                <a:spcPts val="0"/>
              </a:spcAft>
              <a:buClr>
                <a:schemeClr val="dk1"/>
              </a:buClr>
              <a:buSzPts val="900"/>
              <a:buFont typeface="Inter"/>
              <a:buNone/>
              <a:defRPr sz="1200" b="1">
                <a:solidFill>
                  <a:schemeClr val="dk1"/>
                </a:solidFill>
              </a:defRPr>
            </a:lvl3pPr>
            <a:lvl4pPr lvl="3" rtl="0">
              <a:lnSpc>
                <a:spcPct val="100000"/>
              </a:lnSpc>
              <a:spcBef>
                <a:spcPts val="0"/>
              </a:spcBef>
              <a:spcAft>
                <a:spcPts val="0"/>
              </a:spcAft>
              <a:buClr>
                <a:schemeClr val="dk1"/>
              </a:buClr>
              <a:buSzPts val="900"/>
              <a:buFont typeface="Inter"/>
              <a:buNone/>
              <a:defRPr sz="1200" b="1">
                <a:solidFill>
                  <a:schemeClr val="dk1"/>
                </a:solidFill>
              </a:defRPr>
            </a:lvl4pPr>
            <a:lvl5pPr lvl="4" rtl="0">
              <a:lnSpc>
                <a:spcPct val="100000"/>
              </a:lnSpc>
              <a:spcBef>
                <a:spcPts val="0"/>
              </a:spcBef>
              <a:spcAft>
                <a:spcPts val="0"/>
              </a:spcAft>
              <a:buClr>
                <a:schemeClr val="dk1"/>
              </a:buClr>
              <a:buSzPts val="900"/>
              <a:buFont typeface="Inter"/>
              <a:buNone/>
              <a:defRPr sz="1200" b="1">
                <a:solidFill>
                  <a:schemeClr val="dk1"/>
                </a:solidFill>
              </a:defRPr>
            </a:lvl5pPr>
            <a:lvl6pPr lvl="5" rtl="0">
              <a:lnSpc>
                <a:spcPct val="100000"/>
              </a:lnSpc>
              <a:spcBef>
                <a:spcPts val="0"/>
              </a:spcBef>
              <a:spcAft>
                <a:spcPts val="0"/>
              </a:spcAft>
              <a:buClr>
                <a:schemeClr val="dk1"/>
              </a:buClr>
              <a:buSzPts val="900"/>
              <a:buFont typeface="Inter"/>
              <a:buNone/>
              <a:defRPr sz="1200" b="1">
                <a:solidFill>
                  <a:schemeClr val="dk1"/>
                </a:solidFill>
                <a:latin typeface="Inter"/>
                <a:ea typeface="Inter"/>
                <a:cs typeface="Inter"/>
                <a:sym typeface="Inter"/>
              </a:defRPr>
            </a:lvl6pPr>
            <a:lvl7pPr lvl="6" rtl="0">
              <a:lnSpc>
                <a:spcPct val="100000"/>
              </a:lnSpc>
              <a:spcBef>
                <a:spcPts val="0"/>
              </a:spcBef>
              <a:spcAft>
                <a:spcPts val="0"/>
              </a:spcAft>
              <a:buClr>
                <a:schemeClr val="dk1"/>
              </a:buClr>
              <a:buSzPts val="900"/>
              <a:buFont typeface="Inter"/>
              <a:buNone/>
              <a:defRPr sz="1200" b="1">
                <a:solidFill>
                  <a:schemeClr val="dk1"/>
                </a:solidFill>
                <a:latin typeface="Inter"/>
                <a:ea typeface="Inter"/>
                <a:cs typeface="Inter"/>
                <a:sym typeface="Inter"/>
              </a:defRPr>
            </a:lvl7pPr>
            <a:lvl8pPr lvl="7" rtl="0">
              <a:lnSpc>
                <a:spcPct val="100000"/>
              </a:lnSpc>
              <a:spcBef>
                <a:spcPts val="0"/>
              </a:spcBef>
              <a:spcAft>
                <a:spcPts val="0"/>
              </a:spcAft>
              <a:buClr>
                <a:schemeClr val="dk1"/>
              </a:buClr>
              <a:buSzPts val="900"/>
              <a:buFont typeface="Inter"/>
              <a:buNone/>
              <a:defRPr sz="1200" b="1">
                <a:solidFill>
                  <a:schemeClr val="dk1"/>
                </a:solidFill>
                <a:latin typeface="Inter"/>
                <a:ea typeface="Inter"/>
                <a:cs typeface="Inter"/>
                <a:sym typeface="Inter"/>
              </a:defRPr>
            </a:lvl8pPr>
            <a:lvl9pPr lvl="8" rtl="0">
              <a:lnSpc>
                <a:spcPct val="100000"/>
              </a:lnSpc>
              <a:spcBef>
                <a:spcPts val="0"/>
              </a:spcBef>
              <a:spcAft>
                <a:spcPts val="0"/>
              </a:spcAft>
              <a:buClr>
                <a:schemeClr val="dk1"/>
              </a:buClr>
              <a:buSzPts val="900"/>
              <a:buFont typeface="Inter"/>
              <a:buNone/>
              <a:defRPr sz="1200" b="1">
                <a:solidFill>
                  <a:schemeClr val="dk1"/>
                </a:solidFill>
                <a:latin typeface="Inter"/>
                <a:ea typeface="Inter"/>
                <a:cs typeface="Inter"/>
                <a:sym typeface="Inter"/>
              </a:defRPr>
            </a:lvl9pPr>
          </a:lstStyle>
          <a:p>
            <a:endParaRPr/>
          </a:p>
        </p:txBody>
      </p:sp>
      <p:sp>
        <p:nvSpPr>
          <p:cNvPr id="2004" name="Google Shape;2004;p58"/>
          <p:cNvSpPr txBox="1">
            <a:spLocks noGrp="1"/>
          </p:cNvSpPr>
          <p:nvPr>
            <p:ph type="subTitle" idx="15"/>
          </p:nvPr>
        </p:nvSpPr>
        <p:spPr>
          <a:xfrm>
            <a:off x="9209169" y="3417075"/>
            <a:ext cx="2046400" cy="470000"/>
          </a:xfrm>
          <a:prstGeom prst="rect">
            <a:avLst/>
          </a:prstGeom>
          <a:noFill/>
        </p:spPr>
        <p:txBody>
          <a:bodyPr spcFirstLastPara="1" wrap="square" lIns="0" tIns="34275" rIns="68575" bIns="34275" anchor="t" anchorCtr="0">
            <a:noAutofit/>
          </a:bodyPr>
          <a:lstStyle>
            <a:lvl1pPr lvl="0" rtl="0">
              <a:lnSpc>
                <a:spcPct val="100000"/>
              </a:lnSpc>
              <a:spcBef>
                <a:spcPts val="0"/>
              </a:spcBef>
              <a:spcAft>
                <a:spcPts val="0"/>
              </a:spcAft>
              <a:buClr>
                <a:schemeClr val="dk1"/>
              </a:buClr>
              <a:buSzPts val="900"/>
              <a:buFont typeface="Inter"/>
              <a:buNone/>
              <a:defRPr sz="1200" b="1">
                <a:solidFill>
                  <a:schemeClr val="dk1"/>
                </a:solidFill>
              </a:defRPr>
            </a:lvl1pPr>
            <a:lvl2pPr lvl="1" rtl="0">
              <a:lnSpc>
                <a:spcPct val="100000"/>
              </a:lnSpc>
              <a:spcBef>
                <a:spcPts val="0"/>
              </a:spcBef>
              <a:spcAft>
                <a:spcPts val="0"/>
              </a:spcAft>
              <a:buClr>
                <a:schemeClr val="dk1"/>
              </a:buClr>
              <a:buSzPts val="900"/>
              <a:buFont typeface="Inter"/>
              <a:buNone/>
              <a:defRPr sz="1200" b="1">
                <a:solidFill>
                  <a:schemeClr val="dk1"/>
                </a:solidFill>
              </a:defRPr>
            </a:lvl2pPr>
            <a:lvl3pPr lvl="2" rtl="0">
              <a:lnSpc>
                <a:spcPct val="100000"/>
              </a:lnSpc>
              <a:spcBef>
                <a:spcPts val="0"/>
              </a:spcBef>
              <a:spcAft>
                <a:spcPts val="0"/>
              </a:spcAft>
              <a:buClr>
                <a:schemeClr val="dk1"/>
              </a:buClr>
              <a:buSzPts val="900"/>
              <a:buFont typeface="Inter"/>
              <a:buNone/>
              <a:defRPr sz="1200" b="1">
                <a:solidFill>
                  <a:schemeClr val="dk1"/>
                </a:solidFill>
              </a:defRPr>
            </a:lvl3pPr>
            <a:lvl4pPr lvl="3" rtl="0">
              <a:lnSpc>
                <a:spcPct val="100000"/>
              </a:lnSpc>
              <a:spcBef>
                <a:spcPts val="0"/>
              </a:spcBef>
              <a:spcAft>
                <a:spcPts val="0"/>
              </a:spcAft>
              <a:buClr>
                <a:schemeClr val="dk1"/>
              </a:buClr>
              <a:buSzPts val="900"/>
              <a:buFont typeface="Inter"/>
              <a:buNone/>
              <a:defRPr sz="1200" b="1">
                <a:solidFill>
                  <a:schemeClr val="dk1"/>
                </a:solidFill>
              </a:defRPr>
            </a:lvl4pPr>
            <a:lvl5pPr lvl="4" rtl="0">
              <a:lnSpc>
                <a:spcPct val="100000"/>
              </a:lnSpc>
              <a:spcBef>
                <a:spcPts val="0"/>
              </a:spcBef>
              <a:spcAft>
                <a:spcPts val="0"/>
              </a:spcAft>
              <a:buClr>
                <a:schemeClr val="dk1"/>
              </a:buClr>
              <a:buSzPts val="900"/>
              <a:buFont typeface="Inter"/>
              <a:buNone/>
              <a:defRPr sz="1200" b="1">
                <a:solidFill>
                  <a:schemeClr val="dk1"/>
                </a:solidFill>
              </a:defRPr>
            </a:lvl5pPr>
            <a:lvl6pPr lvl="5" rtl="0">
              <a:lnSpc>
                <a:spcPct val="100000"/>
              </a:lnSpc>
              <a:spcBef>
                <a:spcPts val="0"/>
              </a:spcBef>
              <a:spcAft>
                <a:spcPts val="0"/>
              </a:spcAft>
              <a:buClr>
                <a:schemeClr val="dk1"/>
              </a:buClr>
              <a:buSzPts val="900"/>
              <a:buFont typeface="Inter"/>
              <a:buNone/>
              <a:defRPr sz="1200" b="1">
                <a:solidFill>
                  <a:schemeClr val="dk1"/>
                </a:solidFill>
                <a:latin typeface="Inter"/>
                <a:ea typeface="Inter"/>
                <a:cs typeface="Inter"/>
                <a:sym typeface="Inter"/>
              </a:defRPr>
            </a:lvl6pPr>
            <a:lvl7pPr lvl="6" rtl="0">
              <a:lnSpc>
                <a:spcPct val="100000"/>
              </a:lnSpc>
              <a:spcBef>
                <a:spcPts val="0"/>
              </a:spcBef>
              <a:spcAft>
                <a:spcPts val="0"/>
              </a:spcAft>
              <a:buClr>
                <a:schemeClr val="dk1"/>
              </a:buClr>
              <a:buSzPts val="900"/>
              <a:buFont typeface="Inter"/>
              <a:buNone/>
              <a:defRPr sz="1200" b="1">
                <a:solidFill>
                  <a:schemeClr val="dk1"/>
                </a:solidFill>
                <a:latin typeface="Inter"/>
                <a:ea typeface="Inter"/>
                <a:cs typeface="Inter"/>
                <a:sym typeface="Inter"/>
              </a:defRPr>
            </a:lvl7pPr>
            <a:lvl8pPr lvl="7" rtl="0">
              <a:lnSpc>
                <a:spcPct val="100000"/>
              </a:lnSpc>
              <a:spcBef>
                <a:spcPts val="0"/>
              </a:spcBef>
              <a:spcAft>
                <a:spcPts val="0"/>
              </a:spcAft>
              <a:buClr>
                <a:schemeClr val="dk1"/>
              </a:buClr>
              <a:buSzPts val="900"/>
              <a:buFont typeface="Inter"/>
              <a:buNone/>
              <a:defRPr sz="1200" b="1">
                <a:solidFill>
                  <a:schemeClr val="dk1"/>
                </a:solidFill>
                <a:latin typeface="Inter"/>
                <a:ea typeface="Inter"/>
                <a:cs typeface="Inter"/>
                <a:sym typeface="Inter"/>
              </a:defRPr>
            </a:lvl8pPr>
            <a:lvl9pPr lvl="8" rtl="0">
              <a:lnSpc>
                <a:spcPct val="100000"/>
              </a:lnSpc>
              <a:spcBef>
                <a:spcPts val="0"/>
              </a:spcBef>
              <a:spcAft>
                <a:spcPts val="0"/>
              </a:spcAft>
              <a:buClr>
                <a:schemeClr val="dk1"/>
              </a:buClr>
              <a:buSzPts val="900"/>
              <a:buFont typeface="Inter"/>
              <a:buNone/>
              <a:defRPr sz="1200" b="1">
                <a:solidFill>
                  <a:schemeClr val="dk1"/>
                </a:solidFill>
                <a:latin typeface="Inter"/>
                <a:ea typeface="Inter"/>
                <a:cs typeface="Inter"/>
                <a:sym typeface="Inter"/>
              </a:defRPr>
            </a:lvl9pPr>
          </a:lstStyle>
          <a:p>
            <a:endParaRPr/>
          </a:p>
        </p:txBody>
      </p:sp>
      <p:sp>
        <p:nvSpPr>
          <p:cNvPr id="2005" name="Google Shape;2005;p58"/>
          <p:cNvSpPr txBox="1">
            <a:spLocks noGrp="1"/>
          </p:cNvSpPr>
          <p:nvPr>
            <p:ph type="subTitle" idx="16"/>
          </p:nvPr>
        </p:nvSpPr>
        <p:spPr>
          <a:xfrm>
            <a:off x="1722488" y="5642857"/>
            <a:ext cx="2046400" cy="470000"/>
          </a:xfrm>
          <a:prstGeom prst="rect">
            <a:avLst/>
          </a:prstGeom>
          <a:noFill/>
        </p:spPr>
        <p:txBody>
          <a:bodyPr spcFirstLastPara="1" wrap="square" lIns="0" tIns="34275" rIns="68575" bIns="34275" anchor="t" anchorCtr="0">
            <a:noAutofit/>
          </a:bodyPr>
          <a:lstStyle>
            <a:lvl1pPr lvl="0" rtl="0">
              <a:lnSpc>
                <a:spcPct val="100000"/>
              </a:lnSpc>
              <a:spcBef>
                <a:spcPts val="0"/>
              </a:spcBef>
              <a:spcAft>
                <a:spcPts val="0"/>
              </a:spcAft>
              <a:buClr>
                <a:schemeClr val="dk1"/>
              </a:buClr>
              <a:buSzPts val="900"/>
              <a:buFont typeface="Inter"/>
              <a:buNone/>
              <a:defRPr sz="1200" b="1">
                <a:solidFill>
                  <a:schemeClr val="dk1"/>
                </a:solidFill>
              </a:defRPr>
            </a:lvl1pPr>
            <a:lvl2pPr lvl="1" rtl="0">
              <a:lnSpc>
                <a:spcPct val="100000"/>
              </a:lnSpc>
              <a:spcBef>
                <a:spcPts val="0"/>
              </a:spcBef>
              <a:spcAft>
                <a:spcPts val="0"/>
              </a:spcAft>
              <a:buClr>
                <a:schemeClr val="dk1"/>
              </a:buClr>
              <a:buSzPts val="900"/>
              <a:buFont typeface="Inter"/>
              <a:buNone/>
              <a:defRPr sz="1200" b="1">
                <a:solidFill>
                  <a:schemeClr val="dk1"/>
                </a:solidFill>
              </a:defRPr>
            </a:lvl2pPr>
            <a:lvl3pPr lvl="2" rtl="0">
              <a:lnSpc>
                <a:spcPct val="100000"/>
              </a:lnSpc>
              <a:spcBef>
                <a:spcPts val="0"/>
              </a:spcBef>
              <a:spcAft>
                <a:spcPts val="0"/>
              </a:spcAft>
              <a:buClr>
                <a:schemeClr val="dk1"/>
              </a:buClr>
              <a:buSzPts val="900"/>
              <a:buFont typeface="Inter"/>
              <a:buNone/>
              <a:defRPr sz="1200" b="1">
                <a:solidFill>
                  <a:schemeClr val="dk1"/>
                </a:solidFill>
              </a:defRPr>
            </a:lvl3pPr>
            <a:lvl4pPr lvl="3" rtl="0">
              <a:lnSpc>
                <a:spcPct val="100000"/>
              </a:lnSpc>
              <a:spcBef>
                <a:spcPts val="0"/>
              </a:spcBef>
              <a:spcAft>
                <a:spcPts val="0"/>
              </a:spcAft>
              <a:buClr>
                <a:schemeClr val="dk1"/>
              </a:buClr>
              <a:buSzPts val="900"/>
              <a:buFont typeface="Inter"/>
              <a:buNone/>
              <a:defRPr sz="1200" b="1">
                <a:solidFill>
                  <a:schemeClr val="dk1"/>
                </a:solidFill>
              </a:defRPr>
            </a:lvl4pPr>
            <a:lvl5pPr lvl="4" rtl="0">
              <a:lnSpc>
                <a:spcPct val="100000"/>
              </a:lnSpc>
              <a:spcBef>
                <a:spcPts val="0"/>
              </a:spcBef>
              <a:spcAft>
                <a:spcPts val="0"/>
              </a:spcAft>
              <a:buClr>
                <a:schemeClr val="dk1"/>
              </a:buClr>
              <a:buSzPts val="900"/>
              <a:buFont typeface="Inter"/>
              <a:buNone/>
              <a:defRPr sz="1200" b="1">
                <a:solidFill>
                  <a:schemeClr val="dk1"/>
                </a:solidFill>
              </a:defRPr>
            </a:lvl5pPr>
            <a:lvl6pPr lvl="5" rtl="0">
              <a:lnSpc>
                <a:spcPct val="100000"/>
              </a:lnSpc>
              <a:spcBef>
                <a:spcPts val="0"/>
              </a:spcBef>
              <a:spcAft>
                <a:spcPts val="0"/>
              </a:spcAft>
              <a:buClr>
                <a:schemeClr val="dk1"/>
              </a:buClr>
              <a:buSzPts val="900"/>
              <a:buFont typeface="Inter"/>
              <a:buNone/>
              <a:defRPr sz="1200" b="1">
                <a:solidFill>
                  <a:schemeClr val="dk1"/>
                </a:solidFill>
                <a:latin typeface="Inter"/>
                <a:ea typeface="Inter"/>
                <a:cs typeface="Inter"/>
                <a:sym typeface="Inter"/>
              </a:defRPr>
            </a:lvl6pPr>
            <a:lvl7pPr lvl="6" rtl="0">
              <a:lnSpc>
                <a:spcPct val="100000"/>
              </a:lnSpc>
              <a:spcBef>
                <a:spcPts val="0"/>
              </a:spcBef>
              <a:spcAft>
                <a:spcPts val="0"/>
              </a:spcAft>
              <a:buClr>
                <a:schemeClr val="dk1"/>
              </a:buClr>
              <a:buSzPts val="900"/>
              <a:buFont typeface="Inter"/>
              <a:buNone/>
              <a:defRPr sz="1200" b="1">
                <a:solidFill>
                  <a:schemeClr val="dk1"/>
                </a:solidFill>
                <a:latin typeface="Inter"/>
                <a:ea typeface="Inter"/>
                <a:cs typeface="Inter"/>
                <a:sym typeface="Inter"/>
              </a:defRPr>
            </a:lvl7pPr>
            <a:lvl8pPr lvl="7" rtl="0">
              <a:lnSpc>
                <a:spcPct val="100000"/>
              </a:lnSpc>
              <a:spcBef>
                <a:spcPts val="0"/>
              </a:spcBef>
              <a:spcAft>
                <a:spcPts val="0"/>
              </a:spcAft>
              <a:buClr>
                <a:schemeClr val="dk1"/>
              </a:buClr>
              <a:buSzPts val="900"/>
              <a:buFont typeface="Inter"/>
              <a:buNone/>
              <a:defRPr sz="1200" b="1">
                <a:solidFill>
                  <a:schemeClr val="dk1"/>
                </a:solidFill>
                <a:latin typeface="Inter"/>
                <a:ea typeface="Inter"/>
                <a:cs typeface="Inter"/>
                <a:sym typeface="Inter"/>
              </a:defRPr>
            </a:lvl8pPr>
            <a:lvl9pPr lvl="8" rtl="0">
              <a:lnSpc>
                <a:spcPct val="100000"/>
              </a:lnSpc>
              <a:spcBef>
                <a:spcPts val="0"/>
              </a:spcBef>
              <a:spcAft>
                <a:spcPts val="0"/>
              </a:spcAft>
              <a:buClr>
                <a:schemeClr val="dk1"/>
              </a:buClr>
              <a:buSzPts val="900"/>
              <a:buFont typeface="Inter"/>
              <a:buNone/>
              <a:defRPr sz="1200" b="1">
                <a:solidFill>
                  <a:schemeClr val="dk1"/>
                </a:solidFill>
                <a:latin typeface="Inter"/>
                <a:ea typeface="Inter"/>
                <a:cs typeface="Inter"/>
                <a:sym typeface="Inter"/>
              </a:defRPr>
            </a:lvl9pPr>
          </a:lstStyle>
          <a:p>
            <a:endParaRPr/>
          </a:p>
        </p:txBody>
      </p:sp>
      <p:sp>
        <p:nvSpPr>
          <p:cNvPr id="2006" name="Google Shape;2006;p58"/>
          <p:cNvSpPr txBox="1">
            <a:spLocks noGrp="1"/>
          </p:cNvSpPr>
          <p:nvPr>
            <p:ph type="subTitle" idx="17"/>
          </p:nvPr>
        </p:nvSpPr>
        <p:spPr>
          <a:xfrm>
            <a:off x="5413283" y="5642857"/>
            <a:ext cx="2046400" cy="470000"/>
          </a:xfrm>
          <a:prstGeom prst="rect">
            <a:avLst/>
          </a:prstGeom>
          <a:noFill/>
        </p:spPr>
        <p:txBody>
          <a:bodyPr spcFirstLastPara="1" wrap="square" lIns="0" tIns="34275" rIns="68575" bIns="34275" anchor="t" anchorCtr="0">
            <a:noAutofit/>
          </a:bodyPr>
          <a:lstStyle>
            <a:lvl1pPr lvl="0" rtl="0">
              <a:lnSpc>
                <a:spcPct val="100000"/>
              </a:lnSpc>
              <a:spcBef>
                <a:spcPts val="0"/>
              </a:spcBef>
              <a:spcAft>
                <a:spcPts val="0"/>
              </a:spcAft>
              <a:buClr>
                <a:schemeClr val="dk1"/>
              </a:buClr>
              <a:buSzPts val="900"/>
              <a:buFont typeface="Inter"/>
              <a:buNone/>
              <a:defRPr sz="1200" b="1">
                <a:solidFill>
                  <a:schemeClr val="dk1"/>
                </a:solidFill>
              </a:defRPr>
            </a:lvl1pPr>
            <a:lvl2pPr lvl="1" rtl="0">
              <a:lnSpc>
                <a:spcPct val="100000"/>
              </a:lnSpc>
              <a:spcBef>
                <a:spcPts val="0"/>
              </a:spcBef>
              <a:spcAft>
                <a:spcPts val="0"/>
              </a:spcAft>
              <a:buClr>
                <a:schemeClr val="dk1"/>
              </a:buClr>
              <a:buSzPts val="900"/>
              <a:buFont typeface="Inter"/>
              <a:buNone/>
              <a:defRPr sz="1200" b="1">
                <a:solidFill>
                  <a:schemeClr val="dk1"/>
                </a:solidFill>
              </a:defRPr>
            </a:lvl2pPr>
            <a:lvl3pPr lvl="2" rtl="0">
              <a:lnSpc>
                <a:spcPct val="100000"/>
              </a:lnSpc>
              <a:spcBef>
                <a:spcPts val="0"/>
              </a:spcBef>
              <a:spcAft>
                <a:spcPts val="0"/>
              </a:spcAft>
              <a:buClr>
                <a:schemeClr val="dk1"/>
              </a:buClr>
              <a:buSzPts val="900"/>
              <a:buFont typeface="Inter"/>
              <a:buNone/>
              <a:defRPr sz="1200" b="1">
                <a:solidFill>
                  <a:schemeClr val="dk1"/>
                </a:solidFill>
              </a:defRPr>
            </a:lvl3pPr>
            <a:lvl4pPr lvl="3" rtl="0">
              <a:lnSpc>
                <a:spcPct val="100000"/>
              </a:lnSpc>
              <a:spcBef>
                <a:spcPts val="0"/>
              </a:spcBef>
              <a:spcAft>
                <a:spcPts val="0"/>
              </a:spcAft>
              <a:buClr>
                <a:schemeClr val="dk1"/>
              </a:buClr>
              <a:buSzPts val="900"/>
              <a:buFont typeface="Inter"/>
              <a:buNone/>
              <a:defRPr sz="1200" b="1">
                <a:solidFill>
                  <a:schemeClr val="dk1"/>
                </a:solidFill>
              </a:defRPr>
            </a:lvl4pPr>
            <a:lvl5pPr lvl="4" rtl="0">
              <a:lnSpc>
                <a:spcPct val="100000"/>
              </a:lnSpc>
              <a:spcBef>
                <a:spcPts val="0"/>
              </a:spcBef>
              <a:spcAft>
                <a:spcPts val="0"/>
              </a:spcAft>
              <a:buClr>
                <a:schemeClr val="dk1"/>
              </a:buClr>
              <a:buSzPts val="900"/>
              <a:buFont typeface="Inter"/>
              <a:buNone/>
              <a:defRPr sz="1200" b="1">
                <a:solidFill>
                  <a:schemeClr val="dk1"/>
                </a:solidFill>
              </a:defRPr>
            </a:lvl5pPr>
            <a:lvl6pPr lvl="5" rtl="0">
              <a:lnSpc>
                <a:spcPct val="100000"/>
              </a:lnSpc>
              <a:spcBef>
                <a:spcPts val="0"/>
              </a:spcBef>
              <a:spcAft>
                <a:spcPts val="0"/>
              </a:spcAft>
              <a:buClr>
                <a:schemeClr val="dk1"/>
              </a:buClr>
              <a:buSzPts val="900"/>
              <a:buFont typeface="Inter"/>
              <a:buNone/>
              <a:defRPr sz="1200" b="1">
                <a:solidFill>
                  <a:schemeClr val="dk1"/>
                </a:solidFill>
                <a:latin typeface="Inter"/>
                <a:ea typeface="Inter"/>
                <a:cs typeface="Inter"/>
                <a:sym typeface="Inter"/>
              </a:defRPr>
            </a:lvl6pPr>
            <a:lvl7pPr lvl="6" rtl="0">
              <a:lnSpc>
                <a:spcPct val="100000"/>
              </a:lnSpc>
              <a:spcBef>
                <a:spcPts val="0"/>
              </a:spcBef>
              <a:spcAft>
                <a:spcPts val="0"/>
              </a:spcAft>
              <a:buClr>
                <a:schemeClr val="dk1"/>
              </a:buClr>
              <a:buSzPts val="900"/>
              <a:buFont typeface="Inter"/>
              <a:buNone/>
              <a:defRPr sz="1200" b="1">
                <a:solidFill>
                  <a:schemeClr val="dk1"/>
                </a:solidFill>
                <a:latin typeface="Inter"/>
                <a:ea typeface="Inter"/>
                <a:cs typeface="Inter"/>
                <a:sym typeface="Inter"/>
              </a:defRPr>
            </a:lvl7pPr>
            <a:lvl8pPr lvl="7" rtl="0">
              <a:lnSpc>
                <a:spcPct val="100000"/>
              </a:lnSpc>
              <a:spcBef>
                <a:spcPts val="0"/>
              </a:spcBef>
              <a:spcAft>
                <a:spcPts val="0"/>
              </a:spcAft>
              <a:buClr>
                <a:schemeClr val="dk1"/>
              </a:buClr>
              <a:buSzPts val="900"/>
              <a:buFont typeface="Inter"/>
              <a:buNone/>
              <a:defRPr sz="1200" b="1">
                <a:solidFill>
                  <a:schemeClr val="dk1"/>
                </a:solidFill>
                <a:latin typeface="Inter"/>
                <a:ea typeface="Inter"/>
                <a:cs typeface="Inter"/>
                <a:sym typeface="Inter"/>
              </a:defRPr>
            </a:lvl8pPr>
            <a:lvl9pPr lvl="8" rtl="0">
              <a:lnSpc>
                <a:spcPct val="100000"/>
              </a:lnSpc>
              <a:spcBef>
                <a:spcPts val="0"/>
              </a:spcBef>
              <a:spcAft>
                <a:spcPts val="0"/>
              </a:spcAft>
              <a:buClr>
                <a:schemeClr val="dk1"/>
              </a:buClr>
              <a:buSzPts val="900"/>
              <a:buFont typeface="Inter"/>
              <a:buNone/>
              <a:defRPr sz="1200" b="1">
                <a:solidFill>
                  <a:schemeClr val="dk1"/>
                </a:solidFill>
                <a:latin typeface="Inter"/>
                <a:ea typeface="Inter"/>
                <a:cs typeface="Inter"/>
                <a:sym typeface="Inter"/>
              </a:defRPr>
            </a:lvl9pPr>
          </a:lstStyle>
          <a:p>
            <a:endParaRPr/>
          </a:p>
        </p:txBody>
      </p:sp>
      <p:sp>
        <p:nvSpPr>
          <p:cNvPr id="2007" name="Google Shape;2007;p58"/>
          <p:cNvSpPr txBox="1">
            <a:spLocks noGrp="1"/>
          </p:cNvSpPr>
          <p:nvPr>
            <p:ph type="subTitle" idx="18"/>
          </p:nvPr>
        </p:nvSpPr>
        <p:spPr>
          <a:xfrm>
            <a:off x="9209169" y="5642857"/>
            <a:ext cx="2046400" cy="470000"/>
          </a:xfrm>
          <a:prstGeom prst="rect">
            <a:avLst/>
          </a:prstGeom>
          <a:noFill/>
        </p:spPr>
        <p:txBody>
          <a:bodyPr spcFirstLastPara="1" wrap="square" lIns="0" tIns="34275" rIns="68575" bIns="34275" anchor="t" anchorCtr="0">
            <a:noAutofit/>
          </a:bodyPr>
          <a:lstStyle>
            <a:lvl1pPr lvl="0" rtl="0">
              <a:lnSpc>
                <a:spcPct val="100000"/>
              </a:lnSpc>
              <a:spcBef>
                <a:spcPts val="0"/>
              </a:spcBef>
              <a:spcAft>
                <a:spcPts val="0"/>
              </a:spcAft>
              <a:buClr>
                <a:schemeClr val="dk1"/>
              </a:buClr>
              <a:buSzPts val="900"/>
              <a:buFont typeface="Inter"/>
              <a:buNone/>
              <a:defRPr sz="1200" b="1">
                <a:solidFill>
                  <a:schemeClr val="dk1"/>
                </a:solidFill>
              </a:defRPr>
            </a:lvl1pPr>
            <a:lvl2pPr lvl="1" rtl="0">
              <a:lnSpc>
                <a:spcPct val="100000"/>
              </a:lnSpc>
              <a:spcBef>
                <a:spcPts val="0"/>
              </a:spcBef>
              <a:spcAft>
                <a:spcPts val="0"/>
              </a:spcAft>
              <a:buClr>
                <a:schemeClr val="dk1"/>
              </a:buClr>
              <a:buSzPts val="900"/>
              <a:buFont typeface="Inter"/>
              <a:buNone/>
              <a:defRPr sz="1200" b="1">
                <a:solidFill>
                  <a:schemeClr val="dk1"/>
                </a:solidFill>
              </a:defRPr>
            </a:lvl2pPr>
            <a:lvl3pPr lvl="2" rtl="0">
              <a:lnSpc>
                <a:spcPct val="100000"/>
              </a:lnSpc>
              <a:spcBef>
                <a:spcPts val="0"/>
              </a:spcBef>
              <a:spcAft>
                <a:spcPts val="0"/>
              </a:spcAft>
              <a:buClr>
                <a:schemeClr val="dk1"/>
              </a:buClr>
              <a:buSzPts val="900"/>
              <a:buFont typeface="Inter"/>
              <a:buNone/>
              <a:defRPr sz="1200" b="1">
                <a:solidFill>
                  <a:schemeClr val="dk1"/>
                </a:solidFill>
              </a:defRPr>
            </a:lvl3pPr>
            <a:lvl4pPr lvl="3" rtl="0">
              <a:lnSpc>
                <a:spcPct val="100000"/>
              </a:lnSpc>
              <a:spcBef>
                <a:spcPts val="0"/>
              </a:spcBef>
              <a:spcAft>
                <a:spcPts val="0"/>
              </a:spcAft>
              <a:buClr>
                <a:schemeClr val="dk1"/>
              </a:buClr>
              <a:buSzPts val="900"/>
              <a:buFont typeface="Inter"/>
              <a:buNone/>
              <a:defRPr sz="1200" b="1">
                <a:solidFill>
                  <a:schemeClr val="dk1"/>
                </a:solidFill>
              </a:defRPr>
            </a:lvl4pPr>
            <a:lvl5pPr lvl="4" rtl="0">
              <a:lnSpc>
                <a:spcPct val="100000"/>
              </a:lnSpc>
              <a:spcBef>
                <a:spcPts val="0"/>
              </a:spcBef>
              <a:spcAft>
                <a:spcPts val="0"/>
              </a:spcAft>
              <a:buClr>
                <a:schemeClr val="dk1"/>
              </a:buClr>
              <a:buSzPts val="900"/>
              <a:buFont typeface="Inter"/>
              <a:buNone/>
              <a:defRPr sz="1200" b="1">
                <a:solidFill>
                  <a:schemeClr val="dk1"/>
                </a:solidFill>
              </a:defRPr>
            </a:lvl5pPr>
            <a:lvl6pPr lvl="5" rtl="0">
              <a:lnSpc>
                <a:spcPct val="100000"/>
              </a:lnSpc>
              <a:spcBef>
                <a:spcPts val="0"/>
              </a:spcBef>
              <a:spcAft>
                <a:spcPts val="0"/>
              </a:spcAft>
              <a:buClr>
                <a:schemeClr val="dk1"/>
              </a:buClr>
              <a:buSzPts val="900"/>
              <a:buFont typeface="Inter"/>
              <a:buNone/>
              <a:defRPr sz="1200" b="1">
                <a:solidFill>
                  <a:schemeClr val="dk1"/>
                </a:solidFill>
                <a:latin typeface="Inter"/>
                <a:ea typeface="Inter"/>
                <a:cs typeface="Inter"/>
                <a:sym typeface="Inter"/>
              </a:defRPr>
            </a:lvl6pPr>
            <a:lvl7pPr lvl="6" rtl="0">
              <a:lnSpc>
                <a:spcPct val="100000"/>
              </a:lnSpc>
              <a:spcBef>
                <a:spcPts val="0"/>
              </a:spcBef>
              <a:spcAft>
                <a:spcPts val="0"/>
              </a:spcAft>
              <a:buClr>
                <a:schemeClr val="dk1"/>
              </a:buClr>
              <a:buSzPts val="900"/>
              <a:buFont typeface="Inter"/>
              <a:buNone/>
              <a:defRPr sz="1200" b="1">
                <a:solidFill>
                  <a:schemeClr val="dk1"/>
                </a:solidFill>
                <a:latin typeface="Inter"/>
                <a:ea typeface="Inter"/>
                <a:cs typeface="Inter"/>
                <a:sym typeface="Inter"/>
              </a:defRPr>
            </a:lvl7pPr>
            <a:lvl8pPr lvl="7" rtl="0">
              <a:lnSpc>
                <a:spcPct val="100000"/>
              </a:lnSpc>
              <a:spcBef>
                <a:spcPts val="0"/>
              </a:spcBef>
              <a:spcAft>
                <a:spcPts val="0"/>
              </a:spcAft>
              <a:buClr>
                <a:schemeClr val="dk1"/>
              </a:buClr>
              <a:buSzPts val="900"/>
              <a:buFont typeface="Inter"/>
              <a:buNone/>
              <a:defRPr sz="1200" b="1">
                <a:solidFill>
                  <a:schemeClr val="dk1"/>
                </a:solidFill>
                <a:latin typeface="Inter"/>
                <a:ea typeface="Inter"/>
                <a:cs typeface="Inter"/>
                <a:sym typeface="Inter"/>
              </a:defRPr>
            </a:lvl8pPr>
            <a:lvl9pPr lvl="8" rtl="0">
              <a:lnSpc>
                <a:spcPct val="100000"/>
              </a:lnSpc>
              <a:spcBef>
                <a:spcPts val="0"/>
              </a:spcBef>
              <a:spcAft>
                <a:spcPts val="0"/>
              </a:spcAft>
              <a:buClr>
                <a:schemeClr val="dk1"/>
              </a:buClr>
              <a:buSzPts val="900"/>
              <a:buFont typeface="Inter"/>
              <a:buNone/>
              <a:defRPr sz="1200" b="1">
                <a:solidFill>
                  <a:schemeClr val="dk1"/>
                </a:solidFill>
                <a:latin typeface="Inter"/>
                <a:ea typeface="Inter"/>
                <a:cs typeface="Inter"/>
                <a:sym typeface="Inter"/>
              </a:defRPr>
            </a:lvl9pPr>
          </a:lstStyle>
          <a:p>
            <a:endParaRPr/>
          </a:p>
        </p:txBody>
      </p:sp>
      <p:cxnSp>
        <p:nvCxnSpPr>
          <p:cNvPr id="2008" name="Google Shape;2008;p58"/>
          <p:cNvCxnSpPr/>
          <p:nvPr/>
        </p:nvCxnSpPr>
        <p:spPr>
          <a:xfrm>
            <a:off x="4215264" y="4356100"/>
            <a:ext cx="0" cy="1727200"/>
          </a:xfrm>
          <a:prstGeom prst="straightConnector1">
            <a:avLst/>
          </a:prstGeom>
          <a:noFill/>
          <a:ln w="9525" cap="flat" cmpd="sng">
            <a:solidFill>
              <a:schemeClr val="dk2"/>
            </a:solidFill>
            <a:prstDash val="dot"/>
            <a:round/>
            <a:headEnd type="none" w="med" len="med"/>
            <a:tailEnd type="none" w="med" len="med"/>
          </a:ln>
        </p:spPr>
      </p:cxnSp>
      <p:cxnSp>
        <p:nvCxnSpPr>
          <p:cNvPr id="2009" name="Google Shape;2009;p58"/>
          <p:cNvCxnSpPr/>
          <p:nvPr/>
        </p:nvCxnSpPr>
        <p:spPr>
          <a:xfrm>
            <a:off x="4215264" y="1408067"/>
            <a:ext cx="0" cy="1868400"/>
          </a:xfrm>
          <a:prstGeom prst="straightConnector1">
            <a:avLst/>
          </a:prstGeom>
          <a:noFill/>
          <a:ln w="9525" cap="flat" cmpd="sng">
            <a:solidFill>
              <a:schemeClr val="dk2"/>
            </a:solidFill>
            <a:prstDash val="dot"/>
            <a:round/>
            <a:headEnd type="none" w="med" len="med"/>
            <a:tailEnd type="none" w="med" len="med"/>
          </a:ln>
        </p:spPr>
      </p:cxnSp>
      <p:grpSp>
        <p:nvGrpSpPr>
          <p:cNvPr id="2010" name="Google Shape;2010;p58"/>
          <p:cNvGrpSpPr/>
          <p:nvPr/>
        </p:nvGrpSpPr>
        <p:grpSpPr>
          <a:xfrm>
            <a:off x="4067349" y="3541179"/>
            <a:ext cx="333959" cy="524792"/>
            <a:chOff x="1045680" y="4644845"/>
            <a:chExt cx="680252" cy="1068968"/>
          </a:xfrm>
        </p:grpSpPr>
        <p:sp>
          <p:nvSpPr>
            <p:cNvPr id="2011" name="Google Shape;2011;p58"/>
            <p:cNvSpPr/>
            <p:nvPr/>
          </p:nvSpPr>
          <p:spPr>
            <a:xfrm>
              <a:off x="1045680" y="4644845"/>
              <a:ext cx="680252" cy="680252"/>
            </a:xfrm>
            <a:custGeom>
              <a:avLst/>
              <a:gdLst/>
              <a:ahLst/>
              <a:cxnLst/>
              <a:rect l="l" t="t" r="r" b="b"/>
              <a:pathLst>
                <a:path w="680252" h="680252" extrusionOk="0">
                  <a:moveTo>
                    <a:pt x="340126" y="680253"/>
                  </a:moveTo>
                  <a:cubicBezTo>
                    <a:pt x="527973" y="680253"/>
                    <a:pt x="680253" y="527973"/>
                    <a:pt x="680253" y="340126"/>
                  </a:cubicBezTo>
                  <a:cubicBezTo>
                    <a:pt x="680253" y="152279"/>
                    <a:pt x="527973" y="0"/>
                    <a:pt x="340126" y="0"/>
                  </a:cubicBezTo>
                  <a:cubicBezTo>
                    <a:pt x="152279" y="0"/>
                    <a:pt x="0" y="152279"/>
                    <a:pt x="0" y="340126"/>
                  </a:cubicBezTo>
                  <a:cubicBezTo>
                    <a:pt x="0" y="527973"/>
                    <a:pt x="152279" y="680253"/>
                    <a:pt x="340126" y="680253"/>
                  </a:cubicBezTo>
                  <a:close/>
                </a:path>
              </a:pathLst>
            </a:custGeom>
            <a:noFill/>
            <a:ln w="9525" cap="rnd" cmpd="sng">
              <a:solidFill>
                <a:schemeClr val="dk2"/>
              </a:solidFill>
              <a:prstDash val="solid"/>
              <a:round/>
              <a:headEnd type="none" w="sm" len="sm"/>
              <a:tailEnd type="none" w="sm" len="sm"/>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012" name="Google Shape;2012;p58"/>
            <p:cNvSpPr/>
            <p:nvPr/>
          </p:nvSpPr>
          <p:spPr>
            <a:xfrm>
              <a:off x="1142859" y="5270678"/>
              <a:ext cx="485894" cy="443135"/>
            </a:xfrm>
            <a:custGeom>
              <a:avLst/>
              <a:gdLst/>
              <a:ahLst/>
              <a:cxnLst/>
              <a:rect l="l" t="t" r="r" b="b"/>
              <a:pathLst>
                <a:path w="485894" h="443135" extrusionOk="0">
                  <a:moveTo>
                    <a:pt x="58793" y="486"/>
                  </a:moveTo>
                  <a:lnTo>
                    <a:pt x="0" y="443136"/>
                  </a:lnTo>
                  <a:lnTo>
                    <a:pt x="242947" y="297368"/>
                  </a:lnTo>
                  <a:lnTo>
                    <a:pt x="485895" y="443136"/>
                  </a:lnTo>
                  <a:lnTo>
                    <a:pt x="427101" y="0"/>
                  </a:lnTo>
                </a:path>
              </a:pathLst>
            </a:custGeom>
            <a:noFill/>
            <a:ln w="9525" cap="rnd" cmpd="sng">
              <a:solidFill>
                <a:schemeClr val="dk2"/>
              </a:solidFill>
              <a:prstDash val="solid"/>
              <a:round/>
              <a:headEnd type="none" w="sm" len="sm"/>
              <a:tailEnd type="none" w="sm" len="sm"/>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grpSp>
    </p:spTree>
    <p:extLst>
      <p:ext uri="{BB962C8B-B14F-4D97-AF65-F5344CB8AC3E}">
        <p14:creationId xmlns:p14="http://schemas.microsoft.com/office/powerpoint/2010/main" val="337611393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matchingName="Anniversary Profile pics - 4 years 8 pics">
  <p:cSld name="Anniversary Profile pics - 4 years 8 pics">
    <p:bg>
      <p:bgPr>
        <a:solidFill>
          <a:schemeClr val="lt2"/>
        </a:solidFill>
        <a:effectLst/>
      </p:bgPr>
    </p:bg>
    <p:spTree>
      <p:nvGrpSpPr>
        <p:cNvPr id="1" name="Shape 2013"/>
        <p:cNvGrpSpPr/>
        <p:nvPr/>
      </p:nvGrpSpPr>
      <p:grpSpPr>
        <a:xfrm>
          <a:off x="0" y="0"/>
          <a:ext cx="0" cy="0"/>
          <a:chOff x="0" y="0"/>
          <a:chExt cx="0" cy="0"/>
        </a:xfrm>
      </p:grpSpPr>
      <p:grpSp>
        <p:nvGrpSpPr>
          <p:cNvPr id="2014" name="Google Shape;2014;p59"/>
          <p:cNvGrpSpPr/>
          <p:nvPr/>
        </p:nvGrpSpPr>
        <p:grpSpPr>
          <a:xfrm>
            <a:off x="1159959" y="2005463"/>
            <a:ext cx="1356533" cy="1356691"/>
            <a:chOff x="719225" y="1001350"/>
            <a:chExt cx="1184400" cy="1184400"/>
          </a:xfrm>
        </p:grpSpPr>
        <p:sp>
          <p:nvSpPr>
            <p:cNvPr id="2015" name="Google Shape;2015;p59"/>
            <p:cNvSpPr/>
            <p:nvPr/>
          </p:nvSpPr>
          <p:spPr>
            <a:xfrm>
              <a:off x="719225" y="10013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sp>
          <p:nvSpPr>
            <p:cNvPr id="2016" name="Google Shape;2016;p59"/>
            <p:cNvSpPr/>
            <p:nvPr/>
          </p:nvSpPr>
          <p:spPr>
            <a:xfrm>
              <a:off x="795425" y="10775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sp>
          <p:nvSpPr>
            <p:cNvPr id="2017" name="Google Shape;2017;p59"/>
            <p:cNvSpPr/>
            <p:nvPr/>
          </p:nvSpPr>
          <p:spPr>
            <a:xfrm>
              <a:off x="871625" y="11537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sp>
          <p:nvSpPr>
            <p:cNvPr id="2018" name="Google Shape;2018;p59"/>
            <p:cNvSpPr/>
            <p:nvPr/>
          </p:nvSpPr>
          <p:spPr>
            <a:xfrm>
              <a:off x="1737725" y="1008075"/>
              <a:ext cx="152700" cy="152700"/>
            </a:xfrm>
            <a:prstGeom prst="rtTriangle">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sp>
          <p:nvSpPr>
            <p:cNvPr id="2019" name="Google Shape;2019;p59"/>
            <p:cNvSpPr/>
            <p:nvPr/>
          </p:nvSpPr>
          <p:spPr>
            <a:xfrm rot="10800000">
              <a:off x="725809" y="2020700"/>
              <a:ext cx="152700" cy="152700"/>
            </a:xfrm>
            <a:prstGeom prst="rtTriangle">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grpSp>
      <p:grpSp>
        <p:nvGrpSpPr>
          <p:cNvPr id="2020" name="Google Shape;2020;p59"/>
          <p:cNvGrpSpPr/>
          <p:nvPr/>
        </p:nvGrpSpPr>
        <p:grpSpPr>
          <a:xfrm>
            <a:off x="1159959" y="4220429"/>
            <a:ext cx="1356533" cy="1356691"/>
            <a:chOff x="719225" y="1001350"/>
            <a:chExt cx="1184400" cy="1184400"/>
          </a:xfrm>
        </p:grpSpPr>
        <p:sp>
          <p:nvSpPr>
            <p:cNvPr id="2021" name="Google Shape;2021;p59"/>
            <p:cNvSpPr/>
            <p:nvPr/>
          </p:nvSpPr>
          <p:spPr>
            <a:xfrm>
              <a:off x="719225" y="10013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sp>
          <p:nvSpPr>
            <p:cNvPr id="2022" name="Google Shape;2022;p59"/>
            <p:cNvSpPr/>
            <p:nvPr/>
          </p:nvSpPr>
          <p:spPr>
            <a:xfrm>
              <a:off x="795425" y="10775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sp>
          <p:nvSpPr>
            <p:cNvPr id="2023" name="Google Shape;2023;p59"/>
            <p:cNvSpPr/>
            <p:nvPr/>
          </p:nvSpPr>
          <p:spPr>
            <a:xfrm>
              <a:off x="871625" y="11537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sp>
          <p:nvSpPr>
            <p:cNvPr id="2024" name="Google Shape;2024;p59"/>
            <p:cNvSpPr/>
            <p:nvPr/>
          </p:nvSpPr>
          <p:spPr>
            <a:xfrm>
              <a:off x="1737725" y="1008075"/>
              <a:ext cx="152700" cy="152700"/>
            </a:xfrm>
            <a:prstGeom prst="rtTriangle">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sp>
          <p:nvSpPr>
            <p:cNvPr id="2025" name="Google Shape;2025;p59"/>
            <p:cNvSpPr/>
            <p:nvPr/>
          </p:nvSpPr>
          <p:spPr>
            <a:xfrm rot="10800000">
              <a:off x="725809" y="2020700"/>
              <a:ext cx="152700" cy="152700"/>
            </a:xfrm>
            <a:prstGeom prst="rtTriangle">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grpSp>
      <p:grpSp>
        <p:nvGrpSpPr>
          <p:cNvPr id="2026" name="Google Shape;2026;p59"/>
          <p:cNvGrpSpPr/>
          <p:nvPr/>
        </p:nvGrpSpPr>
        <p:grpSpPr>
          <a:xfrm>
            <a:off x="3970608" y="2005463"/>
            <a:ext cx="1356533" cy="1356691"/>
            <a:chOff x="719225" y="1001350"/>
            <a:chExt cx="1184400" cy="1184400"/>
          </a:xfrm>
        </p:grpSpPr>
        <p:sp>
          <p:nvSpPr>
            <p:cNvPr id="2027" name="Google Shape;2027;p59"/>
            <p:cNvSpPr/>
            <p:nvPr/>
          </p:nvSpPr>
          <p:spPr>
            <a:xfrm>
              <a:off x="719225" y="10013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sp>
          <p:nvSpPr>
            <p:cNvPr id="2028" name="Google Shape;2028;p59"/>
            <p:cNvSpPr/>
            <p:nvPr/>
          </p:nvSpPr>
          <p:spPr>
            <a:xfrm>
              <a:off x="795425" y="10775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sp>
          <p:nvSpPr>
            <p:cNvPr id="2029" name="Google Shape;2029;p59"/>
            <p:cNvSpPr/>
            <p:nvPr/>
          </p:nvSpPr>
          <p:spPr>
            <a:xfrm>
              <a:off x="871625" y="11537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sp>
          <p:nvSpPr>
            <p:cNvPr id="2030" name="Google Shape;2030;p59"/>
            <p:cNvSpPr/>
            <p:nvPr/>
          </p:nvSpPr>
          <p:spPr>
            <a:xfrm>
              <a:off x="1737725" y="1008075"/>
              <a:ext cx="152700" cy="152700"/>
            </a:xfrm>
            <a:prstGeom prst="rtTriangle">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sp>
          <p:nvSpPr>
            <p:cNvPr id="2031" name="Google Shape;2031;p59"/>
            <p:cNvSpPr/>
            <p:nvPr/>
          </p:nvSpPr>
          <p:spPr>
            <a:xfrm rot="10800000">
              <a:off x="725809" y="2020700"/>
              <a:ext cx="152700" cy="152700"/>
            </a:xfrm>
            <a:prstGeom prst="rtTriangle">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grpSp>
      <p:grpSp>
        <p:nvGrpSpPr>
          <p:cNvPr id="2032" name="Google Shape;2032;p59"/>
          <p:cNvGrpSpPr/>
          <p:nvPr/>
        </p:nvGrpSpPr>
        <p:grpSpPr>
          <a:xfrm>
            <a:off x="3970608" y="4220429"/>
            <a:ext cx="1356533" cy="1356691"/>
            <a:chOff x="719225" y="1001350"/>
            <a:chExt cx="1184400" cy="1184400"/>
          </a:xfrm>
        </p:grpSpPr>
        <p:sp>
          <p:nvSpPr>
            <p:cNvPr id="2033" name="Google Shape;2033;p59"/>
            <p:cNvSpPr/>
            <p:nvPr/>
          </p:nvSpPr>
          <p:spPr>
            <a:xfrm>
              <a:off x="719225" y="10013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sp>
          <p:nvSpPr>
            <p:cNvPr id="2034" name="Google Shape;2034;p59"/>
            <p:cNvSpPr/>
            <p:nvPr/>
          </p:nvSpPr>
          <p:spPr>
            <a:xfrm>
              <a:off x="795425" y="10775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sp>
          <p:nvSpPr>
            <p:cNvPr id="2035" name="Google Shape;2035;p59"/>
            <p:cNvSpPr/>
            <p:nvPr/>
          </p:nvSpPr>
          <p:spPr>
            <a:xfrm>
              <a:off x="871625" y="11537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sp>
          <p:nvSpPr>
            <p:cNvPr id="2036" name="Google Shape;2036;p59"/>
            <p:cNvSpPr/>
            <p:nvPr/>
          </p:nvSpPr>
          <p:spPr>
            <a:xfrm>
              <a:off x="1737725" y="1008075"/>
              <a:ext cx="152700" cy="152700"/>
            </a:xfrm>
            <a:prstGeom prst="rtTriangle">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sp>
          <p:nvSpPr>
            <p:cNvPr id="2037" name="Google Shape;2037;p59"/>
            <p:cNvSpPr/>
            <p:nvPr/>
          </p:nvSpPr>
          <p:spPr>
            <a:xfrm rot="10800000">
              <a:off x="725809" y="2020700"/>
              <a:ext cx="152700" cy="152700"/>
            </a:xfrm>
            <a:prstGeom prst="rtTriangle">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grpSp>
      <p:grpSp>
        <p:nvGrpSpPr>
          <p:cNvPr id="2038" name="Google Shape;2038;p59"/>
          <p:cNvGrpSpPr/>
          <p:nvPr/>
        </p:nvGrpSpPr>
        <p:grpSpPr>
          <a:xfrm>
            <a:off x="6809742" y="2005463"/>
            <a:ext cx="1356533" cy="1356691"/>
            <a:chOff x="719225" y="1001350"/>
            <a:chExt cx="1184400" cy="1184400"/>
          </a:xfrm>
        </p:grpSpPr>
        <p:sp>
          <p:nvSpPr>
            <p:cNvPr id="2039" name="Google Shape;2039;p59"/>
            <p:cNvSpPr/>
            <p:nvPr/>
          </p:nvSpPr>
          <p:spPr>
            <a:xfrm>
              <a:off x="719225" y="10013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sp>
          <p:nvSpPr>
            <p:cNvPr id="2040" name="Google Shape;2040;p59"/>
            <p:cNvSpPr/>
            <p:nvPr/>
          </p:nvSpPr>
          <p:spPr>
            <a:xfrm>
              <a:off x="795425" y="10775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sp>
          <p:nvSpPr>
            <p:cNvPr id="2041" name="Google Shape;2041;p59"/>
            <p:cNvSpPr/>
            <p:nvPr/>
          </p:nvSpPr>
          <p:spPr>
            <a:xfrm>
              <a:off x="871625" y="11537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sp>
          <p:nvSpPr>
            <p:cNvPr id="2042" name="Google Shape;2042;p59"/>
            <p:cNvSpPr/>
            <p:nvPr/>
          </p:nvSpPr>
          <p:spPr>
            <a:xfrm>
              <a:off x="1737725" y="1008075"/>
              <a:ext cx="152700" cy="152700"/>
            </a:xfrm>
            <a:prstGeom prst="rtTriangle">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sp>
          <p:nvSpPr>
            <p:cNvPr id="2043" name="Google Shape;2043;p59"/>
            <p:cNvSpPr/>
            <p:nvPr/>
          </p:nvSpPr>
          <p:spPr>
            <a:xfrm rot="10800000">
              <a:off x="725809" y="2020700"/>
              <a:ext cx="152700" cy="152700"/>
            </a:xfrm>
            <a:prstGeom prst="rtTriangle">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grpSp>
      <p:grpSp>
        <p:nvGrpSpPr>
          <p:cNvPr id="2044" name="Google Shape;2044;p59"/>
          <p:cNvGrpSpPr/>
          <p:nvPr/>
        </p:nvGrpSpPr>
        <p:grpSpPr>
          <a:xfrm>
            <a:off x="6809742" y="4220429"/>
            <a:ext cx="1356533" cy="1356691"/>
            <a:chOff x="719225" y="1001350"/>
            <a:chExt cx="1184400" cy="1184400"/>
          </a:xfrm>
        </p:grpSpPr>
        <p:sp>
          <p:nvSpPr>
            <p:cNvPr id="2045" name="Google Shape;2045;p59"/>
            <p:cNvSpPr/>
            <p:nvPr/>
          </p:nvSpPr>
          <p:spPr>
            <a:xfrm>
              <a:off x="719225" y="10013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sp>
          <p:nvSpPr>
            <p:cNvPr id="2046" name="Google Shape;2046;p59"/>
            <p:cNvSpPr/>
            <p:nvPr/>
          </p:nvSpPr>
          <p:spPr>
            <a:xfrm>
              <a:off x="795425" y="10775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sp>
          <p:nvSpPr>
            <p:cNvPr id="2047" name="Google Shape;2047;p59"/>
            <p:cNvSpPr/>
            <p:nvPr/>
          </p:nvSpPr>
          <p:spPr>
            <a:xfrm>
              <a:off x="871625" y="11537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sp>
          <p:nvSpPr>
            <p:cNvPr id="2048" name="Google Shape;2048;p59"/>
            <p:cNvSpPr/>
            <p:nvPr/>
          </p:nvSpPr>
          <p:spPr>
            <a:xfrm>
              <a:off x="1737725" y="1008075"/>
              <a:ext cx="152700" cy="152700"/>
            </a:xfrm>
            <a:prstGeom prst="rtTriangle">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sp>
          <p:nvSpPr>
            <p:cNvPr id="2049" name="Google Shape;2049;p59"/>
            <p:cNvSpPr/>
            <p:nvPr/>
          </p:nvSpPr>
          <p:spPr>
            <a:xfrm rot="10800000">
              <a:off x="725809" y="2020700"/>
              <a:ext cx="152700" cy="152700"/>
            </a:xfrm>
            <a:prstGeom prst="rtTriangle">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grpSp>
      <p:grpSp>
        <p:nvGrpSpPr>
          <p:cNvPr id="2050" name="Google Shape;2050;p59"/>
          <p:cNvGrpSpPr/>
          <p:nvPr/>
        </p:nvGrpSpPr>
        <p:grpSpPr>
          <a:xfrm>
            <a:off x="9648875" y="2005463"/>
            <a:ext cx="1356533" cy="1356691"/>
            <a:chOff x="719225" y="1001350"/>
            <a:chExt cx="1184400" cy="1184400"/>
          </a:xfrm>
        </p:grpSpPr>
        <p:sp>
          <p:nvSpPr>
            <p:cNvPr id="2051" name="Google Shape;2051;p59"/>
            <p:cNvSpPr/>
            <p:nvPr/>
          </p:nvSpPr>
          <p:spPr>
            <a:xfrm>
              <a:off x="719225" y="10013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sp>
          <p:nvSpPr>
            <p:cNvPr id="2052" name="Google Shape;2052;p59"/>
            <p:cNvSpPr/>
            <p:nvPr/>
          </p:nvSpPr>
          <p:spPr>
            <a:xfrm>
              <a:off x="795425" y="10775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sp>
          <p:nvSpPr>
            <p:cNvPr id="2053" name="Google Shape;2053;p59"/>
            <p:cNvSpPr/>
            <p:nvPr/>
          </p:nvSpPr>
          <p:spPr>
            <a:xfrm>
              <a:off x="871625" y="11537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sp>
          <p:nvSpPr>
            <p:cNvPr id="2054" name="Google Shape;2054;p59"/>
            <p:cNvSpPr/>
            <p:nvPr/>
          </p:nvSpPr>
          <p:spPr>
            <a:xfrm>
              <a:off x="1737725" y="1008075"/>
              <a:ext cx="152700" cy="152700"/>
            </a:xfrm>
            <a:prstGeom prst="rtTriangle">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sp>
          <p:nvSpPr>
            <p:cNvPr id="2055" name="Google Shape;2055;p59"/>
            <p:cNvSpPr/>
            <p:nvPr/>
          </p:nvSpPr>
          <p:spPr>
            <a:xfrm rot="10800000">
              <a:off x="725809" y="2020700"/>
              <a:ext cx="152700" cy="152700"/>
            </a:xfrm>
            <a:prstGeom prst="rtTriangle">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grpSp>
      <p:grpSp>
        <p:nvGrpSpPr>
          <p:cNvPr id="2056" name="Google Shape;2056;p59"/>
          <p:cNvGrpSpPr/>
          <p:nvPr/>
        </p:nvGrpSpPr>
        <p:grpSpPr>
          <a:xfrm>
            <a:off x="9648875" y="4220429"/>
            <a:ext cx="1356533" cy="1356691"/>
            <a:chOff x="719225" y="1001350"/>
            <a:chExt cx="1184400" cy="1184400"/>
          </a:xfrm>
        </p:grpSpPr>
        <p:sp>
          <p:nvSpPr>
            <p:cNvPr id="2057" name="Google Shape;2057;p59"/>
            <p:cNvSpPr/>
            <p:nvPr/>
          </p:nvSpPr>
          <p:spPr>
            <a:xfrm>
              <a:off x="719225" y="10013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sp>
          <p:nvSpPr>
            <p:cNvPr id="2058" name="Google Shape;2058;p59"/>
            <p:cNvSpPr/>
            <p:nvPr/>
          </p:nvSpPr>
          <p:spPr>
            <a:xfrm>
              <a:off x="795425" y="10775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sp>
          <p:nvSpPr>
            <p:cNvPr id="2059" name="Google Shape;2059;p59"/>
            <p:cNvSpPr/>
            <p:nvPr/>
          </p:nvSpPr>
          <p:spPr>
            <a:xfrm>
              <a:off x="871625" y="11537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sp>
          <p:nvSpPr>
            <p:cNvPr id="2060" name="Google Shape;2060;p59"/>
            <p:cNvSpPr/>
            <p:nvPr/>
          </p:nvSpPr>
          <p:spPr>
            <a:xfrm>
              <a:off x="1737725" y="1008075"/>
              <a:ext cx="152700" cy="152700"/>
            </a:xfrm>
            <a:prstGeom prst="rtTriangle">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sp>
          <p:nvSpPr>
            <p:cNvPr id="2061" name="Google Shape;2061;p59"/>
            <p:cNvSpPr/>
            <p:nvPr/>
          </p:nvSpPr>
          <p:spPr>
            <a:xfrm rot="10800000">
              <a:off x="725809" y="2020700"/>
              <a:ext cx="152700" cy="152700"/>
            </a:xfrm>
            <a:prstGeom prst="rtTriangle">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grpSp>
      <p:sp>
        <p:nvSpPr>
          <p:cNvPr id="2062" name="Google Shape;2062;p59"/>
          <p:cNvSpPr>
            <a:spLocks noGrp="1"/>
          </p:cNvSpPr>
          <p:nvPr>
            <p:ph type="pic" idx="2"/>
          </p:nvPr>
        </p:nvSpPr>
        <p:spPr>
          <a:xfrm>
            <a:off x="1160167" y="2005413"/>
            <a:ext cx="1182000" cy="1182000"/>
          </a:xfrm>
          <a:prstGeom prst="roundRect">
            <a:avLst>
              <a:gd name="adj" fmla="val 3181"/>
            </a:avLst>
          </a:prstGeom>
          <a:noFill/>
          <a:ln>
            <a:noFill/>
          </a:ln>
        </p:spPr>
      </p:sp>
      <p:sp>
        <p:nvSpPr>
          <p:cNvPr id="2063" name="Google Shape;2063;p59"/>
          <p:cNvSpPr>
            <a:spLocks noGrp="1"/>
          </p:cNvSpPr>
          <p:nvPr>
            <p:ph type="pic" idx="3"/>
          </p:nvPr>
        </p:nvSpPr>
        <p:spPr>
          <a:xfrm>
            <a:off x="3970733" y="2005413"/>
            <a:ext cx="1182000" cy="1182000"/>
          </a:xfrm>
          <a:prstGeom prst="roundRect">
            <a:avLst>
              <a:gd name="adj" fmla="val 3181"/>
            </a:avLst>
          </a:prstGeom>
          <a:noFill/>
          <a:ln>
            <a:noFill/>
          </a:ln>
        </p:spPr>
      </p:sp>
      <p:sp>
        <p:nvSpPr>
          <p:cNvPr id="2064" name="Google Shape;2064;p59"/>
          <p:cNvSpPr>
            <a:spLocks noGrp="1"/>
          </p:cNvSpPr>
          <p:nvPr>
            <p:ph type="pic" idx="4"/>
          </p:nvPr>
        </p:nvSpPr>
        <p:spPr>
          <a:xfrm>
            <a:off x="6809767" y="2005413"/>
            <a:ext cx="1182000" cy="1182000"/>
          </a:xfrm>
          <a:prstGeom prst="roundRect">
            <a:avLst>
              <a:gd name="adj" fmla="val 3181"/>
            </a:avLst>
          </a:prstGeom>
          <a:noFill/>
          <a:ln>
            <a:noFill/>
          </a:ln>
        </p:spPr>
      </p:sp>
      <p:sp>
        <p:nvSpPr>
          <p:cNvPr id="2065" name="Google Shape;2065;p59"/>
          <p:cNvSpPr>
            <a:spLocks noGrp="1"/>
          </p:cNvSpPr>
          <p:nvPr>
            <p:ph type="pic" idx="5"/>
          </p:nvPr>
        </p:nvSpPr>
        <p:spPr>
          <a:xfrm>
            <a:off x="9648867" y="2005413"/>
            <a:ext cx="1182000" cy="1182000"/>
          </a:xfrm>
          <a:prstGeom prst="roundRect">
            <a:avLst>
              <a:gd name="adj" fmla="val 3181"/>
            </a:avLst>
          </a:prstGeom>
          <a:noFill/>
          <a:ln>
            <a:noFill/>
          </a:ln>
        </p:spPr>
      </p:sp>
      <p:sp>
        <p:nvSpPr>
          <p:cNvPr id="2066" name="Google Shape;2066;p59"/>
          <p:cNvSpPr>
            <a:spLocks noGrp="1"/>
          </p:cNvSpPr>
          <p:nvPr>
            <p:ph type="pic" idx="6"/>
          </p:nvPr>
        </p:nvSpPr>
        <p:spPr>
          <a:xfrm>
            <a:off x="1160167" y="4220447"/>
            <a:ext cx="1182000" cy="1182000"/>
          </a:xfrm>
          <a:prstGeom prst="roundRect">
            <a:avLst>
              <a:gd name="adj" fmla="val 3181"/>
            </a:avLst>
          </a:prstGeom>
          <a:noFill/>
          <a:ln>
            <a:noFill/>
          </a:ln>
        </p:spPr>
      </p:sp>
      <p:sp>
        <p:nvSpPr>
          <p:cNvPr id="2067" name="Google Shape;2067;p59"/>
          <p:cNvSpPr>
            <a:spLocks noGrp="1"/>
          </p:cNvSpPr>
          <p:nvPr>
            <p:ph type="pic" idx="7"/>
          </p:nvPr>
        </p:nvSpPr>
        <p:spPr>
          <a:xfrm>
            <a:off x="3970733" y="4220447"/>
            <a:ext cx="1182000" cy="1182000"/>
          </a:xfrm>
          <a:prstGeom prst="roundRect">
            <a:avLst>
              <a:gd name="adj" fmla="val 3181"/>
            </a:avLst>
          </a:prstGeom>
          <a:noFill/>
          <a:ln>
            <a:noFill/>
          </a:ln>
        </p:spPr>
      </p:sp>
      <p:sp>
        <p:nvSpPr>
          <p:cNvPr id="2068" name="Google Shape;2068;p59"/>
          <p:cNvSpPr>
            <a:spLocks noGrp="1"/>
          </p:cNvSpPr>
          <p:nvPr>
            <p:ph type="pic" idx="8"/>
          </p:nvPr>
        </p:nvSpPr>
        <p:spPr>
          <a:xfrm>
            <a:off x="6809767" y="4220447"/>
            <a:ext cx="1182000" cy="1182000"/>
          </a:xfrm>
          <a:prstGeom prst="roundRect">
            <a:avLst>
              <a:gd name="adj" fmla="val 3181"/>
            </a:avLst>
          </a:prstGeom>
          <a:noFill/>
          <a:ln>
            <a:noFill/>
          </a:ln>
        </p:spPr>
      </p:sp>
      <p:sp>
        <p:nvSpPr>
          <p:cNvPr id="2069" name="Google Shape;2069;p59"/>
          <p:cNvSpPr>
            <a:spLocks noGrp="1"/>
          </p:cNvSpPr>
          <p:nvPr>
            <p:ph type="pic" idx="9"/>
          </p:nvPr>
        </p:nvSpPr>
        <p:spPr>
          <a:xfrm>
            <a:off x="9648867" y="4220447"/>
            <a:ext cx="1182000" cy="1182000"/>
          </a:xfrm>
          <a:prstGeom prst="roundRect">
            <a:avLst>
              <a:gd name="adj" fmla="val 3181"/>
            </a:avLst>
          </a:prstGeom>
          <a:noFill/>
          <a:ln>
            <a:noFill/>
          </a:ln>
        </p:spPr>
      </p:sp>
      <p:sp>
        <p:nvSpPr>
          <p:cNvPr id="2070" name="Google Shape;2070;p59"/>
          <p:cNvSpPr txBox="1">
            <a:spLocks noGrp="1"/>
          </p:cNvSpPr>
          <p:nvPr>
            <p:ph type="title"/>
          </p:nvPr>
        </p:nvSpPr>
        <p:spPr>
          <a:xfrm>
            <a:off x="951700" y="359997"/>
            <a:ext cx="10515600" cy="975200"/>
          </a:xfrm>
          <a:prstGeom prst="rect">
            <a:avLst/>
          </a:prstGeom>
          <a:noFill/>
          <a:ln>
            <a:noFill/>
          </a:ln>
        </p:spPr>
        <p:txBody>
          <a:bodyPr spcFirstLastPara="1" wrap="square" lIns="0" tIns="0" rIns="68575" bIns="34275" anchor="t" anchorCtr="0">
            <a:noAutofit/>
          </a:bodyPr>
          <a:lstStyle>
            <a:lvl1pPr lvl="0" algn="l" rtl="0">
              <a:lnSpc>
                <a:spcPct val="90000"/>
              </a:lnSpc>
              <a:spcBef>
                <a:spcPts val="0"/>
              </a:spcBef>
              <a:spcAft>
                <a:spcPts val="0"/>
              </a:spcAft>
              <a:buClr>
                <a:schemeClr val="dk1"/>
              </a:buClr>
              <a:buSzPts val="2400"/>
              <a:buFont typeface="Inter Medium"/>
              <a:buNone/>
              <a:defRPr sz="3200">
                <a:solidFill>
                  <a:schemeClr val="dk1"/>
                </a:solidFill>
                <a:latin typeface="Inter Medium"/>
                <a:ea typeface="Inter Medium"/>
                <a:cs typeface="Inter Medium"/>
                <a:sym typeface="Inter Medium"/>
              </a:defRPr>
            </a:lvl1pPr>
            <a:lvl2pPr lvl="1" rtl="0">
              <a:spcBef>
                <a:spcPts val="0"/>
              </a:spcBef>
              <a:spcAft>
                <a:spcPts val="0"/>
              </a:spcAft>
              <a:buClr>
                <a:schemeClr val="dk1"/>
              </a:buClr>
              <a:buSzPts val="1100"/>
              <a:buNone/>
              <a:defRPr b="1">
                <a:solidFill>
                  <a:schemeClr val="dk1"/>
                </a:solidFill>
              </a:defRPr>
            </a:lvl2pPr>
            <a:lvl3pPr lvl="2" rtl="0">
              <a:spcBef>
                <a:spcPts val="0"/>
              </a:spcBef>
              <a:spcAft>
                <a:spcPts val="0"/>
              </a:spcAft>
              <a:buClr>
                <a:schemeClr val="dk1"/>
              </a:buClr>
              <a:buSzPts val="1100"/>
              <a:buNone/>
              <a:defRPr b="1">
                <a:solidFill>
                  <a:schemeClr val="dk1"/>
                </a:solidFill>
              </a:defRPr>
            </a:lvl3pPr>
            <a:lvl4pPr lvl="3" rtl="0">
              <a:spcBef>
                <a:spcPts val="0"/>
              </a:spcBef>
              <a:spcAft>
                <a:spcPts val="0"/>
              </a:spcAft>
              <a:buClr>
                <a:schemeClr val="dk1"/>
              </a:buClr>
              <a:buSzPts val="1100"/>
              <a:buNone/>
              <a:defRPr b="1">
                <a:solidFill>
                  <a:schemeClr val="dk1"/>
                </a:solidFill>
              </a:defRPr>
            </a:lvl4pPr>
            <a:lvl5pPr lvl="4" rtl="0">
              <a:spcBef>
                <a:spcPts val="0"/>
              </a:spcBef>
              <a:spcAft>
                <a:spcPts val="0"/>
              </a:spcAft>
              <a:buClr>
                <a:schemeClr val="dk1"/>
              </a:buClr>
              <a:buSzPts val="1100"/>
              <a:buNone/>
              <a:defRPr b="1">
                <a:solidFill>
                  <a:schemeClr val="dk1"/>
                </a:solidFill>
              </a:defRPr>
            </a:lvl5pPr>
            <a:lvl6pPr lvl="5" rtl="0">
              <a:spcBef>
                <a:spcPts val="0"/>
              </a:spcBef>
              <a:spcAft>
                <a:spcPts val="0"/>
              </a:spcAft>
              <a:buClr>
                <a:schemeClr val="dk1"/>
              </a:buClr>
              <a:buSzPts val="1100"/>
              <a:buNone/>
              <a:defRPr b="1">
                <a:solidFill>
                  <a:schemeClr val="dk1"/>
                </a:solidFill>
              </a:defRPr>
            </a:lvl6pPr>
            <a:lvl7pPr lvl="6" rtl="0">
              <a:spcBef>
                <a:spcPts val="0"/>
              </a:spcBef>
              <a:spcAft>
                <a:spcPts val="0"/>
              </a:spcAft>
              <a:buClr>
                <a:schemeClr val="dk1"/>
              </a:buClr>
              <a:buSzPts val="1100"/>
              <a:buNone/>
              <a:defRPr b="1">
                <a:solidFill>
                  <a:schemeClr val="dk1"/>
                </a:solidFill>
              </a:defRPr>
            </a:lvl7pPr>
            <a:lvl8pPr lvl="7" rtl="0">
              <a:spcBef>
                <a:spcPts val="0"/>
              </a:spcBef>
              <a:spcAft>
                <a:spcPts val="0"/>
              </a:spcAft>
              <a:buClr>
                <a:schemeClr val="dk1"/>
              </a:buClr>
              <a:buSzPts val="1100"/>
              <a:buNone/>
              <a:defRPr b="1">
                <a:solidFill>
                  <a:schemeClr val="dk1"/>
                </a:solidFill>
              </a:defRPr>
            </a:lvl8pPr>
            <a:lvl9pPr lvl="8" rtl="0">
              <a:spcBef>
                <a:spcPts val="0"/>
              </a:spcBef>
              <a:spcAft>
                <a:spcPts val="0"/>
              </a:spcAft>
              <a:buClr>
                <a:schemeClr val="dk1"/>
              </a:buClr>
              <a:buSzPts val="1100"/>
              <a:buNone/>
              <a:defRPr b="1">
                <a:solidFill>
                  <a:schemeClr val="dk1"/>
                </a:solidFill>
              </a:defRPr>
            </a:lvl9pPr>
          </a:lstStyle>
          <a:p>
            <a:endParaRPr/>
          </a:p>
        </p:txBody>
      </p:sp>
      <p:sp>
        <p:nvSpPr>
          <p:cNvPr id="2071" name="Google Shape;2071;p59"/>
          <p:cNvSpPr txBox="1">
            <a:spLocks noGrp="1"/>
          </p:cNvSpPr>
          <p:nvPr>
            <p:ph type="sldNum" idx="12"/>
          </p:nvPr>
        </p:nvSpPr>
        <p:spPr>
          <a:xfrm>
            <a:off x="10978812" y="5993647"/>
            <a:ext cx="731600" cy="524800"/>
          </a:xfrm>
          <a:prstGeom prst="rect">
            <a:avLst/>
          </a:prstGeom>
          <a:noFill/>
        </p:spPr>
        <p:txBody>
          <a:bodyPr spcFirstLastPara="1" wrap="square" lIns="91425" tIns="91425" rIns="0" bIns="0" anchor="b" anchorCtr="0">
            <a:noAutofit/>
          </a:bodyPr>
          <a:lstStyle>
            <a:lvl1pPr lvl="0" algn="r" rtl="0">
              <a:buNone/>
              <a:defRPr sz="667">
                <a:latin typeface="Inter"/>
                <a:ea typeface="Inter"/>
                <a:cs typeface="Inter"/>
                <a:sym typeface="Inter"/>
              </a:defRPr>
            </a:lvl1pPr>
            <a:lvl2pPr lvl="1" algn="r" rtl="0">
              <a:buNone/>
              <a:defRPr sz="667">
                <a:latin typeface="Inter"/>
                <a:ea typeface="Inter"/>
                <a:cs typeface="Inter"/>
                <a:sym typeface="Inter"/>
              </a:defRPr>
            </a:lvl2pPr>
            <a:lvl3pPr lvl="2" algn="r" rtl="0">
              <a:buNone/>
              <a:defRPr sz="667">
                <a:latin typeface="Inter"/>
                <a:ea typeface="Inter"/>
                <a:cs typeface="Inter"/>
                <a:sym typeface="Inter"/>
              </a:defRPr>
            </a:lvl3pPr>
            <a:lvl4pPr lvl="3" algn="r" rtl="0">
              <a:buNone/>
              <a:defRPr sz="667">
                <a:latin typeface="Inter"/>
                <a:ea typeface="Inter"/>
                <a:cs typeface="Inter"/>
                <a:sym typeface="Inter"/>
              </a:defRPr>
            </a:lvl4pPr>
            <a:lvl5pPr lvl="4" algn="r" rtl="0">
              <a:buNone/>
              <a:defRPr sz="667">
                <a:latin typeface="Inter"/>
                <a:ea typeface="Inter"/>
                <a:cs typeface="Inter"/>
                <a:sym typeface="Inter"/>
              </a:defRPr>
            </a:lvl5pPr>
            <a:lvl6pPr lvl="5" algn="r" rtl="0">
              <a:buNone/>
              <a:defRPr sz="667">
                <a:latin typeface="Inter"/>
                <a:ea typeface="Inter"/>
                <a:cs typeface="Inter"/>
                <a:sym typeface="Inter"/>
              </a:defRPr>
            </a:lvl6pPr>
            <a:lvl7pPr lvl="6" algn="r" rtl="0">
              <a:buNone/>
              <a:defRPr sz="667">
                <a:latin typeface="Inter"/>
                <a:ea typeface="Inter"/>
                <a:cs typeface="Inter"/>
                <a:sym typeface="Inter"/>
              </a:defRPr>
            </a:lvl7pPr>
            <a:lvl8pPr lvl="7" algn="r" rtl="0">
              <a:buNone/>
              <a:defRPr sz="667">
                <a:latin typeface="Inter"/>
                <a:ea typeface="Inter"/>
                <a:cs typeface="Inter"/>
                <a:sym typeface="Inter"/>
              </a:defRPr>
            </a:lvl8pPr>
            <a:lvl9pPr lvl="8" algn="r" rtl="0">
              <a:buNone/>
              <a:defRPr sz="667">
                <a:latin typeface="Inter"/>
                <a:ea typeface="Inter"/>
                <a:cs typeface="Inter"/>
                <a:sym typeface="Inter"/>
              </a:defRPr>
            </a:lvl9pPr>
          </a:lstStyle>
          <a:p>
            <a:fld id="{00000000-1234-1234-1234-123412341234}" type="slidenum">
              <a:rPr lang="en-GB" smtClean="0"/>
              <a:pPr/>
              <a:t>‹#›</a:t>
            </a:fld>
            <a:endParaRPr lang="en-GB"/>
          </a:p>
        </p:txBody>
      </p:sp>
      <p:sp>
        <p:nvSpPr>
          <p:cNvPr id="2072" name="Google Shape;2072;p59"/>
          <p:cNvSpPr txBox="1"/>
          <p:nvPr/>
        </p:nvSpPr>
        <p:spPr>
          <a:xfrm>
            <a:off x="481600" y="6245247"/>
            <a:ext cx="1288400" cy="273200"/>
          </a:xfrm>
          <a:prstGeom prst="rect">
            <a:avLst/>
          </a:prstGeom>
          <a:noFill/>
          <a:ln>
            <a:noFill/>
          </a:ln>
        </p:spPr>
        <p:txBody>
          <a:bodyPr spcFirstLastPara="1" wrap="square" lIns="0" tIns="0" rIns="0" bIns="0" anchor="b" anchorCtr="0">
            <a:noAutofit/>
          </a:bodyPr>
          <a:lstStyle/>
          <a:p>
            <a:pPr marL="0" lvl="0" indent="0" algn="l" rtl="0">
              <a:spcBef>
                <a:spcPts val="0"/>
              </a:spcBef>
              <a:spcAft>
                <a:spcPts val="0"/>
              </a:spcAft>
              <a:buNone/>
            </a:pPr>
            <a:r>
              <a:rPr lang="en-GB" sz="667">
                <a:solidFill>
                  <a:schemeClr val="dk2"/>
                </a:solidFill>
                <a:latin typeface="Inter"/>
                <a:ea typeface="Inter"/>
                <a:cs typeface="Inter"/>
                <a:sym typeface="Inter"/>
              </a:rPr>
              <a:t>Multiverse</a:t>
            </a:r>
            <a:endParaRPr sz="667">
              <a:solidFill>
                <a:schemeClr val="dk2"/>
              </a:solidFill>
              <a:latin typeface="Inter"/>
              <a:ea typeface="Inter"/>
              <a:cs typeface="Inter"/>
              <a:sym typeface="Inter"/>
            </a:endParaRPr>
          </a:p>
        </p:txBody>
      </p:sp>
      <p:sp>
        <p:nvSpPr>
          <p:cNvPr id="2073" name="Google Shape;2073;p59"/>
          <p:cNvSpPr/>
          <p:nvPr/>
        </p:nvSpPr>
        <p:spPr>
          <a:xfrm>
            <a:off x="481601" y="414630"/>
            <a:ext cx="349111" cy="305471"/>
          </a:xfrm>
          <a:custGeom>
            <a:avLst/>
            <a:gdLst/>
            <a:ahLst/>
            <a:cxnLst/>
            <a:rect l="l" t="t" r="r" b="b"/>
            <a:pathLst>
              <a:path w="1586865" h="1388506" extrusionOk="0">
                <a:moveTo>
                  <a:pt x="1083683" y="969931"/>
                </a:moveTo>
                <a:lnTo>
                  <a:pt x="1083683" y="579692"/>
                </a:lnTo>
                <a:lnTo>
                  <a:pt x="849297" y="969931"/>
                </a:lnTo>
                <a:lnTo>
                  <a:pt x="848892" y="969931"/>
                </a:lnTo>
                <a:cubicBezTo>
                  <a:pt x="848892" y="969931"/>
                  <a:pt x="848892" y="969931"/>
                  <a:pt x="848892" y="969931"/>
                </a:cubicBezTo>
                <a:lnTo>
                  <a:pt x="738783" y="969931"/>
                </a:lnTo>
                <a:lnTo>
                  <a:pt x="738783" y="577668"/>
                </a:lnTo>
                <a:lnTo>
                  <a:pt x="549735" y="892612"/>
                </a:lnTo>
                <a:cubicBezTo>
                  <a:pt x="527876" y="929449"/>
                  <a:pt x="510873" y="958191"/>
                  <a:pt x="503992" y="969931"/>
                </a:cubicBezTo>
                <a:lnTo>
                  <a:pt x="393073" y="969931"/>
                </a:lnTo>
                <a:lnTo>
                  <a:pt x="393073" y="418576"/>
                </a:lnTo>
                <a:lnTo>
                  <a:pt x="503992" y="418576"/>
                </a:lnTo>
                <a:lnTo>
                  <a:pt x="502777" y="760643"/>
                </a:lnTo>
                <a:lnTo>
                  <a:pt x="503587" y="782098"/>
                </a:lnTo>
                <a:lnTo>
                  <a:pt x="721781" y="418981"/>
                </a:lnTo>
                <a:lnTo>
                  <a:pt x="721781" y="418981"/>
                </a:lnTo>
                <a:lnTo>
                  <a:pt x="721781" y="418981"/>
                </a:lnTo>
                <a:lnTo>
                  <a:pt x="739188" y="418981"/>
                </a:lnTo>
                <a:lnTo>
                  <a:pt x="847678" y="418981"/>
                </a:lnTo>
                <a:cubicBezTo>
                  <a:pt x="847678" y="418981"/>
                  <a:pt x="848487" y="722995"/>
                  <a:pt x="848892" y="783717"/>
                </a:cubicBezTo>
                <a:lnTo>
                  <a:pt x="1067895" y="418981"/>
                </a:lnTo>
                <a:lnTo>
                  <a:pt x="1067895" y="418981"/>
                </a:lnTo>
                <a:lnTo>
                  <a:pt x="1067895" y="418981"/>
                </a:lnTo>
                <a:lnTo>
                  <a:pt x="1085302" y="418981"/>
                </a:lnTo>
                <a:lnTo>
                  <a:pt x="1193387" y="418981"/>
                </a:lnTo>
                <a:lnTo>
                  <a:pt x="1193387" y="970336"/>
                </a:lnTo>
                <a:lnTo>
                  <a:pt x="1083683" y="970336"/>
                </a:lnTo>
                <a:close/>
                <a:moveTo>
                  <a:pt x="1190149" y="0"/>
                </a:moveTo>
                <a:lnTo>
                  <a:pt x="396716" y="0"/>
                </a:lnTo>
                <a:lnTo>
                  <a:pt x="0" y="694253"/>
                </a:lnTo>
                <a:lnTo>
                  <a:pt x="396716" y="1388507"/>
                </a:lnTo>
                <a:lnTo>
                  <a:pt x="1190149" y="1388507"/>
                </a:lnTo>
                <a:lnTo>
                  <a:pt x="1586865" y="694253"/>
                </a:lnTo>
                <a:lnTo>
                  <a:pt x="1190149" y="0"/>
                </a:lnTo>
                <a:close/>
              </a:path>
            </a:pathLst>
          </a:custGeom>
          <a:solidFill>
            <a:schemeClr val="dk2"/>
          </a:solidFill>
          <a:ln>
            <a:noFill/>
          </a:ln>
        </p:spPr>
        <p:txBody>
          <a:bodyPr spcFirstLastPara="1" wrap="square" lIns="91433" tIns="45700" rIns="91433" bIns="45700"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cxnSp>
        <p:nvCxnSpPr>
          <p:cNvPr id="2074" name="Google Shape;2074;p59"/>
          <p:cNvCxnSpPr/>
          <p:nvPr/>
        </p:nvCxnSpPr>
        <p:spPr>
          <a:xfrm>
            <a:off x="3277984" y="1408067"/>
            <a:ext cx="0" cy="4675200"/>
          </a:xfrm>
          <a:prstGeom prst="straightConnector1">
            <a:avLst/>
          </a:prstGeom>
          <a:noFill/>
          <a:ln w="9525" cap="flat" cmpd="sng">
            <a:solidFill>
              <a:schemeClr val="dk2"/>
            </a:solidFill>
            <a:prstDash val="dot"/>
            <a:round/>
            <a:headEnd type="none" w="med" len="med"/>
            <a:tailEnd type="none" w="med" len="med"/>
          </a:ln>
        </p:spPr>
      </p:cxnSp>
      <p:cxnSp>
        <p:nvCxnSpPr>
          <p:cNvPr id="2075" name="Google Shape;2075;p59"/>
          <p:cNvCxnSpPr/>
          <p:nvPr/>
        </p:nvCxnSpPr>
        <p:spPr>
          <a:xfrm>
            <a:off x="8926700" y="1408067"/>
            <a:ext cx="0" cy="4675200"/>
          </a:xfrm>
          <a:prstGeom prst="straightConnector1">
            <a:avLst/>
          </a:prstGeom>
          <a:noFill/>
          <a:ln w="9525" cap="flat" cmpd="sng">
            <a:solidFill>
              <a:schemeClr val="dk2"/>
            </a:solidFill>
            <a:prstDash val="dot"/>
            <a:round/>
            <a:headEnd type="none" w="med" len="med"/>
            <a:tailEnd type="none" w="med" len="med"/>
          </a:ln>
        </p:spPr>
      </p:cxnSp>
      <p:cxnSp>
        <p:nvCxnSpPr>
          <p:cNvPr id="2076" name="Google Shape;2076;p59"/>
          <p:cNvCxnSpPr/>
          <p:nvPr/>
        </p:nvCxnSpPr>
        <p:spPr>
          <a:xfrm>
            <a:off x="6098591" y="4356100"/>
            <a:ext cx="0" cy="1727200"/>
          </a:xfrm>
          <a:prstGeom prst="straightConnector1">
            <a:avLst/>
          </a:prstGeom>
          <a:noFill/>
          <a:ln w="9525" cap="flat" cmpd="sng">
            <a:solidFill>
              <a:schemeClr val="dk2"/>
            </a:solidFill>
            <a:prstDash val="dot"/>
            <a:round/>
            <a:headEnd type="none" w="med" len="med"/>
            <a:tailEnd type="none" w="med" len="med"/>
          </a:ln>
        </p:spPr>
      </p:cxnSp>
      <p:cxnSp>
        <p:nvCxnSpPr>
          <p:cNvPr id="2077" name="Google Shape;2077;p59"/>
          <p:cNvCxnSpPr/>
          <p:nvPr/>
        </p:nvCxnSpPr>
        <p:spPr>
          <a:xfrm>
            <a:off x="6098591" y="1408067"/>
            <a:ext cx="0" cy="1868400"/>
          </a:xfrm>
          <a:prstGeom prst="straightConnector1">
            <a:avLst/>
          </a:prstGeom>
          <a:noFill/>
          <a:ln w="9525" cap="flat" cmpd="sng">
            <a:solidFill>
              <a:schemeClr val="dk2"/>
            </a:solidFill>
            <a:prstDash val="dot"/>
            <a:round/>
            <a:headEnd type="none" w="med" len="med"/>
            <a:tailEnd type="none" w="med" len="med"/>
          </a:ln>
        </p:spPr>
      </p:cxnSp>
      <p:grpSp>
        <p:nvGrpSpPr>
          <p:cNvPr id="2078" name="Google Shape;2078;p59"/>
          <p:cNvGrpSpPr/>
          <p:nvPr/>
        </p:nvGrpSpPr>
        <p:grpSpPr>
          <a:xfrm>
            <a:off x="5950674" y="3541179"/>
            <a:ext cx="333959" cy="524792"/>
            <a:chOff x="1045680" y="4644845"/>
            <a:chExt cx="680252" cy="1068968"/>
          </a:xfrm>
        </p:grpSpPr>
        <p:sp>
          <p:nvSpPr>
            <p:cNvPr id="2079" name="Google Shape;2079;p59"/>
            <p:cNvSpPr/>
            <p:nvPr/>
          </p:nvSpPr>
          <p:spPr>
            <a:xfrm>
              <a:off x="1045680" y="4644845"/>
              <a:ext cx="680252" cy="680252"/>
            </a:xfrm>
            <a:custGeom>
              <a:avLst/>
              <a:gdLst/>
              <a:ahLst/>
              <a:cxnLst/>
              <a:rect l="l" t="t" r="r" b="b"/>
              <a:pathLst>
                <a:path w="680252" h="680252" extrusionOk="0">
                  <a:moveTo>
                    <a:pt x="340126" y="680253"/>
                  </a:moveTo>
                  <a:cubicBezTo>
                    <a:pt x="527973" y="680253"/>
                    <a:pt x="680253" y="527973"/>
                    <a:pt x="680253" y="340126"/>
                  </a:cubicBezTo>
                  <a:cubicBezTo>
                    <a:pt x="680253" y="152279"/>
                    <a:pt x="527973" y="0"/>
                    <a:pt x="340126" y="0"/>
                  </a:cubicBezTo>
                  <a:cubicBezTo>
                    <a:pt x="152279" y="0"/>
                    <a:pt x="0" y="152279"/>
                    <a:pt x="0" y="340126"/>
                  </a:cubicBezTo>
                  <a:cubicBezTo>
                    <a:pt x="0" y="527973"/>
                    <a:pt x="152279" y="680253"/>
                    <a:pt x="340126" y="680253"/>
                  </a:cubicBezTo>
                  <a:close/>
                </a:path>
              </a:pathLst>
            </a:custGeom>
            <a:noFill/>
            <a:ln w="9525" cap="rnd" cmpd="sng">
              <a:solidFill>
                <a:schemeClr val="dk2"/>
              </a:solidFill>
              <a:prstDash val="solid"/>
              <a:round/>
              <a:headEnd type="none" w="sm" len="sm"/>
              <a:tailEnd type="none" w="sm" len="sm"/>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080" name="Google Shape;2080;p59"/>
            <p:cNvSpPr/>
            <p:nvPr/>
          </p:nvSpPr>
          <p:spPr>
            <a:xfrm>
              <a:off x="1142859" y="5270678"/>
              <a:ext cx="485894" cy="443135"/>
            </a:xfrm>
            <a:custGeom>
              <a:avLst/>
              <a:gdLst/>
              <a:ahLst/>
              <a:cxnLst/>
              <a:rect l="l" t="t" r="r" b="b"/>
              <a:pathLst>
                <a:path w="485894" h="443135" extrusionOk="0">
                  <a:moveTo>
                    <a:pt x="58793" y="486"/>
                  </a:moveTo>
                  <a:lnTo>
                    <a:pt x="0" y="443136"/>
                  </a:lnTo>
                  <a:lnTo>
                    <a:pt x="242947" y="297368"/>
                  </a:lnTo>
                  <a:lnTo>
                    <a:pt x="485895" y="443136"/>
                  </a:lnTo>
                  <a:lnTo>
                    <a:pt x="427101" y="0"/>
                  </a:lnTo>
                </a:path>
              </a:pathLst>
            </a:custGeom>
            <a:noFill/>
            <a:ln w="9525" cap="rnd" cmpd="sng">
              <a:solidFill>
                <a:schemeClr val="dk2"/>
              </a:solidFill>
              <a:prstDash val="solid"/>
              <a:round/>
              <a:headEnd type="none" w="sm" len="sm"/>
              <a:tailEnd type="none" w="sm" len="sm"/>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grpSp>
      <p:sp>
        <p:nvSpPr>
          <p:cNvPr id="2081" name="Google Shape;2081;p59"/>
          <p:cNvSpPr txBox="1">
            <a:spLocks noGrp="1"/>
          </p:cNvSpPr>
          <p:nvPr>
            <p:ph type="subTitle" idx="1"/>
          </p:nvPr>
        </p:nvSpPr>
        <p:spPr>
          <a:xfrm>
            <a:off x="481600" y="1383867"/>
            <a:ext cx="2766800" cy="470000"/>
          </a:xfrm>
          <a:prstGeom prst="rect">
            <a:avLst/>
          </a:prstGeom>
          <a:noFill/>
        </p:spPr>
        <p:txBody>
          <a:bodyPr spcFirstLastPara="1" wrap="square" lIns="0" tIns="34275" rIns="68575" bIns="34275" anchor="t" anchorCtr="0">
            <a:noAutofit/>
          </a:bodyPr>
          <a:lstStyle>
            <a:lvl1pPr lvl="0" algn="ctr" rtl="0">
              <a:spcBef>
                <a:spcPts val="1067"/>
              </a:spcBef>
              <a:spcAft>
                <a:spcPts val="0"/>
              </a:spcAft>
              <a:buClr>
                <a:schemeClr val="dk1"/>
              </a:buClr>
              <a:buSzPts val="700"/>
              <a:buFont typeface="Inter Medium"/>
              <a:buNone/>
              <a:defRPr sz="1867">
                <a:solidFill>
                  <a:schemeClr val="dk1"/>
                </a:solidFill>
                <a:highlight>
                  <a:schemeClr val="accent4"/>
                </a:highlight>
                <a:latin typeface="Inter Medium"/>
                <a:ea typeface="Inter Medium"/>
                <a:cs typeface="Inter Medium"/>
                <a:sym typeface="Inter Medium"/>
              </a:defRPr>
            </a:lvl1pPr>
            <a:lvl2pPr lvl="1" algn="ctr" rtl="0">
              <a:spcBef>
                <a:spcPts val="533"/>
              </a:spcBef>
              <a:spcAft>
                <a:spcPts val="0"/>
              </a:spcAft>
              <a:buClr>
                <a:schemeClr val="dk1"/>
              </a:buClr>
              <a:buSzPts val="1200"/>
              <a:buNone/>
              <a:defRPr>
                <a:solidFill>
                  <a:schemeClr val="dk1"/>
                </a:solidFill>
                <a:highlight>
                  <a:schemeClr val="accent4"/>
                </a:highlight>
              </a:defRPr>
            </a:lvl2pPr>
            <a:lvl3pPr lvl="2" algn="ctr" rtl="0">
              <a:spcBef>
                <a:spcPts val="533"/>
              </a:spcBef>
              <a:spcAft>
                <a:spcPts val="0"/>
              </a:spcAft>
              <a:buClr>
                <a:schemeClr val="dk1"/>
              </a:buClr>
              <a:buSzPts val="1200"/>
              <a:buNone/>
              <a:defRPr>
                <a:solidFill>
                  <a:schemeClr val="dk1"/>
                </a:solidFill>
                <a:highlight>
                  <a:schemeClr val="accent4"/>
                </a:highlight>
              </a:defRPr>
            </a:lvl3pPr>
            <a:lvl4pPr lvl="3" algn="ctr" rtl="0">
              <a:spcBef>
                <a:spcPts val="533"/>
              </a:spcBef>
              <a:spcAft>
                <a:spcPts val="0"/>
              </a:spcAft>
              <a:buClr>
                <a:schemeClr val="dk1"/>
              </a:buClr>
              <a:buSzPts val="1200"/>
              <a:buNone/>
              <a:defRPr>
                <a:solidFill>
                  <a:schemeClr val="dk1"/>
                </a:solidFill>
                <a:highlight>
                  <a:schemeClr val="accent4"/>
                </a:highlight>
              </a:defRPr>
            </a:lvl4pPr>
            <a:lvl5pPr lvl="4" algn="ctr" rtl="0">
              <a:spcBef>
                <a:spcPts val="533"/>
              </a:spcBef>
              <a:spcAft>
                <a:spcPts val="0"/>
              </a:spcAft>
              <a:buClr>
                <a:schemeClr val="dk1"/>
              </a:buClr>
              <a:buSzPts val="1200"/>
              <a:buNone/>
              <a:defRPr>
                <a:solidFill>
                  <a:schemeClr val="dk1"/>
                </a:solidFill>
                <a:highlight>
                  <a:schemeClr val="accent4"/>
                </a:highlight>
              </a:defRPr>
            </a:lvl5pPr>
            <a:lvl6pPr lvl="5" algn="ctr" rtl="0">
              <a:spcBef>
                <a:spcPts val="533"/>
              </a:spcBef>
              <a:spcAft>
                <a:spcPts val="0"/>
              </a:spcAft>
              <a:buClr>
                <a:schemeClr val="dk1"/>
              </a:buClr>
              <a:buSzPts val="1200"/>
              <a:buNone/>
              <a:defRPr>
                <a:solidFill>
                  <a:schemeClr val="dk1"/>
                </a:solidFill>
                <a:highlight>
                  <a:schemeClr val="accent4"/>
                </a:highlight>
              </a:defRPr>
            </a:lvl6pPr>
            <a:lvl7pPr lvl="6" algn="ctr" rtl="0">
              <a:spcBef>
                <a:spcPts val="533"/>
              </a:spcBef>
              <a:spcAft>
                <a:spcPts val="0"/>
              </a:spcAft>
              <a:buClr>
                <a:schemeClr val="dk1"/>
              </a:buClr>
              <a:buSzPts val="1200"/>
              <a:buNone/>
              <a:defRPr>
                <a:solidFill>
                  <a:schemeClr val="dk1"/>
                </a:solidFill>
                <a:highlight>
                  <a:schemeClr val="accent4"/>
                </a:highlight>
              </a:defRPr>
            </a:lvl7pPr>
            <a:lvl8pPr lvl="7" algn="ctr" rtl="0">
              <a:spcBef>
                <a:spcPts val="533"/>
              </a:spcBef>
              <a:spcAft>
                <a:spcPts val="0"/>
              </a:spcAft>
              <a:buClr>
                <a:schemeClr val="dk1"/>
              </a:buClr>
              <a:buSzPts val="1200"/>
              <a:buNone/>
              <a:defRPr>
                <a:solidFill>
                  <a:schemeClr val="dk1"/>
                </a:solidFill>
                <a:highlight>
                  <a:schemeClr val="accent4"/>
                </a:highlight>
              </a:defRPr>
            </a:lvl8pPr>
            <a:lvl9pPr lvl="8" algn="ctr" rtl="0">
              <a:spcBef>
                <a:spcPts val="533"/>
              </a:spcBef>
              <a:spcAft>
                <a:spcPts val="0"/>
              </a:spcAft>
              <a:buClr>
                <a:schemeClr val="dk1"/>
              </a:buClr>
              <a:buSzPts val="1200"/>
              <a:buNone/>
              <a:defRPr>
                <a:solidFill>
                  <a:schemeClr val="dk1"/>
                </a:solidFill>
                <a:highlight>
                  <a:schemeClr val="accent4"/>
                </a:highlight>
              </a:defRPr>
            </a:lvl9pPr>
          </a:lstStyle>
          <a:p>
            <a:endParaRPr/>
          </a:p>
        </p:txBody>
      </p:sp>
      <p:sp>
        <p:nvSpPr>
          <p:cNvPr id="2082" name="Google Shape;2082;p59"/>
          <p:cNvSpPr txBox="1">
            <a:spLocks noGrp="1"/>
          </p:cNvSpPr>
          <p:nvPr>
            <p:ph type="subTitle" idx="13"/>
          </p:nvPr>
        </p:nvSpPr>
        <p:spPr>
          <a:xfrm>
            <a:off x="3328633" y="1383867"/>
            <a:ext cx="2766800" cy="470000"/>
          </a:xfrm>
          <a:prstGeom prst="rect">
            <a:avLst/>
          </a:prstGeom>
          <a:noFill/>
        </p:spPr>
        <p:txBody>
          <a:bodyPr spcFirstLastPara="1" wrap="square" lIns="0" tIns="34275" rIns="68575" bIns="34275" anchor="t" anchorCtr="0">
            <a:noAutofit/>
          </a:bodyPr>
          <a:lstStyle>
            <a:lvl1pPr lvl="0" algn="ctr" rtl="0">
              <a:spcBef>
                <a:spcPts val="1067"/>
              </a:spcBef>
              <a:spcAft>
                <a:spcPts val="0"/>
              </a:spcAft>
              <a:buClr>
                <a:schemeClr val="dk1"/>
              </a:buClr>
              <a:buSzPts val="700"/>
              <a:buFont typeface="Inter Medium"/>
              <a:buNone/>
              <a:defRPr sz="1867">
                <a:solidFill>
                  <a:schemeClr val="dk1"/>
                </a:solidFill>
                <a:highlight>
                  <a:schemeClr val="accent4"/>
                </a:highlight>
                <a:latin typeface="Inter Medium"/>
                <a:ea typeface="Inter Medium"/>
                <a:cs typeface="Inter Medium"/>
                <a:sym typeface="Inter Medium"/>
              </a:defRPr>
            </a:lvl1pPr>
            <a:lvl2pPr lvl="1" algn="ctr" rtl="0">
              <a:spcBef>
                <a:spcPts val="533"/>
              </a:spcBef>
              <a:spcAft>
                <a:spcPts val="0"/>
              </a:spcAft>
              <a:buClr>
                <a:schemeClr val="dk1"/>
              </a:buClr>
              <a:buSzPts val="1200"/>
              <a:buNone/>
              <a:defRPr>
                <a:solidFill>
                  <a:schemeClr val="dk1"/>
                </a:solidFill>
                <a:highlight>
                  <a:schemeClr val="accent4"/>
                </a:highlight>
              </a:defRPr>
            </a:lvl2pPr>
            <a:lvl3pPr lvl="2" algn="ctr" rtl="0">
              <a:spcBef>
                <a:spcPts val="533"/>
              </a:spcBef>
              <a:spcAft>
                <a:spcPts val="0"/>
              </a:spcAft>
              <a:buClr>
                <a:schemeClr val="dk1"/>
              </a:buClr>
              <a:buSzPts val="1200"/>
              <a:buNone/>
              <a:defRPr>
                <a:solidFill>
                  <a:schemeClr val="dk1"/>
                </a:solidFill>
                <a:highlight>
                  <a:schemeClr val="accent4"/>
                </a:highlight>
              </a:defRPr>
            </a:lvl3pPr>
            <a:lvl4pPr lvl="3" algn="ctr" rtl="0">
              <a:spcBef>
                <a:spcPts val="533"/>
              </a:spcBef>
              <a:spcAft>
                <a:spcPts val="0"/>
              </a:spcAft>
              <a:buClr>
                <a:schemeClr val="dk1"/>
              </a:buClr>
              <a:buSzPts val="1200"/>
              <a:buNone/>
              <a:defRPr>
                <a:solidFill>
                  <a:schemeClr val="dk1"/>
                </a:solidFill>
                <a:highlight>
                  <a:schemeClr val="accent4"/>
                </a:highlight>
              </a:defRPr>
            </a:lvl4pPr>
            <a:lvl5pPr lvl="4" algn="ctr" rtl="0">
              <a:spcBef>
                <a:spcPts val="533"/>
              </a:spcBef>
              <a:spcAft>
                <a:spcPts val="0"/>
              </a:spcAft>
              <a:buClr>
                <a:schemeClr val="dk1"/>
              </a:buClr>
              <a:buSzPts val="1200"/>
              <a:buNone/>
              <a:defRPr>
                <a:solidFill>
                  <a:schemeClr val="dk1"/>
                </a:solidFill>
                <a:highlight>
                  <a:schemeClr val="accent4"/>
                </a:highlight>
              </a:defRPr>
            </a:lvl5pPr>
            <a:lvl6pPr lvl="5" algn="ctr" rtl="0">
              <a:spcBef>
                <a:spcPts val="533"/>
              </a:spcBef>
              <a:spcAft>
                <a:spcPts val="0"/>
              </a:spcAft>
              <a:buClr>
                <a:schemeClr val="dk1"/>
              </a:buClr>
              <a:buSzPts val="1200"/>
              <a:buNone/>
              <a:defRPr>
                <a:solidFill>
                  <a:schemeClr val="dk1"/>
                </a:solidFill>
                <a:highlight>
                  <a:schemeClr val="accent4"/>
                </a:highlight>
              </a:defRPr>
            </a:lvl6pPr>
            <a:lvl7pPr lvl="6" algn="ctr" rtl="0">
              <a:spcBef>
                <a:spcPts val="533"/>
              </a:spcBef>
              <a:spcAft>
                <a:spcPts val="0"/>
              </a:spcAft>
              <a:buClr>
                <a:schemeClr val="dk1"/>
              </a:buClr>
              <a:buSzPts val="1200"/>
              <a:buNone/>
              <a:defRPr>
                <a:solidFill>
                  <a:schemeClr val="dk1"/>
                </a:solidFill>
                <a:highlight>
                  <a:schemeClr val="accent4"/>
                </a:highlight>
              </a:defRPr>
            </a:lvl7pPr>
            <a:lvl8pPr lvl="7" algn="ctr" rtl="0">
              <a:spcBef>
                <a:spcPts val="533"/>
              </a:spcBef>
              <a:spcAft>
                <a:spcPts val="0"/>
              </a:spcAft>
              <a:buClr>
                <a:schemeClr val="dk1"/>
              </a:buClr>
              <a:buSzPts val="1200"/>
              <a:buNone/>
              <a:defRPr>
                <a:solidFill>
                  <a:schemeClr val="dk1"/>
                </a:solidFill>
                <a:highlight>
                  <a:schemeClr val="accent4"/>
                </a:highlight>
              </a:defRPr>
            </a:lvl8pPr>
            <a:lvl9pPr lvl="8" algn="ctr" rtl="0">
              <a:spcBef>
                <a:spcPts val="533"/>
              </a:spcBef>
              <a:spcAft>
                <a:spcPts val="0"/>
              </a:spcAft>
              <a:buClr>
                <a:schemeClr val="dk1"/>
              </a:buClr>
              <a:buSzPts val="1200"/>
              <a:buNone/>
              <a:defRPr>
                <a:solidFill>
                  <a:schemeClr val="dk1"/>
                </a:solidFill>
                <a:highlight>
                  <a:schemeClr val="accent4"/>
                </a:highlight>
              </a:defRPr>
            </a:lvl9pPr>
          </a:lstStyle>
          <a:p>
            <a:endParaRPr/>
          </a:p>
        </p:txBody>
      </p:sp>
      <p:sp>
        <p:nvSpPr>
          <p:cNvPr id="2083" name="Google Shape;2083;p59"/>
          <p:cNvSpPr txBox="1">
            <a:spLocks noGrp="1"/>
          </p:cNvSpPr>
          <p:nvPr>
            <p:ph type="subTitle" idx="14"/>
          </p:nvPr>
        </p:nvSpPr>
        <p:spPr>
          <a:xfrm>
            <a:off x="6127667" y="1383867"/>
            <a:ext cx="2766800" cy="470000"/>
          </a:xfrm>
          <a:prstGeom prst="rect">
            <a:avLst/>
          </a:prstGeom>
          <a:noFill/>
        </p:spPr>
        <p:txBody>
          <a:bodyPr spcFirstLastPara="1" wrap="square" lIns="0" tIns="34275" rIns="68575" bIns="34275" anchor="t" anchorCtr="0">
            <a:noAutofit/>
          </a:bodyPr>
          <a:lstStyle>
            <a:lvl1pPr lvl="0" algn="ctr" rtl="0">
              <a:spcBef>
                <a:spcPts val="1067"/>
              </a:spcBef>
              <a:spcAft>
                <a:spcPts val="0"/>
              </a:spcAft>
              <a:buClr>
                <a:schemeClr val="dk1"/>
              </a:buClr>
              <a:buSzPts val="700"/>
              <a:buFont typeface="Inter Medium"/>
              <a:buNone/>
              <a:defRPr sz="1867">
                <a:solidFill>
                  <a:schemeClr val="dk1"/>
                </a:solidFill>
                <a:highlight>
                  <a:schemeClr val="accent4"/>
                </a:highlight>
                <a:latin typeface="Inter Medium"/>
                <a:ea typeface="Inter Medium"/>
                <a:cs typeface="Inter Medium"/>
                <a:sym typeface="Inter Medium"/>
              </a:defRPr>
            </a:lvl1pPr>
            <a:lvl2pPr lvl="1" algn="ctr" rtl="0">
              <a:spcBef>
                <a:spcPts val="533"/>
              </a:spcBef>
              <a:spcAft>
                <a:spcPts val="0"/>
              </a:spcAft>
              <a:buClr>
                <a:schemeClr val="dk1"/>
              </a:buClr>
              <a:buSzPts val="1200"/>
              <a:buNone/>
              <a:defRPr>
                <a:solidFill>
                  <a:schemeClr val="dk1"/>
                </a:solidFill>
                <a:highlight>
                  <a:schemeClr val="accent4"/>
                </a:highlight>
              </a:defRPr>
            </a:lvl2pPr>
            <a:lvl3pPr lvl="2" algn="ctr" rtl="0">
              <a:spcBef>
                <a:spcPts val="533"/>
              </a:spcBef>
              <a:spcAft>
                <a:spcPts val="0"/>
              </a:spcAft>
              <a:buClr>
                <a:schemeClr val="dk1"/>
              </a:buClr>
              <a:buSzPts val="1200"/>
              <a:buNone/>
              <a:defRPr>
                <a:solidFill>
                  <a:schemeClr val="dk1"/>
                </a:solidFill>
                <a:highlight>
                  <a:schemeClr val="accent4"/>
                </a:highlight>
              </a:defRPr>
            </a:lvl3pPr>
            <a:lvl4pPr lvl="3" algn="ctr" rtl="0">
              <a:spcBef>
                <a:spcPts val="533"/>
              </a:spcBef>
              <a:spcAft>
                <a:spcPts val="0"/>
              </a:spcAft>
              <a:buClr>
                <a:schemeClr val="dk1"/>
              </a:buClr>
              <a:buSzPts val="1200"/>
              <a:buNone/>
              <a:defRPr>
                <a:solidFill>
                  <a:schemeClr val="dk1"/>
                </a:solidFill>
                <a:highlight>
                  <a:schemeClr val="accent4"/>
                </a:highlight>
              </a:defRPr>
            </a:lvl4pPr>
            <a:lvl5pPr lvl="4" algn="ctr" rtl="0">
              <a:spcBef>
                <a:spcPts val="533"/>
              </a:spcBef>
              <a:spcAft>
                <a:spcPts val="0"/>
              </a:spcAft>
              <a:buClr>
                <a:schemeClr val="dk1"/>
              </a:buClr>
              <a:buSzPts val="1200"/>
              <a:buNone/>
              <a:defRPr>
                <a:solidFill>
                  <a:schemeClr val="dk1"/>
                </a:solidFill>
                <a:highlight>
                  <a:schemeClr val="accent4"/>
                </a:highlight>
              </a:defRPr>
            </a:lvl5pPr>
            <a:lvl6pPr lvl="5" algn="ctr" rtl="0">
              <a:spcBef>
                <a:spcPts val="533"/>
              </a:spcBef>
              <a:spcAft>
                <a:spcPts val="0"/>
              </a:spcAft>
              <a:buClr>
                <a:schemeClr val="dk1"/>
              </a:buClr>
              <a:buSzPts val="1200"/>
              <a:buNone/>
              <a:defRPr>
                <a:solidFill>
                  <a:schemeClr val="dk1"/>
                </a:solidFill>
                <a:highlight>
                  <a:schemeClr val="accent4"/>
                </a:highlight>
              </a:defRPr>
            </a:lvl6pPr>
            <a:lvl7pPr lvl="6" algn="ctr" rtl="0">
              <a:spcBef>
                <a:spcPts val="533"/>
              </a:spcBef>
              <a:spcAft>
                <a:spcPts val="0"/>
              </a:spcAft>
              <a:buClr>
                <a:schemeClr val="dk1"/>
              </a:buClr>
              <a:buSzPts val="1200"/>
              <a:buNone/>
              <a:defRPr>
                <a:solidFill>
                  <a:schemeClr val="dk1"/>
                </a:solidFill>
                <a:highlight>
                  <a:schemeClr val="accent4"/>
                </a:highlight>
              </a:defRPr>
            </a:lvl7pPr>
            <a:lvl8pPr lvl="7" algn="ctr" rtl="0">
              <a:spcBef>
                <a:spcPts val="533"/>
              </a:spcBef>
              <a:spcAft>
                <a:spcPts val="0"/>
              </a:spcAft>
              <a:buClr>
                <a:schemeClr val="dk1"/>
              </a:buClr>
              <a:buSzPts val="1200"/>
              <a:buNone/>
              <a:defRPr>
                <a:solidFill>
                  <a:schemeClr val="dk1"/>
                </a:solidFill>
                <a:highlight>
                  <a:schemeClr val="accent4"/>
                </a:highlight>
              </a:defRPr>
            </a:lvl8pPr>
            <a:lvl9pPr lvl="8" algn="ctr" rtl="0">
              <a:spcBef>
                <a:spcPts val="533"/>
              </a:spcBef>
              <a:spcAft>
                <a:spcPts val="0"/>
              </a:spcAft>
              <a:buClr>
                <a:schemeClr val="dk1"/>
              </a:buClr>
              <a:buSzPts val="1200"/>
              <a:buNone/>
              <a:defRPr>
                <a:solidFill>
                  <a:schemeClr val="dk1"/>
                </a:solidFill>
                <a:highlight>
                  <a:schemeClr val="accent4"/>
                </a:highlight>
              </a:defRPr>
            </a:lvl9pPr>
          </a:lstStyle>
          <a:p>
            <a:endParaRPr/>
          </a:p>
        </p:txBody>
      </p:sp>
      <p:sp>
        <p:nvSpPr>
          <p:cNvPr id="2084" name="Google Shape;2084;p59"/>
          <p:cNvSpPr txBox="1">
            <a:spLocks noGrp="1"/>
          </p:cNvSpPr>
          <p:nvPr>
            <p:ph type="subTitle" idx="15"/>
          </p:nvPr>
        </p:nvSpPr>
        <p:spPr>
          <a:xfrm>
            <a:off x="8957833" y="1383867"/>
            <a:ext cx="2766800" cy="470000"/>
          </a:xfrm>
          <a:prstGeom prst="rect">
            <a:avLst/>
          </a:prstGeom>
          <a:noFill/>
        </p:spPr>
        <p:txBody>
          <a:bodyPr spcFirstLastPara="1" wrap="square" lIns="0" tIns="34275" rIns="68575" bIns="34275" anchor="t" anchorCtr="0">
            <a:noAutofit/>
          </a:bodyPr>
          <a:lstStyle>
            <a:lvl1pPr lvl="0" algn="ctr" rtl="0">
              <a:spcBef>
                <a:spcPts val="1067"/>
              </a:spcBef>
              <a:spcAft>
                <a:spcPts val="0"/>
              </a:spcAft>
              <a:buClr>
                <a:schemeClr val="dk1"/>
              </a:buClr>
              <a:buSzPts val="700"/>
              <a:buFont typeface="Inter Medium"/>
              <a:buNone/>
              <a:defRPr sz="1867">
                <a:solidFill>
                  <a:schemeClr val="dk1"/>
                </a:solidFill>
                <a:highlight>
                  <a:schemeClr val="accent4"/>
                </a:highlight>
                <a:latin typeface="Inter Medium"/>
                <a:ea typeface="Inter Medium"/>
                <a:cs typeface="Inter Medium"/>
                <a:sym typeface="Inter Medium"/>
              </a:defRPr>
            </a:lvl1pPr>
            <a:lvl2pPr lvl="1" algn="ctr" rtl="0">
              <a:spcBef>
                <a:spcPts val="533"/>
              </a:spcBef>
              <a:spcAft>
                <a:spcPts val="0"/>
              </a:spcAft>
              <a:buClr>
                <a:schemeClr val="dk1"/>
              </a:buClr>
              <a:buSzPts val="1200"/>
              <a:buNone/>
              <a:defRPr>
                <a:solidFill>
                  <a:schemeClr val="dk1"/>
                </a:solidFill>
                <a:highlight>
                  <a:schemeClr val="accent4"/>
                </a:highlight>
              </a:defRPr>
            </a:lvl2pPr>
            <a:lvl3pPr lvl="2" algn="ctr" rtl="0">
              <a:spcBef>
                <a:spcPts val="533"/>
              </a:spcBef>
              <a:spcAft>
                <a:spcPts val="0"/>
              </a:spcAft>
              <a:buClr>
                <a:schemeClr val="dk1"/>
              </a:buClr>
              <a:buSzPts val="1200"/>
              <a:buNone/>
              <a:defRPr>
                <a:solidFill>
                  <a:schemeClr val="dk1"/>
                </a:solidFill>
                <a:highlight>
                  <a:schemeClr val="accent4"/>
                </a:highlight>
              </a:defRPr>
            </a:lvl3pPr>
            <a:lvl4pPr lvl="3" algn="ctr" rtl="0">
              <a:spcBef>
                <a:spcPts val="533"/>
              </a:spcBef>
              <a:spcAft>
                <a:spcPts val="0"/>
              </a:spcAft>
              <a:buClr>
                <a:schemeClr val="dk1"/>
              </a:buClr>
              <a:buSzPts val="1200"/>
              <a:buNone/>
              <a:defRPr>
                <a:solidFill>
                  <a:schemeClr val="dk1"/>
                </a:solidFill>
                <a:highlight>
                  <a:schemeClr val="accent4"/>
                </a:highlight>
              </a:defRPr>
            </a:lvl4pPr>
            <a:lvl5pPr lvl="4" algn="ctr" rtl="0">
              <a:spcBef>
                <a:spcPts val="533"/>
              </a:spcBef>
              <a:spcAft>
                <a:spcPts val="0"/>
              </a:spcAft>
              <a:buClr>
                <a:schemeClr val="dk1"/>
              </a:buClr>
              <a:buSzPts val="1200"/>
              <a:buNone/>
              <a:defRPr>
                <a:solidFill>
                  <a:schemeClr val="dk1"/>
                </a:solidFill>
                <a:highlight>
                  <a:schemeClr val="accent4"/>
                </a:highlight>
              </a:defRPr>
            </a:lvl5pPr>
            <a:lvl6pPr lvl="5" algn="ctr" rtl="0">
              <a:spcBef>
                <a:spcPts val="533"/>
              </a:spcBef>
              <a:spcAft>
                <a:spcPts val="0"/>
              </a:spcAft>
              <a:buClr>
                <a:schemeClr val="dk1"/>
              </a:buClr>
              <a:buSzPts val="1200"/>
              <a:buNone/>
              <a:defRPr>
                <a:solidFill>
                  <a:schemeClr val="dk1"/>
                </a:solidFill>
                <a:highlight>
                  <a:schemeClr val="accent4"/>
                </a:highlight>
              </a:defRPr>
            </a:lvl6pPr>
            <a:lvl7pPr lvl="6" algn="ctr" rtl="0">
              <a:spcBef>
                <a:spcPts val="533"/>
              </a:spcBef>
              <a:spcAft>
                <a:spcPts val="0"/>
              </a:spcAft>
              <a:buClr>
                <a:schemeClr val="dk1"/>
              </a:buClr>
              <a:buSzPts val="1200"/>
              <a:buNone/>
              <a:defRPr>
                <a:solidFill>
                  <a:schemeClr val="dk1"/>
                </a:solidFill>
                <a:highlight>
                  <a:schemeClr val="accent4"/>
                </a:highlight>
              </a:defRPr>
            </a:lvl7pPr>
            <a:lvl8pPr lvl="7" algn="ctr" rtl="0">
              <a:spcBef>
                <a:spcPts val="533"/>
              </a:spcBef>
              <a:spcAft>
                <a:spcPts val="0"/>
              </a:spcAft>
              <a:buClr>
                <a:schemeClr val="dk1"/>
              </a:buClr>
              <a:buSzPts val="1200"/>
              <a:buNone/>
              <a:defRPr>
                <a:solidFill>
                  <a:schemeClr val="dk1"/>
                </a:solidFill>
                <a:highlight>
                  <a:schemeClr val="accent4"/>
                </a:highlight>
              </a:defRPr>
            </a:lvl8pPr>
            <a:lvl9pPr lvl="8" algn="ctr" rtl="0">
              <a:spcBef>
                <a:spcPts val="533"/>
              </a:spcBef>
              <a:spcAft>
                <a:spcPts val="0"/>
              </a:spcAft>
              <a:buClr>
                <a:schemeClr val="dk1"/>
              </a:buClr>
              <a:buSzPts val="1200"/>
              <a:buNone/>
              <a:defRPr>
                <a:solidFill>
                  <a:schemeClr val="dk1"/>
                </a:solidFill>
                <a:highlight>
                  <a:schemeClr val="accent4"/>
                </a:highlight>
              </a:defRPr>
            </a:lvl9pPr>
          </a:lstStyle>
          <a:p>
            <a:endParaRPr/>
          </a:p>
        </p:txBody>
      </p:sp>
      <p:sp>
        <p:nvSpPr>
          <p:cNvPr id="2085" name="Google Shape;2085;p59"/>
          <p:cNvSpPr txBox="1">
            <a:spLocks noGrp="1"/>
          </p:cNvSpPr>
          <p:nvPr>
            <p:ph type="subTitle" idx="16"/>
          </p:nvPr>
        </p:nvSpPr>
        <p:spPr>
          <a:xfrm>
            <a:off x="1159967" y="3417075"/>
            <a:ext cx="2046400" cy="470000"/>
          </a:xfrm>
          <a:prstGeom prst="rect">
            <a:avLst/>
          </a:prstGeom>
          <a:noFill/>
        </p:spPr>
        <p:txBody>
          <a:bodyPr spcFirstLastPara="1" wrap="square" lIns="0" tIns="34275" rIns="68575" bIns="34275" anchor="t" anchorCtr="0">
            <a:noAutofit/>
          </a:bodyPr>
          <a:lstStyle>
            <a:lvl1pPr lvl="0" rtl="0">
              <a:lnSpc>
                <a:spcPct val="100000"/>
              </a:lnSpc>
              <a:spcBef>
                <a:spcPts val="0"/>
              </a:spcBef>
              <a:spcAft>
                <a:spcPts val="0"/>
              </a:spcAft>
              <a:buClr>
                <a:schemeClr val="dk1"/>
              </a:buClr>
              <a:buSzPts val="900"/>
              <a:buFont typeface="Inter"/>
              <a:buNone/>
              <a:defRPr sz="1200" b="1">
                <a:solidFill>
                  <a:schemeClr val="dk1"/>
                </a:solidFill>
              </a:defRPr>
            </a:lvl1pPr>
            <a:lvl2pPr lvl="1" rtl="0">
              <a:lnSpc>
                <a:spcPct val="100000"/>
              </a:lnSpc>
              <a:spcBef>
                <a:spcPts val="0"/>
              </a:spcBef>
              <a:spcAft>
                <a:spcPts val="0"/>
              </a:spcAft>
              <a:buClr>
                <a:schemeClr val="dk1"/>
              </a:buClr>
              <a:buSzPts val="900"/>
              <a:buFont typeface="Inter"/>
              <a:buNone/>
              <a:defRPr sz="1200" b="1">
                <a:solidFill>
                  <a:schemeClr val="dk1"/>
                </a:solidFill>
              </a:defRPr>
            </a:lvl2pPr>
            <a:lvl3pPr lvl="2" rtl="0">
              <a:lnSpc>
                <a:spcPct val="100000"/>
              </a:lnSpc>
              <a:spcBef>
                <a:spcPts val="0"/>
              </a:spcBef>
              <a:spcAft>
                <a:spcPts val="0"/>
              </a:spcAft>
              <a:buClr>
                <a:schemeClr val="dk1"/>
              </a:buClr>
              <a:buSzPts val="900"/>
              <a:buFont typeface="Inter"/>
              <a:buNone/>
              <a:defRPr sz="1200" b="1">
                <a:solidFill>
                  <a:schemeClr val="dk1"/>
                </a:solidFill>
              </a:defRPr>
            </a:lvl3pPr>
            <a:lvl4pPr lvl="3" rtl="0">
              <a:lnSpc>
                <a:spcPct val="100000"/>
              </a:lnSpc>
              <a:spcBef>
                <a:spcPts val="0"/>
              </a:spcBef>
              <a:spcAft>
                <a:spcPts val="0"/>
              </a:spcAft>
              <a:buClr>
                <a:schemeClr val="dk1"/>
              </a:buClr>
              <a:buSzPts val="900"/>
              <a:buFont typeface="Inter"/>
              <a:buNone/>
              <a:defRPr sz="1200" b="1">
                <a:solidFill>
                  <a:schemeClr val="dk1"/>
                </a:solidFill>
              </a:defRPr>
            </a:lvl4pPr>
            <a:lvl5pPr lvl="4" rtl="0">
              <a:lnSpc>
                <a:spcPct val="100000"/>
              </a:lnSpc>
              <a:spcBef>
                <a:spcPts val="0"/>
              </a:spcBef>
              <a:spcAft>
                <a:spcPts val="0"/>
              </a:spcAft>
              <a:buClr>
                <a:schemeClr val="dk1"/>
              </a:buClr>
              <a:buSzPts val="900"/>
              <a:buFont typeface="Inter"/>
              <a:buNone/>
              <a:defRPr sz="1200" b="1">
                <a:solidFill>
                  <a:schemeClr val="dk1"/>
                </a:solidFill>
              </a:defRPr>
            </a:lvl5pPr>
            <a:lvl6pPr lvl="5" rtl="0">
              <a:lnSpc>
                <a:spcPct val="100000"/>
              </a:lnSpc>
              <a:spcBef>
                <a:spcPts val="0"/>
              </a:spcBef>
              <a:spcAft>
                <a:spcPts val="0"/>
              </a:spcAft>
              <a:buClr>
                <a:schemeClr val="dk1"/>
              </a:buClr>
              <a:buSzPts val="900"/>
              <a:buFont typeface="Inter"/>
              <a:buNone/>
              <a:defRPr sz="1200" b="1">
                <a:solidFill>
                  <a:schemeClr val="dk1"/>
                </a:solidFill>
                <a:latin typeface="Inter"/>
                <a:ea typeface="Inter"/>
                <a:cs typeface="Inter"/>
                <a:sym typeface="Inter"/>
              </a:defRPr>
            </a:lvl6pPr>
            <a:lvl7pPr lvl="6" rtl="0">
              <a:lnSpc>
                <a:spcPct val="100000"/>
              </a:lnSpc>
              <a:spcBef>
                <a:spcPts val="0"/>
              </a:spcBef>
              <a:spcAft>
                <a:spcPts val="0"/>
              </a:spcAft>
              <a:buClr>
                <a:schemeClr val="dk1"/>
              </a:buClr>
              <a:buSzPts val="900"/>
              <a:buFont typeface="Inter"/>
              <a:buNone/>
              <a:defRPr sz="1200" b="1">
                <a:solidFill>
                  <a:schemeClr val="dk1"/>
                </a:solidFill>
                <a:latin typeface="Inter"/>
                <a:ea typeface="Inter"/>
                <a:cs typeface="Inter"/>
                <a:sym typeface="Inter"/>
              </a:defRPr>
            </a:lvl7pPr>
            <a:lvl8pPr lvl="7" rtl="0">
              <a:lnSpc>
                <a:spcPct val="100000"/>
              </a:lnSpc>
              <a:spcBef>
                <a:spcPts val="0"/>
              </a:spcBef>
              <a:spcAft>
                <a:spcPts val="0"/>
              </a:spcAft>
              <a:buClr>
                <a:schemeClr val="dk1"/>
              </a:buClr>
              <a:buSzPts val="900"/>
              <a:buFont typeface="Inter"/>
              <a:buNone/>
              <a:defRPr sz="1200" b="1">
                <a:solidFill>
                  <a:schemeClr val="dk1"/>
                </a:solidFill>
                <a:latin typeface="Inter"/>
                <a:ea typeface="Inter"/>
                <a:cs typeface="Inter"/>
                <a:sym typeface="Inter"/>
              </a:defRPr>
            </a:lvl8pPr>
            <a:lvl9pPr lvl="8" rtl="0">
              <a:lnSpc>
                <a:spcPct val="100000"/>
              </a:lnSpc>
              <a:spcBef>
                <a:spcPts val="0"/>
              </a:spcBef>
              <a:spcAft>
                <a:spcPts val="0"/>
              </a:spcAft>
              <a:buClr>
                <a:schemeClr val="dk1"/>
              </a:buClr>
              <a:buSzPts val="900"/>
              <a:buFont typeface="Inter"/>
              <a:buNone/>
              <a:defRPr sz="1200" b="1">
                <a:solidFill>
                  <a:schemeClr val="dk1"/>
                </a:solidFill>
                <a:latin typeface="Inter"/>
                <a:ea typeface="Inter"/>
                <a:cs typeface="Inter"/>
                <a:sym typeface="Inter"/>
              </a:defRPr>
            </a:lvl9pPr>
          </a:lstStyle>
          <a:p>
            <a:endParaRPr/>
          </a:p>
        </p:txBody>
      </p:sp>
      <p:sp>
        <p:nvSpPr>
          <p:cNvPr id="2086" name="Google Shape;2086;p59"/>
          <p:cNvSpPr txBox="1">
            <a:spLocks noGrp="1"/>
          </p:cNvSpPr>
          <p:nvPr>
            <p:ph type="subTitle" idx="17"/>
          </p:nvPr>
        </p:nvSpPr>
        <p:spPr>
          <a:xfrm>
            <a:off x="3970600" y="3417075"/>
            <a:ext cx="2046400" cy="470000"/>
          </a:xfrm>
          <a:prstGeom prst="rect">
            <a:avLst/>
          </a:prstGeom>
          <a:noFill/>
        </p:spPr>
        <p:txBody>
          <a:bodyPr spcFirstLastPara="1" wrap="square" lIns="0" tIns="34275" rIns="68575" bIns="34275" anchor="t" anchorCtr="0">
            <a:noAutofit/>
          </a:bodyPr>
          <a:lstStyle>
            <a:lvl1pPr lvl="0" rtl="0">
              <a:lnSpc>
                <a:spcPct val="100000"/>
              </a:lnSpc>
              <a:spcBef>
                <a:spcPts val="0"/>
              </a:spcBef>
              <a:spcAft>
                <a:spcPts val="0"/>
              </a:spcAft>
              <a:buClr>
                <a:schemeClr val="dk1"/>
              </a:buClr>
              <a:buSzPts val="900"/>
              <a:buFont typeface="Inter"/>
              <a:buNone/>
              <a:defRPr sz="1200" b="1">
                <a:solidFill>
                  <a:schemeClr val="dk1"/>
                </a:solidFill>
              </a:defRPr>
            </a:lvl1pPr>
            <a:lvl2pPr lvl="1" rtl="0">
              <a:lnSpc>
                <a:spcPct val="100000"/>
              </a:lnSpc>
              <a:spcBef>
                <a:spcPts val="0"/>
              </a:spcBef>
              <a:spcAft>
                <a:spcPts val="0"/>
              </a:spcAft>
              <a:buClr>
                <a:schemeClr val="dk1"/>
              </a:buClr>
              <a:buSzPts val="900"/>
              <a:buFont typeface="Inter"/>
              <a:buNone/>
              <a:defRPr sz="1200" b="1">
                <a:solidFill>
                  <a:schemeClr val="dk1"/>
                </a:solidFill>
              </a:defRPr>
            </a:lvl2pPr>
            <a:lvl3pPr lvl="2" rtl="0">
              <a:lnSpc>
                <a:spcPct val="100000"/>
              </a:lnSpc>
              <a:spcBef>
                <a:spcPts val="0"/>
              </a:spcBef>
              <a:spcAft>
                <a:spcPts val="0"/>
              </a:spcAft>
              <a:buClr>
                <a:schemeClr val="dk1"/>
              </a:buClr>
              <a:buSzPts val="900"/>
              <a:buFont typeface="Inter"/>
              <a:buNone/>
              <a:defRPr sz="1200" b="1">
                <a:solidFill>
                  <a:schemeClr val="dk1"/>
                </a:solidFill>
              </a:defRPr>
            </a:lvl3pPr>
            <a:lvl4pPr lvl="3" rtl="0">
              <a:lnSpc>
                <a:spcPct val="100000"/>
              </a:lnSpc>
              <a:spcBef>
                <a:spcPts val="0"/>
              </a:spcBef>
              <a:spcAft>
                <a:spcPts val="0"/>
              </a:spcAft>
              <a:buClr>
                <a:schemeClr val="dk1"/>
              </a:buClr>
              <a:buSzPts val="900"/>
              <a:buFont typeface="Inter"/>
              <a:buNone/>
              <a:defRPr sz="1200" b="1">
                <a:solidFill>
                  <a:schemeClr val="dk1"/>
                </a:solidFill>
              </a:defRPr>
            </a:lvl4pPr>
            <a:lvl5pPr lvl="4" rtl="0">
              <a:lnSpc>
                <a:spcPct val="100000"/>
              </a:lnSpc>
              <a:spcBef>
                <a:spcPts val="0"/>
              </a:spcBef>
              <a:spcAft>
                <a:spcPts val="0"/>
              </a:spcAft>
              <a:buClr>
                <a:schemeClr val="dk1"/>
              </a:buClr>
              <a:buSzPts val="900"/>
              <a:buFont typeface="Inter"/>
              <a:buNone/>
              <a:defRPr sz="1200" b="1">
                <a:solidFill>
                  <a:schemeClr val="dk1"/>
                </a:solidFill>
              </a:defRPr>
            </a:lvl5pPr>
            <a:lvl6pPr lvl="5" rtl="0">
              <a:lnSpc>
                <a:spcPct val="100000"/>
              </a:lnSpc>
              <a:spcBef>
                <a:spcPts val="0"/>
              </a:spcBef>
              <a:spcAft>
                <a:spcPts val="0"/>
              </a:spcAft>
              <a:buClr>
                <a:schemeClr val="dk1"/>
              </a:buClr>
              <a:buSzPts val="900"/>
              <a:buFont typeface="Inter"/>
              <a:buNone/>
              <a:defRPr sz="1200" b="1">
                <a:solidFill>
                  <a:schemeClr val="dk1"/>
                </a:solidFill>
                <a:latin typeface="Inter"/>
                <a:ea typeface="Inter"/>
                <a:cs typeface="Inter"/>
                <a:sym typeface="Inter"/>
              </a:defRPr>
            </a:lvl6pPr>
            <a:lvl7pPr lvl="6" rtl="0">
              <a:lnSpc>
                <a:spcPct val="100000"/>
              </a:lnSpc>
              <a:spcBef>
                <a:spcPts val="0"/>
              </a:spcBef>
              <a:spcAft>
                <a:spcPts val="0"/>
              </a:spcAft>
              <a:buClr>
                <a:schemeClr val="dk1"/>
              </a:buClr>
              <a:buSzPts val="900"/>
              <a:buFont typeface="Inter"/>
              <a:buNone/>
              <a:defRPr sz="1200" b="1">
                <a:solidFill>
                  <a:schemeClr val="dk1"/>
                </a:solidFill>
                <a:latin typeface="Inter"/>
                <a:ea typeface="Inter"/>
                <a:cs typeface="Inter"/>
                <a:sym typeface="Inter"/>
              </a:defRPr>
            </a:lvl7pPr>
            <a:lvl8pPr lvl="7" rtl="0">
              <a:lnSpc>
                <a:spcPct val="100000"/>
              </a:lnSpc>
              <a:spcBef>
                <a:spcPts val="0"/>
              </a:spcBef>
              <a:spcAft>
                <a:spcPts val="0"/>
              </a:spcAft>
              <a:buClr>
                <a:schemeClr val="dk1"/>
              </a:buClr>
              <a:buSzPts val="900"/>
              <a:buFont typeface="Inter"/>
              <a:buNone/>
              <a:defRPr sz="1200" b="1">
                <a:solidFill>
                  <a:schemeClr val="dk1"/>
                </a:solidFill>
                <a:latin typeface="Inter"/>
                <a:ea typeface="Inter"/>
                <a:cs typeface="Inter"/>
                <a:sym typeface="Inter"/>
              </a:defRPr>
            </a:lvl8pPr>
            <a:lvl9pPr lvl="8" rtl="0">
              <a:lnSpc>
                <a:spcPct val="100000"/>
              </a:lnSpc>
              <a:spcBef>
                <a:spcPts val="0"/>
              </a:spcBef>
              <a:spcAft>
                <a:spcPts val="0"/>
              </a:spcAft>
              <a:buClr>
                <a:schemeClr val="dk1"/>
              </a:buClr>
              <a:buSzPts val="900"/>
              <a:buFont typeface="Inter"/>
              <a:buNone/>
              <a:defRPr sz="1200" b="1">
                <a:solidFill>
                  <a:schemeClr val="dk1"/>
                </a:solidFill>
                <a:latin typeface="Inter"/>
                <a:ea typeface="Inter"/>
                <a:cs typeface="Inter"/>
                <a:sym typeface="Inter"/>
              </a:defRPr>
            </a:lvl9pPr>
          </a:lstStyle>
          <a:p>
            <a:endParaRPr/>
          </a:p>
        </p:txBody>
      </p:sp>
      <p:sp>
        <p:nvSpPr>
          <p:cNvPr id="2087" name="Google Shape;2087;p59"/>
          <p:cNvSpPr txBox="1">
            <a:spLocks noGrp="1"/>
          </p:cNvSpPr>
          <p:nvPr>
            <p:ph type="subTitle" idx="18"/>
          </p:nvPr>
        </p:nvSpPr>
        <p:spPr>
          <a:xfrm>
            <a:off x="6843600" y="3417075"/>
            <a:ext cx="2046400" cy="470000"/>
          </a:xfrm>
          <a:prstGeom prst="rect">
            <a:avLst/>
          </a:prstGeom>
          <a:noFill/>
        </p:spPr>
        <p:txBody>
          <a:bodyPr spcFirstLastPara="1" wrap="square" lIns="0" tIns="34275" rIns="68575" bIns="34275" anchor="t" anchorCtr="0">
            <a:noAutofit/>
          </a:bodyPr>
          <a:lstStyle>
            <a:lvl1pPr lvl="0" rtl="0">
              <a:lnSpc>
                <a:spcPct val="100000"/>
              </a:lnSpc>
              <a:spcBef>
                <a:spcPts val="0"/>
              </a:spcBef>
              <a:spcAft>
                <a:spcPts val="0"/>
              </a:spcAft>
              <a:buClr>
                <a:schemeClr val="dk1"/>
              </a:buClr>
              <a:buSzPts val="900"/>
              <a:buFont typeface="Inter"/>
              <a:buNone/>
              <a:defRPr sz="1200" b="1">
                <a:solidFill>
                  <a:schemeClr val="dk1"/>
                </a:solidFill>
              </a:defRPr>
            </a:lvl1pPr>
            <a:lvl2pPr lvl="1" rtl="0">
              <a:lnSpc>
                <a:spcPct val="100000"/>
              </a:lnSpc>
              <a:spcBef>
                <a:spcPts val="0"/>
              </a:spcBef>
              <a:spcAft>
                <a:spcPts val="0"/>
              </a:spcAft>
              <a:buClr>
                <a:schemeClr val="dk1"/>
              </a:buClr>
              <a:buSzPts val="900"/>
              <a:buFont typeface="Inter"/>
              <a:buNone/>
              <a:defRPr sz="1200" b="1">
                <a:solidFill>
                  <a:schemeClr val="dk1"/>
                </a:solidFill>
              </a:defRPr>
            </a:lvl2pPr>
            <a:lvl3pPr lvl="2" rtl="0">
              <a:lnSpc>
                <a:spcPct val="100000"/>
              </a:lnSpc>
              <a:spcBef>
                <a:spcPts val="0"/>
              </a:spcBef>
              <a:spcAft>
                <a:spcPts val="0"/>
              </a:spcAft>
              <a:buClr>
                <a:schemeClr val="dk1"/>
              </a:buClr>
              <a:buSzPts val="900"/>
              <a:buFont typeface="Inter"/>
              <a:buNone/>
              <a:defRPr sz="1200" b="1">
                <a:solidFill>
                  <a:schemeClr val="dk1"/>
                </a:solidFill>
              </a:defRPr>
            </a:lvl3pPr>
            <a:lvl4pPr lvl="3" rtl="0">
              <a:lnSpc>
                <a:spcPct val="100000"/>
              </a:lnSpc>
              <a:spcBef>
                <a:spcPts val="0"/>
              </a:spcBef>
              <a:spcAft>
                <a:spcPts val="0"/>
              </a:spcAft>
              <a:buClr>
                <a:schemeClr val="dk1"/>
              </a:buClr>
              <a:buSzPts val="900"/>
              <a:buFont typeface="Inter"/>
              <a:buNone/>
              <a:defRPr sz="1200" b="1">
                <a:solidFill>
                  <a:schemeClr val="dk1"/>
                </a:solidFill>
              </a:defRPr>
            </a:lvl4pPr>
            <a:lvl5pPr lvl="4" rtl="0">
              <a:lnSpc>
                <a:spcPct val="100000"/>
              </a:lnSpc>
              <a:spcBef>
                <a:spcPts val="0"/>
              </a:spcBef>
              <a:spcAft>
                <a:spcPts val="0"/>
              </a:spcAft>
              <a:buClr>
                <a:schemeClr val="dk1"/>
              </a:buClr>
              <a:buSzPts val="900"/>
              <a:buFont typeface="Inter"/>
              <a:buNone/>
              <a:defRPr sz="1200" b="1">
                <a:solidFill>
                  <a:schemeClr val="dk1"/>
                </a:solidFill>
              </a:defRPr>
            </a:lvl5pPr>
            <a:lvl6pPr lvl="5" rtl="0">
              <a:lnSpc>
                <a:spcPct val="100000"/>
              </a:lnSpc>
              <a:spcBef>
                <a:spcPts val="0"/>
              </a:spcBef>
              <a:spcAft>
                <a:spcPts val="0"/>
              </a:spcAft>
              <a:buClr>
                <a:schemeClr val="dk1"/>
              </a:buClr>
              <a:buSzPts val="900"/>
              <a:buFont typeface="Inter"/>
              <a:buNone/>
              <a:defRPr sz="1200" b="1">
                <a:solidFill>
                  <a:schemeClr val="dk1"/>
                </a:solidFill>
                <a:latin typeface="Inter"/>
                <a:ea typeface="Inter"/>
                <a:cs typeface="Inter"/>
                <a:sym typeface="Inter"/>
              </a:defRPr>
            </a:lvl6pPr>
            <a:lvl7pPr lvl="6" rtl="0">
              <a:lnSpc>
                <a:spcPct val="100000"/>
              </a:lnSpc>
              <a:spcBef>
                <a:spcPts val="0"/>
              </a:spcBef>
              <a:spcAft>
                <a:spcPts val="0"/>
              </a:spcAft>
              <a:buClr>
                <a:schemeClr val="dk1"/>
              </a:buClr>
              <a:buSzPts val="900"/>
              <a:buFont typeface="Inter"/>
              <a:buNone/>
              <a:defRPr sz="1200" b="1">
                <a:solidFill>
                  <a:schemeClr val="dk1"/>
                </a:solidFill>
                <a:latin typeface="Inter"/>
                <a:ea typeface="Inter"/>
                <a:cs typeface="Inter"/>
                <a:sym typeface="Inter"/>
              </a:defRPr>
            </a:lvl7pPr>
            <a:lvl8pPr lvl="7" rtl="0">
              <a:lnSpc>
                <a:spcPct val="100000"/>
              </a:lnSpc>
              <a:spcBef>
                <a:spcPts val="0"/>
              </a:spcBef>
              <a:spcAft>
                <a:spcPts val="0"/>
              </a:spcAft>
              <a:buClr>
                <a:schemeClr val="dk1"/>
              </a:buClr>
              <a:buSzPts val="900"/>
              <a:buFont typeface="Inter"/>
              <a:buNone/>
              <a:defRPr sz="1200" b="1">
                <a:solidFill>
                  <a:schemeClr val="dk1"/>
                </a:solidFill>
                <a:latin typeface="Inter"/>
                <a:ea typeface="Inter"/>
                <a:cs typeface="Inter"/>
                <a:sym typeface="Inter"/>
              </a:defRPr>
            </a:lvl8pPr>
            <a:lvl9pPr lvl="8" rtl="0">
              <a:lnSpc>
                <a:spcPct val="100000"/>
              </a:lnSpc>
              <a:spcBef>
                <a:spcPts val="0"/>
              </a:spcBef>
              <a:spcAft>
                <a:spcPts val="0"/>
              </a:spcAft>
              <a:buClr>
                <a:schemeClr val="dk1"/>
              </a:buClr>
              <a:buSzPts val="900"/>
              <a:buFont typeface="Inter"/>
              <a:buNone/>
              <a:defRPr sz="1200" b="1">
                <a:solidFill>
                  <a:schemeClr val="dk1"/>
                </a:solidFill>
                <a:latin typeface="Inter"/>
                <a:ea typeface="Inter"/>
                <a:cs typeface="Inter"/>
                <a:sym typeface="Inter"/>
              </a:defRPr>
            </a:lvl9pPr>
          </a:lstStyle>
          <a:p>
            <a:endParaRPr/>
          </a:p>
        </p:txBody>
      </p:sp>
      <p:sp>
        <p:nvSpPr>
          <p:cNvPr id="2088" name="Google Shape;2088;p59"/>
          <p:cNvSpPr txBox="1">
            <a:spLocks noGrp="1"/>
          </p:cNvSpPr>
          <p:nvPr>
            <p:ph type="subTitle" idx="19"/>
          </p:nvPr>
        </p:nvSpPr>
        <p:spPr>
          <a:xfrm>
            <a:off x="9648867" y="3417075"/>
            <a:ext cx="2046400" cy="470000"/>
          </a:xfrm>
          <a:prstGeom prst="rect">
            <a:avLst/>
          </a:prstGeom>
          <a:noFill/>
        </p:spPr>
        <p:txBody>
          <a:bodyPr spcFirstLastPara="1" wrap="square" lIns="0" tIns="34275" rIns="68575" bIns="34275" anchor="t" anchorCtr="0">
            <a:noAutofit/>
          </a:bodyPr>
          <a:lstStyle>
            <a:lvl1pPr lvl="0" rtl="0">
              <a:lnSpc>
                <a:spcPct val="100000"/>
              </a:lnSpc>
              <a:spcBef>
                <a:spcPts val="0"/>
              </a:spcBef>
              <a:spcAft>
                <a:spcPts val="0"/>
              </a:spcAft>
              <a:buClr>
                <a:schemeClr val="dk1"/>
              </a:buClr>
              <a:buSzPts val="900"/>
              <a:buFont typeface="Inter"/>
              <a:buNone/>
              <a:defRPr sz="1200" b="1">
                <a:solidFill>
                  <a:schemeClr val="dk1"/>
                </a:solidFill>
              </a:defRPr>
            </a:lvl1pPr>
            <a:lvl2pPr lvl="1" rtl="0">
              <a:lnSpc>
                <a:spcPct val="100000"/>
              </a:lnSpc>
              <a:spcBef>
                <a:spcPts val="0"/>
              </a:spcBef>
              <a:spcAft>
                <a:spcPts val="0"/>
              </a:spcAft>
              <a:buClr>
                <a:schemeClr val="dk1"/>
              </a:buClr>
              <a:buSzPts val="900"/>
              <a:buFont typeface="Inter"/>
              <a:buNone/>
              <a:defRPr sz="1200" b="1">
                <a:solidFill>
                  <a:schemeClr val="dk1"/>
                </a:solidFill>
              </a:defRPr>
            </a:lvl2pPr>
            <a:lvl3pPr lvl="2" rtl="0">
              <a:lnSpc>
                <a:spcPct val="100000"/>
              </a:lnSpc>
              <a:spcBef>
                <a:spcPts val="0"/>
              </a:spcBef>
              <a:spcAft>
                <a:spcPts val="0"/>
              </a:spcAft>
              <a:buClr>
                <a:schemeClr val="dk1"/>
              </a:buClr>
              <a:buSzPts val="900"/>
              <a:buFont typeface="Inter"/>
              <a:buNone/>
              <a:defRPr sz="1200" b="1">
                <a:solidFill>
                  <a:schemeClr val="dk1"/>
                </a:solidFill>
              </a:defRPr>
            </a:lvl3pPr>
            <a:lvl4pPr lvl="3" rtl="0">
              <a:lnSpc>
                <a:spcPct val="100000"/>
              </a:lnSpc>
              <a:spcBef>
                <a:spcPts val="0"/>
              </a:spcBef>
              <a:spcAft>
                <a:spcPts val="0"/>
              </a:spcAft>
              <a:buClr>
                <a:schemeClr val="dk1"/>
              </a:buClr>
              <a:buSzPts val="900"/>
              <a:buFont typeface="Inter"/>
              <a:buNone/>
              <a:defRPr sz="1200" b="1">
                <a:solidFill>
                  <a:schemeClr val="dk1"/>
                </a:solidFill>
              </a:defRPr>
            </a:lvl4pPr>
            <a:lvl5pPr lvl="4" rtl="0">
              <a:lnSpc>
                <a:spcPct val="100000"/>
              </a:lnSpc>
              <a:spcBef>
                <a:spcPts val="0"/>
              </a:spcBef>
              <a:spcAft>
                <a:spcPts val="0"/>
              </a:spcAft>
              <a:buClr>
                <a:schemeClr val="dk1"/>
              </a:buClr>
              <a:buSzPts val="900"/>
              <a:buFont typeface="Inter"/>
              <a:buNone/>
              <a:defRPr sz="1200" b="1">
                <a:solidFill>
                  <a:schemeClr val="dk1"/>
                </a:solidFill>
              </a:defRPr>
            </a:lvl5pPr>
            <a:lvl6pPr lvl="5" rtl="0">
              <a:lnSpc>
                <a:spcPct val="100000"/>
              </a:lnSpc>
              <a:spcBef>
                <a:spcPts val="0"/>
              </a:spcBef>
              <a:spcAft>
                <a:spcPts val="0"/>
              </a:spcAft>
              <a:buClr>
                <a:schemeClr val="dk1"/>
              </a:buClr>
              <a:buSzPts val="900"/>
              <a:buFont typeface="Inter"/>
              <a:buNone/>
              <a:defRPr sz="1200" b="1">
                <a:solidFill>
                  <a:schemeClr val="dk1"/>
                </a:solidFill>
                <a:latin typeface="Inter"/>
                <a:ea typeface="Inter"/>
                <a:cs typeface="Inter"/>
                <a:sym typeface="Inter"/>
              </a:defRPr>
            </a:lvl6pPr>
            <a:lvl7pPr lvl="6" rtl="0">
              <a:lnSpc>
                <a:spcPct val="100000"/>
              </a:lnSpc>
              <a:spcBef>
                <a:spcPts val="0"/>
              </a:spcBef>
              <a:spcAft>
                <a:spcPts val="0"/>
              </a:spcAft>
              <a:buClr>
                <a:schemeClr val="dk1"/>
              </a:buClr>
              <a:buSzPts val="900"/>
              <a:buFont typeface="Inter"/>
              <a:buNone/>
              <a:defRPr sz="1200" b="1">
                <a:solidFill>
                  <a:schemeClr val="dk1"/>
                </a:solidFill>
                <a:latin typeface="Inter"/>
                <a:ea typeface="Inter"/>
                <a:cs typeface="Inter"/>
                <a:sym typeface="Inter"/>
              </a:defRPr>
            </a:lvl7pPr>
            <a:lvl8pPr lvl="7" rtl="0">
              <a:lnSpc>
                <a:spcPct val="100000"/>
              </a:lnSpc>
              <a:spcBef>
                <a:spcPts val="0"/>
              </a:spcBef>
              <a:spcAft>
                <a:spcPts val="0"/>
              </a:spcAft>
              <a:buClr>
                <a:schemeClr val="dk1"/>
              </a:buClr>
              <a:buSzPts val="900"/>
              <a:buFont typeface="Inter"/>
              <a:buNone/>
              <a:defRPr sz="1200" b="1">
                <a:solidFill>
                  <a:schemeClr val="dk1"/>
                </a:solidFill>
                <a:latin typeface="Inter"/>
                <a:ea typeface="Inter"/>
                <a:cs typeface="Inter"/>
                <a:sym typeface="Inter"/>
              </a:defRPr>
            </a:lvl8pPr>
            <a:lvl9pPr lvl="8" rtl="0">
              <a:lnSpc>
                <a:spcPct val="100000"/>
              </a:lnSpc>
              <a:spcBef>
                <a:spcPts val="0"/>
              </a:spcBef>
              <a:spcAft>
                <a:spcPts val="0"/>
              </a:spcAft>
              <a:buClr>
                <a:schemeClr val="dk1"/>
              </a:buClr>
              <a:buSzPts val="900"/>
              <a:buFont typeface="Inter"/>
              <a:buNone/>
              <a:defRPr sz="1200" b="1">
                <a:solidFill>
                  <a:schemeClr val="dk1"/>
                </a:solidFill>
                <a:latin typeface="Inter"/>
                <a:ea typeface="Inter"/>
                <a:cs typeface="Inter"/>
                <a:sym typeface="Inter"/>
              </a:defRPr>
            </a:lvl9pPr>
          </a:lstStyle>
          <a:p>
            <a:endParaRPr/>
          </a:p>
        </p:txBody>
      </p:sp>
      <p:sp>
        <p:nvSpPr>
          <p:cNvPr id="2089" name="Google Shape;2089;p59"/>
          <p:cNvSpPr txBox="1">
            <a:spLocks noGrp="1"/>
          </p:cNvSpPr>
          <p:nvPr>
            <p:ph type="subTitle" idx="20"/>
          </p:nvPr>
        </p:nvSpPr>
        <p:spPr>
          <a:xfrm>
            <a:off x="1159967" y="5642857"/>
            <a:ext cx="2046400" cy="470000"/>
          </a:xfrm>
          <a:prstGeom prst="rect">
            <a:avLst/>
          </a:prstGeom>
          <a:noFill/>
        </p:spPr>
        <p:txBody>
          <a:bodyPr spcFirstLastPara="1" wrap="square" lIns="0" tIns="34275" rIns="68575" bIns="34275" anchor="t" anchorCtr="0">
            <a:noAutofit/>
          </a:bodyPr>
          <a:lstStyle>
            <a:lvl1pPr lvl="0" rtl="0">
              <a:lnSpc>
                <a:spcPct val="100000"/>
              </a:lnSpc>
              <a:spcBef>
                <a:spcPts val="0"/>
              </a:spcBef>
              <a:spcAft>
                <a:spcPts val="0"/>
              </a:spcAft>
              <a:buClr>
                <a:schemeClr val="dk1"/>
              </a:buClr>
              <a:buSzPts val="900"/>
              <a:buFont typeface="Inter"/>
              <a:buNone/>
              <a:defRPr sz="1200" b="1">
                <a:solidFill>
                  <a:schemeClr val="dk1"/>
                </a:solidFill>
              </a:defRPr>
            </a:lvl1pPr>
            <a:lvl2pPr lvl="1" rtl="0">
              <a:lnSpc>
                <a:spcPct val="100000"/>
              </a:lnSpc>
              <a:spcBef>
                <a:spcPts val="0"/>
              </a:spcBef>
              <a:spcAft>
                <a:spcPts val="0"/>
              </a:spcAft>
              <a:buClr>
                <a:schemeClr val="dk1"/>
              </a:buClr>
              <a:buSzPts val="900"/>
              <a:buFont typeface="Inter"/>
              <a:buNone/>
              <a:defRPr sz="1200" b="1">
                <a:solidFill>
                  <a:schemeClr val="dk1"/>
                </a:solidFill>
              </a:defRPr>
            </a:lvl2pPr>
            <a:lvl3pPr lvl="2" rtl="0">
              <a:lnSpc>
                <a:spcPct val="100000"/>
              </a:lnSpc>
              <a:spcBef>
                <a:spcPts val="0"/>
              </a:spcBef>
              <a:spcAft>
                <a:spcPts val="0"/>
              </a:spcAft>
              <a:buClr>
                <a:schemeClr val="dk1"/>
              </a:buClr>
              <a:buSzPts val="900"/>
              <a:buFont typeface="Inter"/>
              <a:buNone/>
              <a:defRPr sz="1200" b="1">
                <a:solidFill>
                  <a:schemeClr val="dk1"/>
                </a:solidFill>
              </a:defRPr>
            </a:lvl3pPr>
            <a:lvl4pPr lvl="3" rtl="0">
              <a:lnSpc>
                <a:spcPct val="100000"/>
              </a:lnSpc>
              <a:spcBef>
                <a:spcPts val="0"/>
              </a:spcBef>
              <a:spcAft>
                <a:spcPts val="0"/>
              </a:spcAft>
              <a:buClr>
                <a:schemeClr val="dk1"/>
              </a:buClr>
              <a:buSzPts val="900"/>
              <a:buFont typeface="Inter"/>
              <a:buNone/>
              <a:defRPr sz="1200" b="1">
                <a:solidFill>
                  <a:schemeClr val="dk1"/>
                </a:solidFill>
              </a:defRPr>
            </a:lvl4pPr>
            <a:lvl5pPr lvl="4" rtl="0">
              <a:lnSpc>
                <a:spcPct val="100000"/>
              </a:lnSpc>
              <a:spcBef>
                <a:spcPts val="0"/>
              </a:spcBef>
              <a:spcAft>
                <a:spcPts val="0"/>
              </a:spcAft>
              <a:buClr>
                <a:schemeClr val="dk1"/>
              </a:buClr>
              <a:buSzPts val="900"/>
              <a:buFont typeface="Inter"/>
              <a:buNone/>
              <a:defRPr sz="1200" b="1">
                <a:solidFill>
                  <a:schemeClr val="dk1"/>
                </a:solidFill>
              </a:defRPr>
            </a:lvl5pPr>
            <a:lvl6pPr lvl="5" rtl="0">
              <a:lnSpc>
                <a:spcPct val="100000"/>
              </a:lnSpc>
              <a:spcBef>
                <a:spcPts val="0"/>
              </a:spcBef>
              <a:spcAft>
                <a:spcPts val="0"/>
              </a:spcAft>
              <a:buClr>
                <a:schemeClr val="dk1"/>
              </a:buClr>
              <a:buSzPts val="900"/>
              <a:buFont typeface="Inter"/>
              <a:buNone/>
              <a:defRPr sz="1200" b="1">
                <a:solidFill>
                  <a:schemeClr val="dk1"/>
                </a:solidFill>
                <a:latin typeface="Inter"/>
                <a:ea typeface="Inter"/>
                <a:cs typeface="Inter"/>
                <a:sym typeface="Inter"/>
              </a:defRPr>
            </a:lvl6pPr>
            <a:lvl7pPr lvl="6" rtl="0">
              <a:lnSpc>
                <a:spcPct val="100000"/>
              </a:lnSpc>
              <a:spcBef>
                <a:spcPts val="0"/>
              </a:spcBef>
              <a:spcAft>
                <a:spcPts val="0"/>
              </a:spcAft>
              <a:buClr>
                <a:schemeClr val="dk1"/>
              </a:buClr>
              <a:buSzPts val="900"/>
              <a:buFont typeface="Inter"/>
              <a:buNone/>
              <a:defRPr sz="1200" b="1">
                <a:solidFill>
                  <a:schemeClr val="dk1"/>
                </a:solidFill>
                <a:latin typeface="Inter"/>
                <a:ea typeface="Inter"/>
                <a:cs typeface="Inter"/>
                <a:sym typeface="Inter"/>
              </a:defRPr>
            </a:lvl7pPr>
            <a:lvl8pPr lvl="7" rtl="0">
              <a:lnSpc>
                <a:spcPct val="100000"/>
              </a:lnSpc>
              <a:spcBef>
                <a:spcPts val="0"/>
              </a:spcBef>
              <a:spcAft>
                <a:spcPts val="0"/>
              </a:spcAft>
              <a:buClr>
                <a:schemeClr val="dk1"/>
              </a:buClr>
              <a:buSzPts val="900"/>
              <a:buFont typeface="Inter"/>
              <a:buNone/>
              <a:defRPr sz="1200" b="1">
                <a:solidFill>
                  <a:schemeClr val="dk1"/>
                </a:solidFill>
                <a:latin typeface="Inter"/>
                <a:ea typeface="Inter"/>
                <a:cs typeface="Inter"/>
                <a:sym typeface="Inter"/>
              </a:defRPr>
            </a:lvl8pPr>
            <a:lvl9pPr lvl="8" rtl="0">
              <a:lnSpc>
                <a:spcPct val="100000"/>
              </a:lnSpc>
              <a:spcBef>
                <a:spcPts val="0"/>
              </a:spcBef>
              <a:spcAft>
                <a:spcPts val="0"/>
              </a:spcAft>
              <a:buClr>
                <a:schemeClr val="dk1"/>
              </a:buClr>
              <a:buSzPts val="900"/>
              <a:buFont typeface="Inter"/>
              <a:buNone/>
              <a:defRPr sz="1200" b="1">
                <a:solidFill>
                  <a:schemeClr val="dk1"/>
                </a:solidFill>
                <a:latin typeface="Inter"/>
                <a:ea typeface="Inter"/>
                <a:cs typeface="Inter"/>
                <a:sym typeface="Inter"/>
              </a:defRPr>
            </a:lvl9pPr>
          </a:lstStyle>
          <a:p>
            <a:endParaRPr/>
          </a:p>
        </p:txBody>
      </p:sp>
      <p:sp>
        <p:nvSpPr>
          <p:cNvPr id="2090" name="Google Shape;2090;p59"/>
          <p:cNvSpPr txBox="1">
            <a:spLocks noGrp="1"/>
          </p:cNvSpPr>
          <p:nvPr>
            <p:ph type="subTitle" idx="21"/>
          </p:nvPr>
        </p:nvSpPr>
        <p:spPr>
          <a:xfrm>
            <a:off x="3970600" y="5642857"/>
            <a:ext cx="2046400" cy="470000"/>
          </a:xfrm>
          <a:prstGeom prst="rect">
            <a:avLst/>
          </a:prstGeom>
          <a:noFill/>
        </p:spPr>
        <p:txBody>
          <a:bodyPr spcFirstLastPara="1" wrap="square" lIns="0" tIns="34275" rIns="68575" bIns="34275" anchor="t" anchorCtr="0">
            <a:noAutofit/>
          </a:bodyPr>
          <a:lstStyle>
            <a:lvl1pPr lvl="0" rtl="0">
              <a:lnSpc>
                <a:spcPct val="100000"/>
              </a:lnSpc>
              <a:spcBef>
                <a:spcPts val="0"/>
              </a:spcBef>
              <a:spcAft>
                <a:spcPts val="0"/>
              </a:spcAft>
              <a:buClr>
                <a:schemeClr val="dk1"/>
              </a:buClr>
              <a:buSzPts val="900"/>
              <a:buFont typeface="Inter"/>
              <a:buNone/>
              <a:defRPr sz="1200" b="1">
                <a:solidFill>
                  <a:schemeClr val="dk1"/>
                </a:solidFill>
              </a:defRPr>
            </a:lvl1pPr>
            <a:lvl2pPr lvl="1" rtl="0">
              <a:lnSpc>
                <a:spcPct val="100000"/>
              </a:lnSpc>
              <a:spcBef>
                <a:spcPts val="0"/>
              </a:spcBef>
              <a:spcAft>
                <a:spcPts val="0"/>
              </a:spcAft>
              <a:buClr>
                <a:schemeClr val="dk1"/>
              </a:buClr>
              <a:buSzPts val="900"/>
              <a:buFont typeface="Inter"/>
              <a:buNone/>
              <a:defRPr sz="1200" b="1">
                <a:solidFill>
                  <a:schemeClr val="dk1"/>
                </a:solidFill>
              </a:defRPr>
            </a:lvl2pPr>
            <a:lvl3pPr lvl="2" rtl="0">
              <a:lnSpc>
                <a:spcPct val="100000"/>
              </a:lnSpc>
              <a:spcBef>
                <a:spcPts val="0"/>
              </a:spcBef>
              <a:spcAft>
                <a:spcPts val="0"/>
              </a:spcAft>
              <a:buClr>
                <a:schemeClr val="dk1"/>
              </a:buClr>
              <a:buSzPts val="900"/>
              <a:buFont typeface="Inter"/>
              <a:buNone/>
              <a:defRPr sz="1200" b="1">
                <a:solidFill>
                  <a:schemeClr val="dk1"/>
                </a:solidFill>
              </a:defRPr>
            </a:lvl3pPr>
            <a:lvl4pPr lvl="3" rtl="0">
              <a:lnSpc>
                <a:spcPct val="100000"/>
              </a:lnSpc>
              <a:spcBef>
                <a:spcPts val="0"/>
              </a:spcBef>
              <a:spcAft>
                <a:spcPts val="0"/>
              </a:spcAft>
              <a:buClr>
                <a:schemeClr val="dk1"/>
              </a:buClr>
              <a:buSzPts val="900"/>
              <a:buFont typeface="Inter"/>
              <a:buNone/>
              <a:defRPr sz="1200" b="1">
                <a:solidFill>
                  <a:schemeClr val="dk1"/>
                </a:solidFill>
              </a:defRPr>
            </a:lvl4pPr>
            <a:lvl5pPr lvl="4" rtl="0">
              <a:lnSpc>
                <a:spcPct val="100000"/>
              </a:lnSpc>
              <a:spcBef>
                <a:spcPts val="0"/>
              </a:spcBef>
              <a:spcAft>
                <a:spcPts val="0"/>
              </a:spcAft>
              <a:buClr>
                <a:schemeClr val="dk1"/>
              </a:buClr>
              <a:buSzPts val="900"/>
              <a:buFont typeface="Inter"/>
              <a:buNone/>
              <a:defRPr sz="1200" b="1">
                <a:solidFill>
                  <a:schemeClr val="dk1"/>
                </a:solidFill>
              </a:defRPr>
            </a:lvl5pPr>
            <a:lvl6pPr lvl="5" rtl="0">
              <a:lnSpc>
                <a:spcPct val="100000"/>
              </a:lnSpc>
              <a:spcBef>
                <a:spcPts val="0"/>
              </a:spcBef>
              <a:spcAft>
                <a:spcPts val="0"/>
              </a:spcAft>
              <a:buClr>
                <a:schemeClr val="dk1"/>
              </a:buClr>
              <a:buSzPts val="900"/>
              <a:buFont typeface="Inter"/>
              <a:buNone/>
              <a:defRPr sz="1200" b="1">
                <a:solidFill>
                  <a:schemeClr val="dk1"/>
                </a:solidFill>
                <a:latin typeface="Inter"/>
                <a:ea typeface="Inter"/>
                <a:cs typeface="Inter"/>
                <a:sym typeface="Inter"/>
              </a:defRPr>
            </a:lvl6pPr>
            <a:lvl7pPr lvl="6" rtl="0">
              <a:lnSpc>
                <a:spcPct val="100000"/>
              </a:lnSpc>
              <a:spcBef>
                <a:spcPts val="0"/>
              </a:spcBef>
              <a:spcAft>
                <a:spcPts val="0"/>
              </a:spcAft>
              <a:buClr>
                <a:schemeClr val="dk1"/>
              </a:buClr>
              <a:buSzPts val="900"/>
              <a:buFont typeface="Inter"/>
              <a:buNone/>
              <a:defRPr sz="1200" b="1">
                <a:solidFill>
                  <a:schemeClr val="dk1"/>
                </a:solidFill>
                <a:latin typeface="Inter"/>
                <a:ea typeface="Inter"/>
                <a:cs typeface="Inter"/>
                <a:sym typeface="Inter"/>
              </a:defRPr>
            </a:lvl7pPr>
            <a:lvl8pPr lvl="7" rtl="0">
              <a:lnSpc>
                <a:spcPct val="100000"/>
              </a:lnSpc>
              <a:spcBef>
                <a:spcPts val="0"/>
              </a:spcBef>
              <a:spcAft>
                <a:spcPts val="0"/>
              </a:spcAft>
              <a:buClr>
                <a:schemeClr val="dk1"/>
              </a:buClr>
              <a:buSzPts val="900"/>
              <a:buFont typeface="Inter"/>
              <a:buNone/>
              <a:defRPr sz="1200" b="1">
                <a:solidFill>
                  <a:schemeClr val="dk1"/>
                </a:solidFill>
                <a:latin typeface="Inter"/>
                <a:ea typeface="Inter"/>
                <a:cs typeface="Inter"/>
                <a:sym typeface="Inter"/>
              </a:defRPr>
            </a:lvl8pPr>
            <a:lvl9pPr lvl="8" rtl="0">
              <a:lnSpc>
                <a:spcPct val="100000"/>
              </a:lnSpc>
              <a:spcBef>
                <a:spcPts val="0"/>
              </a:spcBef>
              <a:spcAft>
                <a:spcPts val="0"/>
              </a:spcAft>
              <a:buClr>
                <a:schemeClr val="dk1"/>
              </a:buClr>
              <a:buSzPts val="900"/>
              <a:buFont typeface="Inter"/>
              <a:buNone/>
              <a:defRPr sz="1200" b="1">
                <a:solidFill>
                  <a:schemeClr val="dk1"/>
                </a:solidFill>
                <a:latin typeface="Inter"/>
                <a:ea typeface="Inter"/>
                <a:cs typeface="Inter"/>
                <a:sym typeface="Inter"/>
              </a:defRPr>
            </a:lvl9pPr>
          </a:lstStyle>
          <a:p>
            <a:endParaRPr/>
          </a:p>
        </p:txBody>
      </p:sp>
      <p:sp>
        <p:nvSpPr>
          <p:cNvPr id="2091" name="Google Shape;2091;p59"/>
          <p:cNvSpPr txBox="1">
            <a:spLocks noGrp="1"/>
          </p:cNvSpPr>
          <p:nvPr>
            <p:ph type="subTitle" idx="22"/>
          </p:nvPr>
        </p:nvSpPr>
        <p:spPr>
          <a:xfrm>
            <a:off x="6843600" y="5642857"/>
            <a:ext cx="2046400" cy="470000"/>
          </a:xfrm>
          <a:prstGeom prst="rect">
            <a:avLst/>
          </a:prstGeom>
          <a:noFill/>
        </p:spPr>
        <p:txBody>
          <a:bodyPr spcFirstLastPara="1" wrap="square" lIns="0" tIns="34275" rIns="68575" bIns="34275" anchor="t" anchorCtr="0">
            <a:noAutofit/>
          </a:bodyPr>
          <a:lstStyle>
            <a:lvl1pPr lvl="0" rtl="0">
              <a:lnSpc>
                <a:spcPct val="100000"/>
              </a:lnSpc>
              <a:spcBef>
                <a:spcPts val="0"/>
              </a:spcBef>
              <a:spcAft>
                <a:spcPts val="0"/>
              </a:spcAft>
              <a:buClr>
                <a:schemeClr val="dk1"/>
              </a:buClr>
              <a:buSzPts val="900"/>
              <a:buFont typeface="Inter"/>
              <a:buNone/>
              <a:defRPr sz="1200" b="1">
                <a:solidFill>
                  <a:schemeClr val="dk1"/>
                </a:solidFill>
              </a:defRPr>
            </a:lvl1pPr>
            <a:lvl2pPr lvl="1" rtl="0">
              <a:lnSpc>
                <a:spcPct val="100000"/>
              </a:lnSpc>
              <a:spcBef>
                <a:spcPts val="0"/>
              </a:spcBef>
              <a:spcAft>
                <a:spcPts val="0"/>
              </a:spcAft>
              <a:buClr>
                <a:schemeClr val="dk1"/>
              </a:buClr>
              <a:buSzPts val="900"/>
              <a:buFont typeface="Inter"/>
              <a:buNone/>
              <a:defRPr sz="1200" b="1">
                <a:solidFill>
                  <a:schemeClr val="dk1"/>
                </a:solidFill>
              </a:defRPr>
            </a:lvl2pPr>
            <a:lvl3pPr lvl="2" rtl="0">
              <a:lnSpc>
                <a:spcPct val="100000"/>
              </a:lnSpc>
              <a:spcBef>
                <a:spcPts val="0"/>
              </a:spcBef>
              <a:spcAft>
                <a:spcPts val="0"/>
              </a:spcAft>
              <a:buClr>
                <a:schemeClr val="dk1"/>
              </a:buClr>
              <a:buSzPts val="900"/>
              <a:buFont typeface="Inter"/>
              <a:buNone/>
              <a:defRPr sz="1200" b="1">
                <a:solidFill>
                  <a:schemeClr val="dk1"/>
                </a:solidFill>
              </a:defRPr>
            </a:lvl3pPr>
            <a:lvl4pPr lvl="3" rtl="0">
              <a:lnSpc>
                <a:spcPct val="100000"/>
              </a:lnSpc>
              <a:spcBef>
                <a:spcPts val="0"/>
              </a:spcBef>
              <a:spcAft>
                <a:spcPts val="0"/>
              </a:spcAft>
              <a:buClr>
                <a:schemeClr val="dk1"/>
              </a:buClr>
              <a:buSzPts val="900"/>
              <a:buFont typeface="Inter"/>
              <a:buNone/>
              <a:defRPr sz="1200" b="1">
                <a:solidFill>
                  <a:schemeClr val="dk1"/>
                </a:solidFill>
              </a:defRPr>
            </a:lvl4pPr>
            <a:lvl5pPr lvl="4" rtl="0">
              <a:lnSpc>
                <a:spcPct val="100000"/>
              </a:lnSpc>
              <a:spcBef>
                <a:spcPts val="0"/>
              </a:spcBef>
              <a:spcAft>
                <a:spcPts val="0"/>
              </a:spcAft>
              <a:buClr>
                <a:schemeClr val="dk1"/>
              </a:buClr>
              <a:buSzPts val="900"/>
              <a:buFont typeface="Inter"/>
              <a:buNone/>
              <a:defRPr sz="1200" b="1">
                <a:solidFill>
                  <a:schemeClr val="dk1"/>
                </a:solidFill>
              </a:defRPr>
            </a:lvl5pPr>
            <a:lvl6pPr lvl="5" rtl="0">
              <a:lnSpc>
                <a:spcPct val="100000"/>
              </a:lnSpc>
              <a:spcBef>
                <a:spcPts val="0"/>
              </a:spcBef>
              <a:spcAft>
                <a:spcPts val="0"/>
              </a:spcAft>
              <a:buClr>
                <a:schemeClr val="dk1"/>
              </a:buClr>
              <a:buSzPts val="900"/>
              <a:buFont typeface="Inter"/>
              <a:buNone/>
              <a:defRPr sz="1200" b="1">
                <a:solidFill>
                  <a:schemeClr val="dk1"/>
                </a:solidFill>
                <a:latin typeface="Inter"/>
                <a:ea typeface="Inter"/>
                <a:cs typeface="Inter"/>
                <a:sym typeface="Inter"/>
              </a:defRPr>
            </a:lvl6pPr>
            <a:lvl7pPr lvl="6" rtl="0">
              <a:lnSpc>
                <a:spcPct val="100000"/>
              </a:lnSpc>
              <a:spcBef>
                <a:spcPts val="0"/>
              </a:spcBef>
              <a:spcAft>
                <a:spcPts val="0"/>
              </a:spcAft>
              <a:buClr>
                <a:schemeClr val="dk1"/>
              </a:buClr>
              <a:buSzPts val="900"/>
              <a:buFont typeface="Inter"/>
              <a:buNone/>
              <a:defRPr sz="1200" b="1">
                <a:solidFill>
                  <a:schemeClr val="dk1"/>
                </a:solidFill>
                <a:latin typeface="Inter"/>
                <a:ea typeface="Inter"/>
                <a:cs typeface="Inter"/>
                <a:sym typeface="Inter"/>
              </a:defRPr>
            </a:lvl7pPr>
            <a:lvl8pPr lvl="7" rtl="0">
              <a:lnSpc>
                <a:spcPct val="100000"/>
              </a:lnSpc>
              <a:spcBef>
                <a:spcPts val="0"/>
              </a:spcBef>
              <a:spcAft>
                <a:spcPts val="0"/>
              </a:spcAft>
              <a:buClr>
                <a:schemeClr val="dk1"/>
              </a:buClr>
              <a:buSzPts val="900"/>
              <a:buFont typeface="Inter"/>
              <a:buNone/>
              <a:defRPr sz="1200" b="1">
                <a:solidFill>
                  <a:schemeClr val="dk1"/>
                </a:solidFill>
                <a:latin typeface="Inter"/>
                <a:ea typeface="Inter"/>
                <a:cs typeface="Inter"/>
                <a:sym typeface="Inter"/>
              </a:defRPr>
            </a:lvl8pPr>
            <a:lvl9pPr lvl="8" rtl="0">
              <a:lnSpc>
                <a:spcPct val="100000"/>
              </a:lnSpc>
              <a:spcBef>
                <a:spcPts val="0"/>
              </a:spcBef>
              <a:spcAft>
                <a:spcPts val="0"/>
              </a:spcAft>
              <a:buClr>
                <a:schemeClr val="dk1"/>
              </a:buClr>
              <a:buSzPts val="900"/>
              <a:buFont typeface="Inter"/>
              <a:buNone/>
              <a:defRPr sz="1200" b="1">
                <a:solidFill>
                  <a:schemeClr val="dk1"/>
                </a:solidFill>
                <a:latin typeface="Inter"/>
                <a:ea typeface="Inter"/>
                <a:cs typeface="Inter"/>
                <a:sym typeface="Inter"/>
              </a:defRPr>
            </a:lvl9pPr>
          </a:lstStyle>
          <a:p>
            <a:endParaRPr/>
          </a:p>
        </p:txBody>
      </p:sp>
      <p:sp>
        <p:nvSpPr>
          <p:cNvPr id="2092" name="Google Shape;2092;p59"/>
          <p:cNvSpPr txBox="1">
            <a:spLocks noGrp="1"/>
          </p:cNvSpPr>
          <p:nvPr>
            <p:ph type="subTitle" idx="23"/>
          </p:nvPr>
        </p:nvSpPr>
        <p:spPr>
          <a:xfrm>
            <a:off x="9648867" y="5642857"/>
            <a:ext cx="2046400" cy="470000"/>
          </a:xfrm>
          <a:prstGeom prst="rect">
            <a:avLst/>
          </a:prstGeom>
          <a:noFill/>
        </p:spPr>
        <p:txBody>
          <a:bodyPr spcFirstLastPara="1" wrap="square" lIns="0" tIns="34275" rIns="68575" bIns="34275" anchor="t" anchorCtr="0">
            <a:noAutofit/>
          </a:bodyPr>
          <a:lstStyle>
            <a:lvl1pPr lvl="0" rtl="0">
              <a:lnSpc>
                <a:spcPct val="100000"/>
              </a:lnSpc>
              <a:spcBef>
                <a:spcPts val="0"/>
              </a:spcBef>
              <a:spcAft>
                <a:spcPts val="0"/>
              </a:spcAft>
              <a:buClr>
                <a:schemeClr val="dk1"/>
              </a:buClr>
              <a:buSzPts val="900"/>
              <a:buFont typeface="Inter"/>
              <a:buNone/>
              <a:defRPr sz="1200" b="1">
                <a:solidFill>
                  <a:schemeClr val="dk1"/>
                </a:solidFill>
              </a:defRPr>
            </a:lvl1pPr>
            <a:lvl2pPr lvl="1" rtl="0">
              <a:lnSpc>
                <a:spcPct val="100000"/>
              </a:lnSpc>
              <a:spcBef>
                <a:spcPts val="0"/>
              </a:spcBef>
              <a:spcAft>
                <a:spcPts val="0"/>
              </a:spcAft>
              <a:buClr>
                <a:schemeClr val="dk1"/>
              </a:buClr>
              <a:buSzPts val="900"/>
              <a:buFont typeface="Inter"/>
              <a:buNone/>
              <a:defRPr sz="1200" b="1">
                <a:solidFill>
                  <a:schemeClr val="dk1"/>
                </a:solidFill>
              </a:defRPr>
            </a:lvl2pPr>
            <a:lvl3pPr lvl="2" rtl="0">
              <a:lnSpc>
                <a:spcPct val="100000"/>
              </a:lnSpc>
              <a:spcBef>
                <a:spcPts val="0"/>
              </a:spcBef>
              <a:spcAft>
                <a:spcPts val="0"/>
              </a:spcAft>
              <a:buClr>
                <a:schemeClr val="dk1"/>
              </a:buClr>
              <a:buSzPts val="900"/>
              <a:buFont typeface="Inter"/>
              <a:buNone/>
              <a:defRPr sz="1200" b="1">
                <a:solidFill>
                  <a:schemeClr val="dk1"/>
                </a:solidFill>
              </a:defRPr>
            </a:lvl3pPr>
            <a:lvl4pPr lvl="3" rtl="0">
              <a:lnSpc>
                <a:spcPct val="100000"/>
              </a:lnSpc>
              <a:spcBef>
                <a:spcPts val="0"/>
              </a:spcBef>
              <a:spcAft>
                <a:spcPts val="0"/>
              </a:spcAft>
              <a:buClr>
                <a:schemeClr val="dk1"/>
              </a:buClr>
              <a:buSzPts val="900"/>
              <a:buFont typeface="Inter"/>
              <a:buNone/>
              <a:defRPr sz="1200" b="1">
                <a:solidFill>
                  <a:schemeClr val="dk1"/>
                </a:solidFill>
              </a:defRPr>
            </a:lvl4pPr>
            <a:lvl5pPr lvl="4" rtl="0">
              <a:lnSpc>
                <a:spcPct val="100000"/>
              </a:lnSpc>
              <a:spcBef>
                <a:spcPts val="0"/>
              </a:spcBef>
              <a:spcAft>
                <a:spcPts val="0"/>
              </a:spcAft>
              <a:buClr>
                <a:schemeClr val="dk1"/>
              </a:buClr>
              <a:buSzPts val="900"/>
              <a:buFont typeface="Inter"/>
              <a:buNone/>
              <a:defRPr sz="1200" b="1">
                <a:solidFill>
                  <a:schemeClr val="dk1"/>
                </a:solidFill>
              </a:defRPr>
            </a:lvl5pPr>
            <a:lvl6pPr lvl="5" rtl="0">
              <a:lnSpc>
                <a:spcPct val="100000"/>
              </a:lnSpc>
              <a:spcBef>
                <a:spcPts val="0"/>
              </a:spcBef>
              <a:spcAft>
                <a:spcPts val="0"/>
              </a:spcAft>
              <a:buClr>
                <a:schemeClr val="dk1"/>
              </a:buClr>
              <a:buSzPts val="900"/>
              <a:buFont typeface="Inter"/>
              <a:buNone/>
              <a:defRPr sz="1200" b="1">
                <a:solidFill>
                  <a:schemeClr val="dk1"/>
                </a:solidFill>
                <a:latin typeface="Inter"/>
                <a:ea typeface="Inter"/>
                <a:cs typeface="Inter"/>
                <a:sym typeface="Inter"/>
              </a:defRPr>
            </a:lvl6pPr>
            <a:lvl7pPr lvl="6" rtl="0">
              <a:lnSpc>
                <a:spcPct val="100000"/>
              </a:lnSpc>
              <a:spcBef>
                <a:spcPts val="0"/>
              </a:spcBef>
              <a:spcAft>
                <a:spcPts val="0"/>
              </a:spcAft>
              <a:buClr>
                <a:schemeClr val="dk1"/>
              </a:buClr>
              <a:buSzPts val="900"/>
              <a:buFont typeface="Inter"/>
              <a:buNone/>
              <a:defRPr sz="1200" b="1">
                <a:solidFill>
                  <a:schemeClr val="dk1"/>
                </a:solidFill>
                <a:latin typeface="Inter"/>
                <a:ea typeface="Inter"/>
                <a:cs typeface="Inter"/>
                <a:sym typeface="Inter"/>
              </a:defRPr>
            </a:lvl7pPr>
            <a:lvl8pPr lvl="7" rtl="0">
              <a:lnSpc>
                <a:spcPct val="100000"/>
              </a:lnSpc>
              <a:spcBef>
                <a:spcPts val="0"/>
              </a:spcBef>
              <a:spcAft>
                <a:spcPts val="0"/>
              </a:spcAft>
              <a:buClr>
                <a:schemeClr val="dk1"/>
              </a:buClr>
              <a:buSzPts val="900"/>
              <a:buFont typeface="Inter"/>
              <a:buNone/>
              <a:defRPr sz="1200" b="1">
                <a:solidFill>
                  <a:schemeClr val="dk1"/>
                </a:solidFill>
                <a:latin typeface="Inter"/>
                <a:ea typeface="Inter"/>
                <a:cs typeface="Inter"/>
                <a:sym typeface="Inter"/>
              </a:defRPr>
            </a:lvl8pPr>
            <a:lvl9pPr lvl="8" rtl="0">
              <a:lnSpc>
                <a:spcPct val="100000"/>
              </a:lnSpc>
              <a:spcBef>
                <a:spcPts val="0"/>
              </a:spcBef>
              <a:spcAft>
                <a:spcPts val="0"/>
              </a:spcAft>
              <a:buClr>
                <a:schemeClr val="dk1"/>
              </a:buClr>
              <a:buSzPts val="900"/>
              <a:buFont typeface="Inter"/>
              <a:buNone/>
              <a:defRPr sz="1200" b="1">
                <a:solidFill>
                  <a:schemeClr val="dk1"/>
                </a:solidFill>
                <a:latin typeface="Inter"/>
                <a:ea typeface="Inter"/>
                <a:cs typeface="Inter"/>
                <a:sym typeface="Inter"/>
              </a:defRPr>
            </a:lvl9pPr>
          </a:lstStyle>
          <a:p>
            <a:endParaRPr/>
          </a:p>
        </p:txBody>
      </p:sp>
    </p:spTree>
    <p:extLst>
      <p:ext uri="{BB962C8B-B14F-4D97-AF65-F5344CB8AC3E}">
        <p14:creationId xmlns:p14="http://schemas.microsoft.com/office/powerpoint/2010/main" val="131343084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matchingName="Profile pics - 8 ">
  <p:cSld name="Profile pics - 8 ">
    <p:bg>
      <p:bgPr>
        <a:solidFill>
          <a:schemeClr val="lt2"/>
        </a:solidFill>
        <a:effectLst/>
      </p:bgPr>
    </p:bg>
    <p:spTree>
      <p:nvGrpSpPr>
        <p:cNvPr id="1" name="Shape 2093"/>
        <p:cNvGrpSpPr/>
        <p:nvPr/>
      </p:nvGrpSpPr>
      <p:grpSpPr>
        <a:xfrm>
          <a:off x="0" y="0"/>
          <a:ext cx="0" cy="0"/>
          <a:chOff x="0" y="0"/>
          <a:chExt cx="0" cy="0"/>
        </a:xfrm>
      </p:grpSpPr>
      <p:grpSp>
        <p:nvGrpSpPr>
          <p:cNvPr id="2094" name="Google Shape;2094;p60"/>
          <p:cNvGrpSpPr/>
          <p:nvPr/>
        </p:nvGrpSpPr>
        <p:grpSpPr>
          <a:xfrm>
            <a:off x="1159959" y="2005463"/>
            <a:ext cx="1356533" cy="1356691"/>
            <a:chOff x="719225" y="1001350"/>
            <a:chExt cx="1184400" cy="1184400"/>
          </a:xfrm>
        </p:grpSpPr>
        <p:sp>
          <p:nvSpPr>
            <p:cNvPr id="2095" name="Google Shape;2095;p60"/>
            <p:cNvSpPr/>
            <p:nvPr/>
          </p:nvSpPr>
          <p:spPr>
            <a:xfrm>
              <a:off x="719225" y="10013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sp>
          <p:nvSpPr>
            <p:cNvPr id="2096" name="Google Shape;2096;p60"/>
            <p:cNvSpPr/>
            <p:nvPr/>
          </p:nvSpPr>
          <p:spPr>
            <a:xfrm>
              <a:off x="795425" y="10775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sp>
          <p:nvSpPr>
            <p:cNvPr id="2097" name="Google Shape;2097;p60"/>
            <p:cNvSpPr/>
            <p:nvPr/>
          </p:nvSpPr>
          <p:spPr>
            <a:xfrm>
              <a:off x="871625" y="11537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sp>
          <p:nvSpPr>
            <p:cNvPr id="2098" name="Google Shape;2098;p60"/>
            <p:cNvSpPr/>
            <p:nvPr/>
          </p:nvSpPr>
          <p:spPr>
            <a:xfrm>
              <a:off x="1737725" y="1008075"/>
              <a:ext cx="152700" cy="152700"/>
            </a:xfrm>
            <a:prstGeom prst="rtTriangle">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sp>
          <p:nvSpPr>
            <p:cNvPr id="2099" name="Google Shape;2099;p60"/>
            <p:cNvSpPr/>
            <p:nvPr/>
          </p:nvSpPr>
          <p:spPr>
            <a:xfrm rot="10800000">
              <a:off x="725809" y="2020700"/>
              <a:ext cx="152700" cy="152700"/>
            </a:xfrm>
            <a:prstGeom prst="rtTriangle">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grpSp>
      <p:grpSp>
        <p:nvGrpSpPr>
          <p:cNvPr id="2100" name="Google Shape;2100;p60"/>
          <p:cNvGrpSpPr/>
          <p:nvPr/>
        </p:nvGrpSpPr>
        <p:grpSpPr>
          <a:xfrm>
            <a:off x="1159959" y="4220429"/>
            <a:ext cx="1356533" cy="1356691"/>
            <a:chOff x="719225" y="1001350"/>
            <a:chExt cx="1184400" cy="1184400"/>
          </a:xfrm>
        </p:grpSpPr>
        <p:sp>
          <p:nvSpPr>
            <p:cNvPr id="2101" name="Google Shape;2101;p60"/>
            <p:cNvSpPr/>
            <p:nvPr/>
          </p:nvSpPr>
          <p:spPr>
            <a:xfrm>
              <a:off x="719225" y="10013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sp>
          <p:nvSpPr>
            <p:cNvPr id="2102" name="Google Shape;2102;p60"/>
            <p:cNvSpPr/>
            <p:nvPr/>
          </p:nvSpPr>
          <p:spPr>
            <a:xfrm>
              <a:off x="795425" y="10775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sp>
          <p:nvSpPr>
            <p:cNvPr id="2103" name="Google Shape;2103;p60"/>
            <p:cNvSpPr/>
            <p:nvPr/>
          </p:nvSpPr>
          <p:spPr>
            <a:xfrm>
              <a:off x="871625" y="11537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sp>
          <p:nvSpPr>
            <p:cNvPr id="2104" name="Google Shape;2104;p60"/>
            <p:cNvSpPr/>
            <p:nvPr/>
          </p:nvSpPr>
          <p:spPr>
            <a:xfrm>
              <a:off x="1737725" y="1008075"/>
              <a:ext cx="152700" cy="152700"/>
            </a:xfrm>
            <a:prstGeom prst="rtTriangle">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sp>
          <p:nvSpPr>
            <p:cNvPr id="2105" name="Google Shape;2105;p60"/>
            <p:cNvSpPr/>
            <p:nvPr/>
          </p:nvSpPr>
          <p:spPr>
            <a:xfrm rot="10800000">
              <a:off x="725809" y="2020700"/>
              <a:ext cx="152700" cy="152700"/>
            </a:xfrm>
            <a:prstGeom prst="rtTriangle">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grpSp>
      <p:grpSp>
        <p:nvGrpSpPr>
          <p:cNvPr id="2106" name="Google Shape;2106;p60"/>
          <p:cNvGrpSpPr/>
          <p:nvPr/>
        </p:nvGrpSpPr>
        <p:grpSpPr>
          <a:xfrm>
            <a:off x="3970608" y="2005463"/>
            <a:ext cx="1356533" cy="1356691"/>
            <a:chOff x="719225" y="1001350"/>
            <a:chExt cx="1184400" cy="1184400"/>
          </a:xfrm>
        </p:grpSpPr>
        <p:sp>
          <p:nvSpPr>
            <p:cNvPr id="2107" name="Google Shape;2107;p60"/>
            <p:cNvSpPr/>
            <p:nvPr/>
          </p:nvSpPr>
          <p:spPr>
            <a:xfrm>
              <a:off x="719225" y="10013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sp>
          <p:nvSpPr>
            <p:cNvPr id="2108" name="Google Shape;2108;p60"/>
            <p:cNvSpPr/>
            <p:nvPr/>
          </p:nvSpPr>
          <p:spPr>
            <a:xfrm>
              <a:off x="795425" y="10775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sp>
          <p:nvSpPr>
            <p:cNvPr id="2109" name="Google Shape;2109;p60"/>
            <p:cNvSpPr/>
            <p:nvPr/>
          </p:nvSpPr>
          <p:spPr>
            <a:xfrm>
              <a:off x="871625" y="11537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sp>
          <p:nvSpPr>
            <p:cNvPr id="2110" name="Google Shape;2110;p60"/>
            <p:cNvSpPr/>
            <p:nvPr/>
          </p:nvSpPr>
          <p:spPr>
            <a:xfrm>
              <a:off x="1737725" y="1008075"/>
              <a:ext cx="152700" cy="152700"/>
            </a:xfrm>
            <a:prstGeom prst="rtTriangle">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sp>
          <p:nvSpPr>
            <p:cNvPr id="2111" name="Google Shape;2111;p60"/>
            <p:cNvSpPr/>
            <p:nvPr/>
          </p:nvSpPr>
          <p:spPr>
            <a:xfrm rot="10800000">
              <a:off x="725809" y="2020700"/>
              <a:ext cx="152700" cy="152700"/>
            </a:xfrm>
            <a:prstGeom prst="rtTriangle">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grpSp>
      <p:grpSp>
        <p:nvGrpSpPr>
          <p:cNvPr id="2112" name="Google Shape;2112;p60"/>
          <p:cNvGrpSpPr/>
          <p:nvPr/>
        </p:nvGrpSpPr>
        <p:grpSpPr>
          <a:xfrm>
            <a:off x="3970608" y="4220429"/>
            <a:ext cx="1356533" cy="1356691"/>
            <a:chOff x="719225" y="1001350"/>
            <a:chExt cx="1184400" cy="1184400"/>
          </a:xfrm>
        </p:grpSpPr>
        <p:sp>
          <p:nvSpPr>
            <p:cNvPr id="2113" name="Google Shape;2113;p60"/>
            <p:cNvSpPr/>
            <p:nvPr/>
          </p:nvSpPr>
          <p:spPr>
            <a:xfrm>
              <a:off x="719225" y="10013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sp>
          <p:nvSpPr>
            <p:cNvPr id="2114" name="Google Shape;2114;p60"/>
            <p:cNvSpPr/>
            <p:nvPr/>
          </p:nvSpPr>
          <p:spPr>
            <a:xfrm>
              <a:off x="795425" y="10775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sp>
          <p:nvSpPr>
            <p:cNvPr id="2115" name="Google Shape;2115;p60"/>
            <p:cNvSpPr/>
            <p:nvPr/>
          </p:nvSpPr>
          <p:spPr>
            <a:xfrm>
              <a:off x="871625" y="11537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sp>
          <p:nvSpPr>
            <p:cNvPr id="2116" name="Google Shape;2116;p60"/>
            <p:cNvSpPr/>
            <p:nvPr/>
          </p:nvSpPr>
          <p:spPr>
            <a:xfrm>
              <a:off x="1737725" y="1008075"/>
              <a:ext cx="152700" cy="152700"/>
            </a:xfrm>
            <a:prstGeom prst="rtTriangle">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sp>
          <p:nvSpPr>
            <p:cNvPr id="2117" name="Google Shape;2117;p60"/>
            <p:cNvSpPr/>
            <p:nvPr/>
          </p:nvSpPr>
          <p:spPr>
            <a:xfrm rot="10800000">
              <a:off x="725809" y="2020700"/>
              <a:ext cx="152700" cy="152700"/>
            </a:xfrm>
            <a:prstGeom prst="rtTriangle">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grpSp>
      <p:grpSp>
        <p:nvGrpSpPr>
          <p:cNvPr id="2118" name="Google Shape;2118;p60"/>
          <p:cNvGrpSpPr/>
          <p:nvPr/>
        </p:nvGrpSpPr>
        <p:grpSpPr>
          <a:xfrm>
            <a:off x="6809742" y="2005463"/>
            <a:ext cx="1356533" cy="1356691"/>
            <a:chOff x="719225" y="1001350"/>
            <a:chExt cx="1184400" cy="1184400"/>
          </a:xfrm>
        </p:grpSpPr>
        <p:sp>
          <p:nvSpPr>
            <p:cNvPr id="2119" name="Google Shape;2119;p60"/>
            <p:cNvSpPr/>
            <p:nvPr/>
          </p:nvSpPr>
          <p:spPr>
            <a:xfrm>
              <a:off x="719225" y="10013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sp>
          <p:nvSpPr>
            <p:cNvPr id="2120" name="Google Shape;2120;p60"/>
            <p:cNvSpPr/>
            <p:nvPr/>
          </p:nvSpPr>
          <p:spPr>
            <a:xfrm>
              <a:off x="795425" y="10775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sp>
          <p:nvSpPr>
            <p:cNvPr id="2121" name="Google Shape;2121;p60"/>
            <p:cNvSpPr/>
            <p:nvPr/>
          </p:nvSpPr>
          <p:spPr>
            <a:xfrm>
              <a:off x="871625" y="11537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sp>
          <p:nvSpPr>
            <p:cNvPr id="2122" name="Google Shape;2122;p60"/>
            <p:cNvSpPr/>
            <p:nvPr/>
          </p:nvSpPr>
          <p:spPr>
            <a:xfrm>
              <a:off x="1737725" y="1008075"/>
              <a:ext cx="152700" cy="152700"/>
            </a:xfrm>
            <a:prstGeom prst="rtTriangle">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sp>
          <p:nvSpPr>
            <p:cNvPr id="2123" name="Google Shape;2123;p60"/>
            <p:cNvSpPr/>
            <p:nvPr/>
          </p:nvSpPr>
          <p:spPr>
            <a:xfrm rot="10800000">
              <a:off x="725809" y="2020700"/>
              <a:ext cx="152700" cy="152700"/>
            </a:xfrm>
            <a:prstGeom prst="rtTriangle">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grpSp>
      <p:grpSp>
        <p:nvGrpSpPr>
          <p:cNvPr id="2124" name="Google Shape;2124;p60"/>
          <p:cNvGrpSpPr/>
          <p:nvPr/>
        </p:nvGrpSpPr>
        <p:grpSpPr>
          <a:xfrm>
            <a:off x="6809742" y="4220429"/>
            <a:ext cx="1356533" cy="1356691"/>
            <a:chOff x="719225" y="1001350"/>
            <a:chExt cx="1184400" cy="1184400"/>
          </a:xfrm>
        </p:grpSpPr>
        <p:sp>
          <p:nvSpPr>
            <p:cNvPr id="2125" name="Google Shape;2125;p60"/>
            <p:cNvSpPr/>
            <p:nvPr/>
          </p:nvSpPr>
          <p:spPr>
            <a:xfrm>
              <a:off x="719225" y="10013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sp>
          <p:nvSpPr>
            <p:cNvPr id="2126" name="Google Shape;2126;p60"/>
            <p:cNvSpPr/>
            <p:nvPr/>
          </p:nvSpPr>
          <p:spPr>
            <a:xfrm>
              <a:off x="795425" y="10775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sp>
          <p:nvSpPr>
            <p:cNvPr id="2127" name="Google Shape;2127;p60"/>
            <p:cNvSpPr/>
            <p:nvPr/>
          </p:nvSpPr>
          <p:spPr>
            <a:xfrm>
              <a:off x="871625" y="11537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sp>
          <p:nvSpPr>
            <p:cNvPr id="2128" name="Google Shape;2128;p60"/>
            <p:cNvSpPr/>
            <p:nvPr/>
          </p:nvSpPr>
          <p:spPr>
            <a:xfrm>
              <a:off x="1737725" y="1008075"/>
              <a:ext cx="152700" cy="152700"/>
            </a:xfrm>
            <a:prstGeom prst="rtTriangle">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sp>
          <p:nvSpPr>
            <p:cNvPr id="2129" name="Google Shape;2129;p60"/>
            <p:cNvSpPr/>
            <p:nvPr/>
          </p:nvSpPr>
          <p:spPr>
            <a:xfrm rot="10800000">
              <a:off x="725809" y="2020700"/>
              <a:ext cx="152700" cy="152700"/>
            </a:xfrm>
            <a:prstGeom prst="rtTriangle">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grpSp>
      <p:grpSp>
        <p:nvGrpSpPr>
          <p:cNvPr id="2130" name="Google Shape;2130;p60"/>
          <p:cNvGrpSpPr/>
          <p:nvPr/>
        </p:nvGrpSpPr>
        <p:grpSpPr>
          <a:xfrm>
            <a:off x="9648875" y="2005463"/>
            <a:ext cx="1356533" cy="1356691"/>
            <a:chOff x="719225" y="1001350"/>
            <a:chExt cx="1184400" cy="1184400"/>
          </a:xfrm>
        </p:grpSpPr>
        <p:sp>
          <p:nvSpPr>
            <p:cNvPr id="2131" name="Google Shape;2131;p60"/>
            <p:cNvSpPr/>
            <p:nvPr/>
          </p:nvSpPr>
          <p:spPr>
            <a:xfrm>
              <a:off x="719225" y="10013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sp>
          <p:nvSpPr>
            <p:cNvPr id="2132" name="Google Shape;2132;p60"/>
            <p:cNvSpPr/>
            <p:nvPr/>
          </p:nvSpPr>
          <p:spPr>
            <a:xfrm>
              <a:off x="795425" y="10775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sp>
          <p:nvSpPr>
            <p:cNvPr id="2133" name="Google Shape;2133;p60"/>
            <p:cNvSpPr/>
            <p:nvPr/>
          </p:nvSpPr>
          <p:spPr>
            <a:xfrm>
              <a:off x="871625" y="11537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sp>
          <p:nvSpPr>
            <p:cNvPr id="2134" name="Google Shape;2134;p60"/>
            <p:cNvSpPr/>
            <p:nvPr/>
          </p:nvSpPr>
          <p:spPr>
            <a:xfrm>
              <a:off x="1737725" y="1008075"/>
              <a:ext cx="152700" cy="152700"/>
            </a:xfrm>
            <a:prstGeom prst="rtTriangle">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sp>
          <p:nvSpPr>
            <p:cNvPr id="2135" name="Google Shape;2135;p60"/>
            <p:cNvSpPr/>
            <p:nvPr/>
          </p:nvSpPr>
          <p:spPr>
            <a:xfrm rot="10800000">
              <a:off x="725809" y="2020700"/>
              <a:ext cx="152700" cy="152700"/>
            </a:xfrm>
            <a:prstGeom prst="rtTriangle">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grpSp>
      <p:grpSp>
        <p:nvGrpSpPr>
          <p:cNvPr id="2136" name="Google Shape;2136;p60"/>
          <p:cNvGrpSpPr/>
          <p:nvPr/>
        </p:nvGrpSpPr>
        <p:grpSpPr>
          <a:xfrm>
            <a:off x="9648875" y="4220429"/>
            <a:ext cx="1356533" cy="1356691"/>
            <a:chOff x="719225" y="1001350"/>
            <a:chExt cx="1184400" cy="1184400"/>
          </a:xfrm>
        </p:grpSpPr>
        <p:sp>
          <p:nvSpPr>
            <p:cNvPr id="2137" name="Google Shape;2137;p60"/>
            <p:cNvSpPr/>
            <p:nvPr/>
          </p:nvSpPr>
          <p:spPr>
            <a:xfrm>
              <a:off x="719225" y="10013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sp>
          <p:nvSpPr>
            <p:cNvPr id="2138" name="Google Shape;2138;p60"/>
            <p:cNvSpPr/>
            <p:nvPr/>
          </p:nvSpPr>
          <p:spPr>
            <a:xfrm>
              <a:off x="795425" y="10775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sp>
          <p:nvSpPr>
            <p:cNvPr id="2139" name="Google Shape;2139;p60"/>
            <p:cNvSpPr/>
            <p:nvPr/>
          </p:nvSpPr>
          <p:spPr>
            <a:xfrm>
              <a:off x="871625" y="11537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sp>
          <p:nvSpPr>
            <p:cNvPr id="2140" name="Google Shape;2140;p60"/>
            <p:cNvSpPr/>
            <p:nvPr/>
          </p:nvSpPr>
          <p:spPr>
            <a:xfrm>
              <a:off x="1737725" y="1008075"/>
              <a:ext cx="152700" cy="152700"/>
            </a:xfrm>
            <a:prstGeom prst="rtTriangle">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sp>
          <p:nvSpPr>
            <p:cNvPr id="2141" name="Google Shape;2141;p60"/>
            <p:cNvSpPr/>
            <p:nvPr/>
          </p:nvSpPr>
          <p:spPr>
            <a:xfrm rot="10800000">
              <a:off x="725809" y="2020700"/>
              <a:ext cx="152700" cy="152700"/>
            </a:xfrm>
            <a:prstGeom prst="rtTriangle">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grpSp>
      <p:sp>
        <p:nvSpPr>
          <p:cNvPr id="2142" name="Google Shape;2142;p60"/>
          <p:cNvSpPr>
            <a:spLocks noGrp="1"/>
          </p:cNvSpPr>
          <p:nvPr>
            <p:ph type="pic" idx="2"/>
          </p:nvPr>
        </p:nvSpPr>
        <p:spPr>
          <a:xfrm>
            <a:off x="1160167" y="2005413"/>
            <a:ext cx="1182000" cy="1182000"/>
          </a:xfrm>
          <a:prstGeom prst="roundRect">
            <a:avLst>
              <a:gd name="adj" fmla="val 3181"/>
            </a:avLst>
          </a:prstGeom>
          <a:noFill/>
          <a:ln>
            <a:noFill/>
          </a:ln>
        </p:spPr>
      </p:sp>
      <p:sp>
        <p:nvSpPr>
          <p:cNvPr id="2143" name="Google Shape;2143;p60"/>
          <p:cNvSpPr>
            <a:spLocks noGrp="1"/>
          </p:cNvSpPr>
          <p:nvPr>
            <p:ph type="pic" idx="3"/>
          </p:nvPr>
        </p:nvSpPr>
        <p:spPr>
          <a:xfrm>
            <a:off x="3970733" y="2005413"/>
            <a:ext cx="1182000" cy="1182000"/>
          </a:xfrm>
          <a:prstGeom prst="roundRect">
            <a:avLst>
              <a:gd name="adj" fmla="val 3181"/>
            </a:avLst>
          </a:prstGeom>
          <a:noFill/>
          <a:ln>
            <a:noFill/>
          </a:ln>
        </p:spPr>
      </p:sp>
      <p:sp>
        <p:nvSpPr>
          <p:cNvPr id="2144" name="Google Shape;2144;p60"/>
          <p:cNvSpPr>
            <a:spLocks noGrp="1"/>
          </p:cNvSpPr>
          <p:nvPr>
            <p:ph type="pic" idx="4"/>
          </p:nvPr>
        </p:nvSpPr>
        <p:spPr>
          <a:xfrm>
            <a:off x="6809767" y="2005413"/>
            <a:ext cx="1182000" cy="1182000"/>
          </a:xfrm>
          <a:prstGeom prst="roundRect">
            <a:avLst>
              <a:gd name="adj" fmla="val 3181"/>
            </a:avLst>
          </a:prstGeom>
          <a:noFill/>
          <a:ln>
            <a:noFill/>
          </a:ln>
        </p:spPr>
      </p:sp>
      <p:sp>
        <p:nvSpPr>
          <p:cNvPr id="2145" name="Google Shape;2145;p60"/>
          <p:cNvSpPr>
            <a:spLocks noGrp="1"/>
          </p:cNvSpPr>
          <p:nvPr>
            <p:ph type="pic" idx="5"/>
          </p:nvPr>
        </p:nvSpPr>
        <p:spPr>
          <a:xfrm>
            <a:off x="9648867" y="2005413"/>
            <a:ext cx="1182000" cy="1182000"/>
          </a:xfrm>
          <a:prstGeom prst="roundRect">
            <a:avLst>
              <a:gd name="adj" fmla="val 3181"/>
            </a:avLst>
          </a:prstGeom>
          <a:noFill/>
          <a:ln>
            <a:noFill/>
          </a:ln>
        </p:spPr>
      </p:sp>
      <p:sp>
        <p:nvSpPr>
          <p:cNvPr id="2146" name="Google Shape;2146;p60"/>
          <p:cNvSpPr>
            <a:spLocks noGrp="1"/>
          </p:cNvSpPr>
          <p:nvPr>
            <p:ph type="pic" idx="6"/>
          </p:nvPr>
        </p:nvSpPr>
        <p:spPr>
          <a:xfrm>
            <a:off x="1160167" y="4220447"/>
            <a:ext cx="1182000" cy="1182000"/>
          </a:xfrm>
          <a:prstGeom prst="roundRect">
            <a:avLst>
              <a:gd name="adj" fmla="val 3181"/>
            </a:avLst>
          </a:prstGeom>
          <a:noFill/>
          <a:ln>
            <a:noFill/>
          </a:ln>
        </p:spPr>
      </p:sp>
      <p:sp>
        <p:nvSpPr>
          <p:cNvPr id="2147" name="Google Shape;2147;p60"/>
          <p:cNvSpPr>
            <a:spLocks noGrp="1"/>
          </p:cNvSpPr>
          <p:nvPr>
            <p:ph type="pic" idx="7"/>
          </p:nvPr>
        </p:nvSpPr>
        <p:spPr>
          <a:xfrm>
            <a:off x="3970733" y="4220447"/>
            <a:ext cx="1182000" cy="1182000"/>
          </a:xfrm>
          <a:prstGeom prst="roundRect">
            <a:avLst>
              <a:gd name="adj" fmla="val 3181"/>
            </a:avLst>
          </a:prstGeom>
          <a:noFill/>
          <a:ln>
            <a:noFill/>
          </a:ln>
        </p:spPr>
      </p:sp>
      <p:sp>
        <p:nvSpPr>
          <p:cNvPr id="2148" name="Google Shape;2148;p60"/>
          <p:cNvSpPr>
            <a:spLocks noGrp="1"/>
          </p:cNvSpPr>
          <p:nvPr>
            <p:ph type="pic" idx="8"/>
          </p:nvPr>
        </p:nvSpPr>
        <p:spPr>
          <a:xfrm>
            <a:off x="6809767" y="4220447"/>
            <a:ext cx="1182000" cy="1182000"/>
          </a:xfrm>
          <a:prstGeom prst="roundRect">
            <a:avLst>
              <a:gd name="adj" fmla="val 3181"/>
            </a:avLst>
          </a:prstGeom>
          <a:noFill/>
          <a:ln>
            <a:noFill/>
          </a:ln>
        </p:spPr>
      </p:sp>
      <p:sp>
        <p:nvSpPr>
          <p:cNvPr id="2149" name="Google Shape;2149;p60"/>
          <p:cNvSpPr>
            <a:spLocks noGrp="1"/>
          </p:cNvSpPr>
          <p:nvPr>
            <p:ph type="pic" idx="9"/>
          </p:nvPr>
        </p:nvSpPr>
        <p:spPr>
          <a:xfrm>
            <a:off x="9648867" y="4220447"/>
            <a:ext cx="1182000" cy="1182000"/>
          </a:xfrm>
          <a:prstGeom prst="roundRect">
            <a:avLst>
              <a:gd name="adj" fmla="val 3181"/>
            </a:avLst>
          </a:prstGeom>
          <a:noFill/>
          <a:ln>
            <a:noFill/>
          </a:ln>
        </p:spPr>
      </p:sp>
      <p:sp>
        <p:nvSpPr>
          <p:cNvPr id="2150" name="Google Shape;2150;p60"/>
          <p:cNvSpPr txBox="1">
            <a:spLocks noGrp="1"/>
          </p:cNvSpPr>
          <p:nvPr>
            <p:ph type="title"/>
          </p:nvPr>
        </p:nvSpPr>
        <p:spPr>
          <a:xfrm>
            <a:off x="951700" y="359997"/>
            <a:ext cx="10515600" cy="975200"/>
          </a:xfrm>
          <a:prstGeom prst="rect">
            <a:avLst/>
          </a:prstGeom>
          <a:noFill/>
          <a:ln>
            <a:noFill/>
          </a:ln>
        </p:spPr>
        <p:txBody>
          <a:bodyPr spcFirstLastPara="1" wrap="square" lIns="0" tIns="0" rIns="68575" bIns="34275" anchor="t" anchorCtr="0">
            <a:noAutofit/>
          </a:bodyPr>
          <a:lstStyle>
            <a:lvl1pPr lvl="0" algn="l" rtl="0">
              <a:lnSpc>
                <a:spcPct val="90000"/>
              </a:lnSpc>
              <a:spcBef>
                <a:spcPts val="0"/>
              </a:spcBef>
              <a:spcAft>
                <a:spcPts val="0"/>
              </a:spcAft>
              <a:buSzPts val="2400"/>
              <a:buFont typeface="Inter Medium"/>
              <a:buNone/>
              <a:defRPr sz="3200">
                <a:latin typeface="Inter Medium"/>
                <a:ea typeface="Inter Medium"/>
                <a:cs typeface="Inter Medium"/>
                <a:sym typeface="Inter Medium"/>
              </a:defRPr>
            </a:lvl1pPr>
            <a:lvl2pPr lvl="1" rtl="0">
              <a:spcBef>
                <a:spcPts val="0"/>
              </a:spcBef>
              <a:spcAft>
                <a:spcPts val="0"/>
              </a:spcAft>
              <a:buSzPts val="1100"/>
              <a:buNone/>
              <a:defRPr b="1"/>
            </a:lvl2pPr>
            <a:lvl3pPr lvl="2" rtl="0">
              <a:spcBef>
                <a:spcPts val="0"/>
              </a:spcBef>
              <a:spcAft>
                <a:spcPts val="0"/>
              </a:spcAft>
              <a:buSzPts val="1100"/>
              <a:buNone/>
              <a:defRPr b="1"/>
            </a:lvl3pPr>
            <a:lvl4pPr lvl="3" rtl="0">
              <a:spcBef>
                <a:spcPts val="0"/>
              </a:spcBef>
              <a:spcAft>
                <a:spcPts val="0"/>
              </a:spcAft>
              <a:buSzPts val="1100"/>
              <a:buNone/>
              <a:defRPr b="1"/>
            </a:lvl4pPr>
            <a:lvl5pPr lvl="4" rtl="0">
              <a:spcBef>
                <a:spcPts val="0"/>
              </a:spcBef>
              <a:spcAft>
                <a:spcPts val="0"/>
              </a:spcAft>
              <a:buSzPts val="1100"/>
              <a:buNone/>
              <a:defRPr b="1"/>
            </a:lvl5pPr>
            <a:lvl6pPr lvl="5" rtl="0">
              <a:spcBef>
                <a:spcPts val="0"/>
              </a:spcBef>
              <a:spcAft>
                <a:spcPts val="0"/>
              </a:spcAft>
              <a:buSzPts val="1100"/>
              <a:buNone/>
              <a:defRPr b="1"/>
            </a:lvl6pPr>
            <a:lvl7pPr lvl="6" rtl="0">
              <a:spcBef>
                <a:spcPts val="0"/>
              </a:spcBef>
              <a:spcAft>
                <a:spcPts val="0"/>
              </a:spcAft>
              <a:buSzPts val="1100"/>
              <a:buNone/>
              <a:defRPr b="1"/>
            </a:lvl7pPr>
            <a:lvl8pPr lvl="7" rtl="0">
              <a:spcBef>
                <a:spcPts val="0"/>
              </a:spcBef>
              <a:spcAft>
                <a:spcPts val="0"/>
              </a:spcAft>
              <a:buSzPts val="1100"/>
              <a:buNone/>
              <a:defRPr b="1"/>
            </a:lvl8pPr>
            <a:lvl9pPr lvl="8" rtl="0">
              <a:spcBef>
                <a:spcPts val="0"/>
              </a:spcBef>
              <a:spcAft>
                <a:spcPts val="0"/>
              </a:spcAft>
              <a:buSzPts val="1100"/>
              <a:buNone/>
              <a:defRPr b="1"/>
            </a:lvl9pPr>
          </a:lstStyle>
          <a:p>
            <a:endParaRPr/>
          </a:p>
        </p:txBody>
      </p:sp>
      <p:sp>
        <p:nvSpPr>
          <p:cNvPr id="2151" name="Google Shape;2151;p60"/>
          <p:cNvSpPr txBox="1">
            <a:spLocks noGrp="1"/>
          </p:cNvSpPr>
          <p:nvPr>
            <p:ph type="sldNum" idx="12"/>
          </p:nvPr>
        </p:nvSpPr>
        <p:spPr>
          <a:xfrm>
            <a:off x="10978812" y="5993647"/>
            <a:ext cx="731600" cy="524800"/>
          </a:xfrm>
          <a:prstGeom prst="rect">
            <a:avLst/>
          </a:prstGeom>
          <a:noFill/>
        </p:spPr>
        <p:txBody>
          <a:bodyPr spcFirstLastPara="1" wrap="square" lIns="91425" tIns="91425" rIns="0" bIns="0" anchor="b" anchorCtr="0">
            <a:noAutofit/>
          </a:bodyPr>
          <a:lstStyle>
            <a:lvl1pPr lvl="0" algn="r" rtl="0">
              <a:buNone/>
              <a:defRPr sz="667">
                <a:solidFill>
                  <a:schemeClr val="dk2"/>
                </a:solidFill>
                <a:latin typeface="Inter"/>
                <a:ea typeface="Inter"/>
                <a:cs typeface="Inter"/>
                <a:sym typeface="Inter"/>
              </a:defRPr>
            </a:lvl1pPr>
            <a:lvl2pPr lvl="1" algn="r" rtl="0">
              <a:buNone/>
              <a:defRPr sz="667">
                <a:solidFill>
                  <a:schemeClr val="dk2"/>
                </a:solidFill>
                <a:latin typeface="Inter"/>
                <a:ea typeface="Inter"/>
                <a:cs typeface="Inter"/>
                <a:sym typeface="Inter"/>
              </a:defRPr>
            </a:lvl2pPr>
            <a:lvl3pPr lvl="2" algn="r" rtl="0">
              <a:buNone/>
              <a:defRPr sz="667">
                <a:solidFill>
                  <a:schemeClr val="dk2"/>
                </a:solidFill>
                <a:latin typeface="Inter"/>
                <a:ea typeface="Inter"/>
                <a:cs typeface="Inter"/>
                <a:sym typeface="Inter"/>
              </a:defRPr>
            </a:lvl3pPr>
            <a:lvl4pPr lvl="3" algn="r" rtl="0">
              <a:buNone/>
              <a:defRPr sz="667">
                <a:solidFill>
                  <a:schemeClr val="dk2"/>
                </a:solidFill>
                <a:latin typeface="Inter"/>
                <a:ea typeface="Inter"/>
                <a:cs typeface="Inter"/>
                <a:sym typeface="Inter"/>
              </a:defRPr>
            </a:lvl4pPr>
            <a:lvl5pPr lvl="4" algn="r" rtl="0">
              <a:buNone/>
              <a:defRPr sz="667">
                <a:solidFill>
                  <a:schemeClr val="dk2"/>
                </a:solidFill>
                <a:latin typeface="Inter"/>
                <a:ea typeface="Inter"/>
                <a:cs typeface="Inter"/>
                <a:sym typeface="Inter"/>
              </a:defRPr>
            </a:lvl5pPr>
            <a:lvl6pPr lvl="5" algn="r" rtl="0">
              <a:buNone/>
              <a:defRPr sz="667">
                <a:solidFill>
                  <a:schemeClr val="dk2"/>
                </a:solidFill>
                <a:latin typeface="Inter"/>
                <a:ea typeface="Inter"/>
                <a:cs typeface="Inter"/>
                <a:sym typeface="Inter"/>
              </a:defRPr>
            </a:lvl6pPr>
            <a:lvl7pPr lvl="6" algn="r" rtl="0">
              <a:buNone/>
              <a:defRPr sz="667">
                <a:solidFill>
                  <a:schemeClr val="dk2"/>
                </a:solidFill>
                <a:latin typeface="Inter"/>
                <a:ea typeface="Inter"/>
                <a:cs typeface="Inter"/>
                <a:sym typeface="Inter"/>
              </a:defRPr>
            </a:lvl7pPr>
            <a:lvl8pPr lvl="7" algn="r" rtl="0">
              <a:buNone/>
              <a:defRPr sz="667">
                <a:solidFill>
                  <a:schemeClr val="dk2"/>
                </a:solidFill>
                <a:latin typeface="Inter"/>
                <a:ea typeface="Inter"/>
                <a:cs typeface="Inter"/>
                <a:sym typeface="Inter"/>
              </a:defRPr>
            </a:lvl8pPr>
            <a:lvl9pPr lvl="8" algn="r" rtl="0">
              <a:buNone/>
              <a:defRPr sz="667">
                <a:solidFill>
                  <a:schemeClr val="dk2"/>
                </a:solidFill>
                <a:latin typeface="Inter"/>
                <a:ea typeface="Inter"/>
                <a:cs typeface="Inter"/>
                <a:sym typeface="Inter"/>
              </a:defRPr>
            </a:lvl9pPr>
          </a:lstStyle>
          <a:p>
            <a:fld id="{00000000-1234-1234-1234-123412341234}" type="slidenum">
              <a:rPr lang="en-GB" smtClean="0"/>
              <a:pPr/>
              <a:t>‹#›</a:t>
            </a:fld>
            <a:endParaRPr lang="en-GB"/>
          </a:p>
        </p:txBody>
      </p:sp>
      <p:sp>
        <p:nvSpPr>
          <p:cNvPr id="2152" name="Google Shape;2152;p60"/>
          <p:cNvSpPr txBox="1"/>
          <p:nvPr/>
        </p:nvSpPr>
        <p:spPr>
          <a:xfrm>
            <a:off x="481600" y="6245247"/>
            <a:ext cx="1288400" cy="273200"/>
          </a:xfrm>
          <a:prstGeom prst="rect">
            <a:avLst/>
          </a:prstGeom>
          <a:noFill/>
          <a:ln>
            <a:noFill/>
          </a:ln>
        </p:spPr>
        <p:txBody>
          <a:bodyPr spcFirstLastPara="1" wrap="square" lIns="0" tIns="0" rIns="0" bIns="0" anchor="b" anchorCtr="0">
            <a:noAutofit/>
          </a:bodyPr>
          <a:lstStyle/>
          <a:p>
            <a:pPr marL="0" lvl="0" indent="0" algn="l" rtl="0">
              <a:spcBef>
                <a:spcPts val="0"/>
              </a:spcBef>
              <a:spcAft>
                <a:spcPts val="0"/>
              </a:spcAft>
              <a:buNone/>
            </a:pPr>
            <a:r>
              <a:rPr lang="en-GB" sz="667">
                <a:solidFill>
                  <a:schemeClr val="dk2"/>
                </a:solidFill>
                <a:latin typeface="Inter"/>
                <a:ea typeface="Inter"/>
                <a:cs typeface="Inter"/>
                <a:sym typeface="Inter"/>
              </a:rPr>
              <a:t>Multiverse</a:t>
            </a:r>
            <a:endParaRPr sz="667">
              <a:solidFill>
                <a:schemeClr val="dk2"/>
              </a:solidFill>
              <a:latin typeface="Inter"/>
              <a:ea typeface="Inter"/>
              <a:cs typeface="Inter"/>
              <a:sym typeface="Inter"/>
            </a:endParaRPr>
          </a:p>
        </p:txBody>
      </p:sp>
      <p:sp>
        <p:nvSpPr>
          <p:cNvPr id="2153" name="Google Shape;2153;p60"/>
          <p:cNvSpPr/>
          <p:nvPr/>
        </p:nvSpPr>
        <p:spPr>
          <a:xfrm>
            <a:off x="481601" y="414630"/>
            <a:ext cx="349111" cy="305471"/>
          </a:xfrm>
          <a:custGeom>
            <a:avLst/>
            <a:gdLst/>
            <a:ahLst/>
            <a:cxnLst/>
            <a:rect l="l" t="t" r="r" b="b"/>
            <a:pathLst>
              <a:path w="1586865" h="1388506" extrusionOk="0">
                <a:moveTo>
                  <a:pt x="1083683" y="969931"/>
                </a:moveTo>
                <a:lnTo>
                  <a:pt x="1083683" y="579692"/>
                </a:lnTo>
                <a:lnTo>
                  <a:pt x="849297" y="969931"/>
                </a:lnTo>
                <a:lnTo>
                  <a:pt x="848892" y="969931"/>
                </a:lnTo>
                <a:cubicBezTo>
                  <a:pt x="848892" y="969931"/>
                  <a:pt x="848892" y="969931"/>
                  <a:pt x="848892" y="969931"/>
                </a:cubicBezTo>
                <a:lnTo>
                  <a:pt x="738783" y="969931"/>
                </a:lnTo>
                <a:lnTo>
                  <a:pt x="738783" y="577668"/>
                </a:lnTo>
                <a:lnTo>
                  <a:pt x="549735" y="892612"/>
                </a:lnTo>
                <a:cubicBezTo>
                  <a:pt x="527876" y="929449"/>
                  <a:pt x="510873" y="958191"/>
                  <a:pt x="503992" y="969931"/>
                </a:cubicBezTo>
                <a:lnTo>
                  <a:pt x="393073" y="969931"/>
                </a:lnTo>
                <a:lnTo>
                  <a:pt x="393073" y="418576"/>
                </a:lnTo>
                <a:lnTo>
                  <a:pt x="503992" y="418576"/>
                </a:lnTo>
                <a:lnTo>
                  <a:pt x="502777" y="760643"/>
                </a:lnTo>
                <a:lnTo>
                  <a:pt x="503587" y="782098"/>
                </a:lnTo>
                <a:lnTo>
                  <a:pt x="721781" y="418981"/>
                </a:lnTo>
                <a:lnTo>
                  <a:pt x="721781" y="418981"/>
                </a:lnTo>
                <a:lnTo>
                  <a:pt x="721781" y="418981"/>
                </a:lnTo>
                <a:lnTo>
                  <a:pt x="739188" y="418981"/>
                </a:lnTo>
                <a:lnTo>
                  <a:pt x="847678" y="418981"/>
                </a:lnTo>
                <a:cubicBezTo>
                  <a:pt x="847678" y="418981"/>
                  <a:pt x="848487" y="722995"/>
                  <a:pt x="848892" y="783717"/>
                </a:cubicBezTo>
                <a:lnTo>
                  <a:pt x="1067895" y="418981"/>
                </a:lnTo>
                <a:lnTo>
                  <a:pt x="1067895" y="418981"/>
                </a:lnTo>
                <a:lnTo>
                  <a:pt x="1067895" y="418981"/>
                </a:lnTo>
                <a:lnTo>
                  <a:pt x="1085302" y="418981"/>
                </a:lnTo>
                <a:lnTo>
                  <a:pt x="1193387" y="418981"/>
                </a:lnTo>
                <a:lnTo>
                  <a:pt x="1193387" y="970336"/>
                </a:lnTo>
                <a:lnTo>
                  <a:pt x="1083683" y="970336"/>
                </a:lnTo>
                <a:close/>
                <a:moveTo>
                  <a:pt x="1190149" y="0"/>
                </a:moveTo>
                <a:lnTo>
                  <a:pt x="396716" y="0"/>
                </a:lnTo>
                <a:lnTo>
                  <a:pt x="0" y="694253"/>
                </a:lnTo>
                <a:lnTo>
                  <a:pt x="396716" y="1388507"/>
                </a:lnTo>
                <a:lnTo>
                  <a:pt x="1190149" y="1388507"/>
                </a:lnTo>
                <a:lnTo>
                  <a:pt x="1586865" y="694253"/>
                </a:lnTo>
                <a:lnTo>
                  <a:pt x="1190149" y="0"/>
                </a:lnTo>
                <a:close/>
              </a:path>
            </a:pathLst>
          </a:custGeom>
          <a:solidFill>
            <a:schemeClr val="dk2"/>
          </a:solidFill>
          <a:ln>
            <a:noFill/>
          </a:ln>
        </p:spPr>
        <p:txBody>
          <a:bodyPr spcFirstLastPara="1" wrap="square" lIns="91433" tIns="45700" rIns="91433" bIns="45700"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154" name="Google Shape;2154;p60"/>
          <p:cNvSpPr txBox="1">
            <a:spLocks noGrp="1"/>
          </p:cNvSpPr>
          <p:nvPr>
            <p:ph type="subTitle" idx="1"/>
          </p:nvPr>
        </p:nvSpPr>
        <p:spPr>
          <a:xfrm>
            <a:off x="1159967" y="3417075"/>
            <a:ext cx="2046400" cy="470000"/>
          </a:xfrm>
          <a:prstGeom prst="rect">
            <a:avLst/>
          </a:prstGeom>
          <a:noFill/>
        </p:spPr>
        <p:txBody>
          <a:bodyPr spcFirstLastPara="1" wrap="square" lIns="0" tIns="34275" rIns="68575" bIns="34275" anchor="t" anchorCtr="0">
            <a:noAutofit/>
          </a:bodyPr>
          <a:lstStyle>
            <a:lvl1pPr lvl="0" rtl="0">
              <a:lnSpc>
                <a:spcPct val="100000"/>
              </a:lnSpc>
              <a:spcBef>
                <a:spcPts val="0"/>
              </a:spcBef>
              <a:spcAft>
                <a:spcPts val="0"/>
              </a:spcAft>
              <a:buSzPts val="900"/>
              <a:buFont typeface="Inter"/>
              <a:buNone/>
              <a:defRPr sz="1200" b="1"/>
            </a:lvl1pPr>
            <a:lvl2pPr lvl="1" rtl="0">
              <a:lnSpc>
                <a:spcPct val="100000"/>
              </a:lnSpc>
              <a:spcBef>
                <a:spcPts val="0"/>
              </a:spcBef>
              <a:spcAft>
                <a:spcPts val="0"/>
              </a:spcAft>
              <a:buSzPts val="900"/>
              <a:buFont typeface="Inter"/>
              <a:buNone/>
              <a:defRPr sz="1200" b="1"/>
            </a:lvl2pPr>
            <a:lvl3pPr lvl="2" rtl="0">
              <a:lnSpc>
                <a:spcPct val="100000"/>
              </a:lnSpc>
              <a:spcBef>
                <a:spcPts val="0"/>
              </a:spcBef>
              <a:spcAft>
                <a:spcPts val="0"/>
              </a:spcAft>
              <a:buSzPts val="900"/>
              <a:buFont typeface="Inter"/>
              <a:buNone/>
              <a:defRPr sz="1200" b="1"/>
            </a:lvl3pPr>
            <a:lvl4pPr lvl="3" rtl="0">
              <a:lnSpc>
                <a:spcPct val="100000"/>
              </a:lnSpc>
              <a:spcBef>
                <a:spcPts val="0"/>
              </a:spcBef>
              <a:spcAft>
                <a:spcPts val="0"/>
              </a:spcAft>
              <a:buSzPts val="900"/>
              <a:buFont typeface="Inter"/>
              <a:buNone/>
              <a:defRPr sz="1200" b="1"/>
            </a:lvl4pPr>
            <a:lvl5pPr lvl="4" rtl="0">
              <a:lnSpc>
                <a:spcPct val="100000"/>
              </a:lnSpc>
              <a:spcBef>
                <a:spcPts val="0"/>
              </a:spcBef>
              <a:spcAft>
                <a:spcPts val="0"/>
              </a:spcAft>
              <a:buSzPts val="900"/>
              <a:buFont typeface="Inter"/>
              <a:buNone/>
              <a:defRPr sz="1200" b="1"/>
            </a:lvl5pPr>
            <a:lvl6pPr lvl="5" rtl="0">
              <a:lnSpc>
                <a:spcPct val="100000"/>
              </a:lnSpc>
              <a:spcBef>
                <a:spcPts val="0"/>
              </a:spcBef>
              <a:spcAft>
                <a:spcPts val="0"/>
              </a:spcAft>
              <a:buSzPts val="900"/>
              <a:buFont typeface="Inter"/>
              <a:buNone/>
              <a:defRPr sz="1200" b="1">
                <a:latin typeface="Inter"/>
                <a:ea typeface="Inter"/>
                <a:cs typeface="Inter"/>
                <a:sym typeface="Inter"/>
              </a:defRPr>
            </a:lvl6pPr>
            <a:lvl7pPr lvl="6" rtl="0">
              <a:lnSpc>
                <a:spcPct val="100000"/>
              </a:lnSpc>
              <a:spcBef>
                <a:spcPts val="0"/>
              </a:spcBef>
              <a:spcAft>
                <a:spcPts val="0"/>
              </a:spcAft>
              <a:buSzPts val="900"/>
              <a:buFont typeface="Inter"/>
              <a:buNone/>
              <a:defRPr sz="1200" b="1">
                <a:latin typeface="Inter"/>
                <a:ea typeface="Inter"/>
                <a:cs typeface="Inter"/>
                <a:sym typeface="Inter"/>
              </a:defRPr>
            </a:lvl7pPr>
            <a:lvl8pPr lvl="7" rtl="0">
              <a:lnSpc>
                <a:spcPct val="100000"/>
              </a:lnSpc>
              <a:spcBef>
                <a:spcPts val="0"/>
              </a:spcBef>
              <a:spcAft>
                <a:spcPts val="0"/>
              </a:spcAft>
              <a:buSzPts val="900"/>
              <a:buFont typeface="Inter"/>
              <a:buNone/>
              <a:defRPr sz="1200" b="1">
                <a:latin typeface="Inter"/>
                <a:ea typeface="Inter"/>
                <a:cs typeface="Inter"/>
                <a:sym typeface="Inter"/>
              </a:defRPr>
            </a:lvl8pPr>
            <a:lvl9pPr lvl="8" rtl="0">
              <a:lnSpc>
                <a:spcPct val="100000"/>
              </a:lnSpc>
              <a:spcBef>
                <a:spcPts val="0"/>
              </a:spcBef>
              <a:spcAft>
                <a:spcPts val="0"/>
              </a:spcAft>
              <a:buSzPts val="900"/>
              <a:buFont typeface="Inter"/>
              <a:buNone/>
              <a:defRPr sz="1200" b="1">
                <a:latin typeface="Inter"/>
                <a:ea typeface="Inter"/>
                <a:cs typeface="Inter"/>
                <a:sym typeface="Inter"/>
              </a:defRPr>
            </a:lvl9pPr>
          </a:lstStyle>
          <a:p>
            <a:endParaRPr/>
          </a:p>
        </p:txBody>
      </p:sp>
      <p:sp>
        <p:nvSpPr>
          <p:cNvPr id="2155" name="Google Shape;2155;p60"/>
          <p:cNvSpPr txBox="1">
            <a:spLocks noGrp="1"/>
          </p:cNvSpPr>
          <p:nvPr>
            <p:ph type="subTitle" idx="13"/>
          </p:nvPr>
        </p:nvSpPr>
        <p:spPr>
          <a:xfrm>
            <a:off x="3970600" y="3417075"/>
            <a:ext cx="2046400" cy="470000"/>
          </a:xfrm>
          <a:prstGeom prst="rect">
            <a:avLst/>
          </a:prstGeom>
          <a:noFill/>
        </p:spPr>
        <p:txBody>
          <a:bodyPr spcFirstLastPara="1" wrap="square" lIns="0" tIns="34275" rIns="68575" bIns="34275" anchor="t" anchorCtr="0">
            <a:noAutofit/>
          </a:bodyPr>
          <a:lstStyle>
            <a:lvl1pPr lvl="0" rtl="0">
              <a:lnSpc>
                <a:spcPct val="100000"/>
              </a:lnSpc>
              <a:spcBef>
                <a:spcPts val="0"/>
              </a:spcBef>
              <a:spcAft>
                <a:spcPts val="0"/>
              </a:spcAft>
              <a:buSzPts val="900"/>
              <a:buFont typeface="Inter"/>
              <a:buNone/>
              <a:defRPr sz="1200" b="1"/>
            </a:lvl1pPr>
            <a:lvl2pPr lvl="1" rtl="0">
              <a:lnSpc>
                <a:spcPct val="100000"/>
              </a:lnSpc>
              <a:spcBef>
                <a:spcPts val="0"/>
              </a:spcBef>
              <a:spcAft>
                <a:spcPts val="0"/>
              </a:spcAft>
              <a:buSzPts val="900"/>
              <a:buFont typeface="Inter"/>
              <a:buNone/>
              <a:defRPr sz="1200" b="1"/>
            </a:lvl2pPr>
            <a:lvl3pPr lvl="2" rtl="0">
              <a:lnSpc>
                <a:spcPct val="100000"/>
              </a:lnSpc>
              <a:spcBef>
                <a:spcPts val="0"/>
              </a:spcBef>
              <a:spcAft>
                <a:spcPts val="0"/>
              </a:spcAft>
              <a:buSzPts val="900"/>
              <a:buFont typeface="Inter"/>
              <a:buNone/>
              <a:defRPr sz="1200" b="1"/>
            </a:lvl3pPr>
            <a:lvl4pPr lvl="3" rtl="0">
              <a:lnSpc>
                <a:spcPct val="100000"/>
              </a:lnSpc>
              <a:spcBef>
                <a:spcPts val="0"/>
              </a:spcBef>
              <a:spcAft>
                <a:spcPts val="0"/>
              </a:spcAft>
              <a:buSzPts val="900"/>
              <a:buFont typeface="Inter"/>
              <a:buNone/>
              <a:defRPr sz="1200" b="1"/>
            </a:lvl4pPr>
            <a:lvl5pPr lvl="4" rtl="0">
              <a:lnSpc>
                <a:spcPct val="100000"/>
              </a:lnSpc>
              <a:spcBef>
                <a:spcPts val="0"/>
              </a:spcBef>
              <a:spcAft>
                <a:spcPts val="0"/>
              </a:spcAft>
              <a:buSzPts val="900"/>
              <a:buFont typeface="Inter"/>
              <a:buNone/>
              <a:defRPr sz="1200" b="1"/>
            </a:lvl5pPr>
            <a:lvl6pPr lvl="5" rtl="0">
              <a:lnSpc>
                <a:spcPct val="100000"/>
              </a:lnSpc>
              <a:spcBef>
                <a:spcPts val="0"/>
              </a:spcBef>
              <a:spcAft>
                <a:spcPts val="0"/>
              </a:spcAft>
              <a:buSzPts val="900"/>
              <a:buFont typeface="Inter"/>
              <a:buNone/>
              <a:defRPr sz="1200" b="1">
                <a:latin typeface="Inter"/>
                <a:ea typeface="Inter"/>
                <a:cs typeface="Inter"/>
                <a:sym typeface="Inter"/>
              </a:defRPr>
            </a:lvl6pPr>
            <a:lvl7pPr lvl="6" rtl="0">
              <a:lnSpc>
                <a:spcPct val="100000"/>
              </a:lnSpc>
              <a:spcBef>
                <a:spcPts val="0"/>
              </a:spcBef>
              <a:spcAft>
                <a:spcPts val="0"/>
              </a:spcAft>
              <a:buSzPts val="900"/>
              <a:buFont typeface="Inter"/>
              <a:buNone/>
              <a:defRPr sz="1200" b="1">
                <a:latin typeface="Inter"/>
                <a:ea typeface="Inter"/>
                <a:cs typeface="Inter"/>
                <a:sym typeface="Inter"/>
              </a:defRPr>
            </a:lvl7pPr>
            <a:lvl8pPr lvl="7" rtl="0">
              <a:lnSpc>
                <a:spcPct val="100000"/>
              </a:lnSpc>
              <a:spcBef>
                <a:spcPts val="0"/>
              </a:spcBef>
              <a:spcAft>
                <a:spcPts val="0"/>
              </a:spcAft>
              <a:buSzPts val="900"/>
              <a:buFont typeface="Inter"/>
              <a:buNone/>
              <a:defRPr sz="1200" b="1">
                <a:latin typeface="Inter"/>
                <a:ea typeface="Inter"/>
                <a:cs typeface="Inter"/>
                <a:sym typeface="Inter"/>
              </a:defRPr>
            </a:lvl8pPr>
            <a:lvl9pPr lvl="8" rtl="0">
              <a:lnSpc>
                <a:spcPct val="100000"/>
              </a:lnSpc>
              <a:spcBef>
                <a:spcPts val="0"/>
              </a:spcBef>
              <a:spcAft>
                <a:spcPts val="0"/>
              </a:spcAft>
              <a:buSzPts val="900"/>
              <a:buFont typeface="Inter"/>
              <a:buNone/>
              <a:defRPr sz="1200" b="1">
                <a:latin typeface="Inter"/>
                <a:ea typeface="Inter"/>
                <a:cs typeface="Inter"/>
                <a:sym typeface="Inter"/>
              </a:defRPr>
            </a:lvl9pPr>
          </a:lstStyle>
          <a:p>
            <a:endParaRPr/>
          </a:p>
        </p:txBody>
      </p:sp>
      <p:sp>
        <p:nvSpPr>
          <p:cNvPr id="2156" name="Google Shape;2156;p60"/>
          <p:cNvSpPr txBox="1">
            <a:spLocks noGrp="1"/>
          </p:cNvSpPr>
          <p:nvPr>
            <p:ph type="subTitle" idx="14"/>
          </p:nvPr>
        </p:nvSpPr>
        <p:spPr>
          <a:xfrm>
            <a:off x="6843600" y="3417075"/>
            <a:ext cx="2046400" cy="470000"/>
          </a:xfrm>
          <a:prstGeom prst="rect">
            <a:avLst/>
          </a:prstGeom>
          <a:noFill/>
        </p:spPr>
        <p:txBody>
          <a:bodyPr spcFirstLastPara="1" wrap="square" lIns="0" tIns="34275" rIns="68575" bIns="34275" anchor="t" anchorCtr="0">
            <a:noAutofit/>
          </a:bodyPr>
          <a:lstStyle>
            <a:lvl1pPr lvl="0" rtl="0">
              <a:lnSpc>
                <a:spcPct val="100000"/>
              </a:lnSpc>
              <a:spcBef>
                <a:spcPts val="0"/>
              </a:spcBef>
              <a:spcAft>
                <a:spcPts val="0"/>
              </a:spcAft>
              <a:buSzPts val="900"/>
              <a:buFont typeface="Inter"/>
              <a:buNone/>
              <a:defRPr sz="1200" b="1"/>
            </a:lvl1pPr>
            <a:lvl2pPr lvl="1" rtl="0">
              <a:lnSpc>
                <a:spcPct val="100000"/>
              </a:lnSpc>
              <a:spcBef>
                <a:spcPts val="0"/>
              </a:spcBef>
              <a:spcAft>
                <a:spcPts val="0"/>
              </a:spcAft>
              <a:buSzPts val="900"/>
              <a:buFont typeface="Inter"/>
              <a:buNone/>
              <a:defRPr sz="1200" b="1"/>
            </a:lvl2pPr>
            <a:lvl3pPr lvl="2" rtl="0">
              <a:lnSpc>
                <a:spcPct val="100000"/>
              </a:lnSpc>
              <a:spcBef>
                <a:spcPts val="0"/>
              </a:spcBef>
              <a:spcAft>
                <a:spcPts val="0"/>
              </a:spcAft>
              <a:buSzPts val="900"/>
              <a:buFont typeface="Inter"/>
              <a:buNone/>
              <a:defRPr sz="1200" b="1"/>
            </a:lvl3pPr>
            <a:lvl4pPr lvl="3" rtl="0">
              <a:lnSpc>
                <a:spcPct val="100000"/>
              </a:lnSpc>
              <a:spcBef>
                <a:spcPts val="0"/>
              </a:spcBef>
              <a:spcAft>
                <a:spcPts val="0"/>
              </a:spcAft>
              <a:buSzPts val="900"/>
              <a:buFont typeface="Inter"/>
              <a:buNone/>
              <a:defRPr sz="1200" b="1"/>
            </a:lvl4pPr>
            <a:lvl5pPr lvl="4" rtl="0">
              <a:lnSpc>
                <a:spcPct val="100000"/>
              </a:lnSpc>
              <a:spcBef>
                <a:spcPts val="0"/>
              </a:spcBef>
              <a:spcAft>
                <a:spcPts val="0"/>
              </a:spcAft>
              <a:buSzPts val="900"/>
              <a:buFont typeface="Inter"/>
              <a:buNone/>
              <a:defRPr sz="1200" b="1"/>
            </a:lvl5pPr>
            <a:lvl6pPr lvl="5" rtl="0">
              <a:lnSpc>
                <a:spcPct val="100000"/>
              </a:lnSpc>
              <a:spcBef>
                <a:spcPts val="0"/>
              </a:spcBef>
              <a:spcAft>
                <a:spcPts val="0"/>
              </a:spcAft>
              <a:buSzPts val="900"/>
              <a:buFont typeface="Inter"/>
              <a:buNone/>
              <a:defRPr sz="1200" b="1">
                <a:latin typeface="Inter"/>
                <a:ea typeface="Inter"/>
                <a:cs typeface="Inter"/>
                <a:sym typeface="Inter"/>
              </a:defRPr>
            </a:lvl6pPr>
            <a:lvl7pPr lvl="6" rtl="0">
              <a:lnSpc>
                <a:spcPct val="100000"/>
              </a:lnSpc>
              <a:spcBef>
                <a:spcPts val="0"/>
              </a:spcBef>
              <a:spcAft>
                <a:spcPts val="0"/>
              </a:spcAft>
              <a:buSzPts val="900"/>
              <a:buFont typeface="Inter"/>
              <a:buNone/>
              <a:defRPr sz="1200" b="1">
                <a:latin typeface="Inter"/>
                <a:ea typeface="Inter"/>
                <a:cs typeface="Inter"/>
                <a:sym typeface="Inter"/>
              </a:defRPr>
            </a:lvl7pPr>
            <a:lvl8pPr lvl="7" rtl="0">
              <a:lnSpc>
                <a:spcPct val="100000"/>
              </a:lnSpc>
              <a:spcBef>
                <a:spcPts val="0"/>
              </a:spcBef>
              <a:spcAft>
                <a:spcPts val="0"/>
              </a:spcAft>
              <a:buSzPts val="900"/>
              <a:buFont typeface="Inter"/>
              <a:buNone/>
              <a:defRPr sz="1200" b="1">
                <a:latin typeface="Inter"/>
                <a:ea typeface="Inter"/>
                <a:cs typeface="Inter"/>
                <a:sym typeface="Inter"/>
              </a:defRPr>
            </a:lvl8pPr>
            <a:lvl9pPr lvl="8" rtl="0">
              <a:lnSpc>
                <a:spcPct val="100000"/>
              </a:lnSpc>
              <a:spcBef>
                <a:spcPts val="0"/>
              </a:spcBef>
              <a:spcAft>
                <a:spcPts val="0"/>
              </a:spcAft>
              <a:buSzPts val="900"/>
              <a:buFont typeface="Inter"/>
              <a:buNone/>
              <a:defRPr sz="1200" b="1">
                <a:latin typeface="Inter"/>
                <a:ea typeface="Inter"/>
                <a:cs typeface="Inter"/>
                <a:sym typeface="Inter"/>
              </a:defRPr>
            </a:lvl9pPr>
          </a:lstStyle>
          <a:p>
            <a:endParaRPr/>
          </a:p>
        </p:txBody>
      </p:sp>
      <p:sp>
        <p:nvSpPr>
          <p:cNvPr id="2157" name="Google Shape;2157;p60"/>
          <p:cNvSpPr txBox="1">
            <a:spLocks noGrp="1"/>
          </p:cNvSpPr>
          <p:nvPr>
            <p:ph type="subTitle" idx="15"/>
          </p:nvPr>
        </p:nvSpPr>
        <p:spPr>
          <a:xfrm>
            <a:off x="9648867" y="3417075"/>
            <a:ext cx="2046400" cy="470000"/>
          </a:xfrm>
          <a:prstGeom prst="rect">
            <a:avLst/>
          </a:prstGeom>
          <a:noFill/>
        </p:spPr>
        <p:txBody>
          <a:bodyPr spcFirstLastPara="1" wrap="square" lIns="0" tIns="34275" rIns="68575" bIns="34275" anchor="t" anchorCtr="0">
            <a:noAutofit/>
          </a:bodyPr>
          <a:lstStyle>
            <a:lvl1pPr lvl="0" rtl="0">
              <a:lnSpc>
                <a:spcPct val="100000"/>
              </a:lnSpc>
              <a:spcBef>
                <a:spcPts val="0"/>
              </a:spcBef>
              <a:spcAft>
                <a:spcPts val="0"/>
              </a:spcAft>
              <a:buSzPts val="900"/>
              <a:buFont typeface="Inter"/>
              <a:buNone/>
              <a:defRPr sz="1200" b="1"/>
            </a:lvl1pPr>
            <a:lvl2pPr lvl="1" rtl="0">
              <a:lnSpc>
                <a:spcPct val="100000"/>
              </a:lnSpc>
              <a:spcBef>
                <a:spcPts val="0"/>
              </a:spcBef>
              <a:spcAft>
                <a:spcPts val="0"/>
              </a:spcAft>
              <a:buSzPts val="900"/>
              <a:buFont typeface="Inter"/>
              <a:buNone/>
              <a:defRPr sz="1200" b="1"/>
            </a:lvl2pPr>
            <a:lvl3pPr lvl="2" rtl="0">
              <a:lnSpc>
                <a:spcPct val="100000"/>
              </a:lnSpc>
              <a:spcBef>
                <a:spcPts val="0"/>
              </a:spcBef>
              <a:spcAft>
                <a:spcPts val="0"/>
              </a:spcAft>
              <a:buSzPts val="900"/>
              <a:buFont typeface="Inter"/>
              <a:buNone/>
              <a:defRPr sz="1200" b="1"/>
            </a:lvl3pPr>
            <a:lvl4pPr lvl="3" rtl="0">
              <a:lnSpc>
                <a:spcPct val="100000"/>
              </a:lnSpc>
              <a:spcBef>
                <a:spcPts val="0"/>
              </a:spcBef>
              <a:spcAft>
                <a:spcPts val="0"/>
              </a:spcAft>
              <a:buSzPts val="900"/>
              <a:buFont typeface="Inter"/>
              <a:buNone/>
              <a:defRPr sz="1200" b="1"/>
            </a:lvl4pPr>
            <a:lvl5pPr lvl="4" rtl="0">
              <a:lnSpc>
                <a:spcPct val="100000"/>
              </a:lnSpc>
              <a:spcBef>
                <a:spcPts val="0"/>
              </a:spcBef>
              <a:spcAft>
                <a:spcPts val="0"/>
              </a:spcAft>
              <a:buSzPts val="900"/>
              <a:buFont typeface="Inter"/>
              <a:buNone/>
              <a:defRPr sz="1200" b="1"/>
            </a:lvl5pPr>
            <a:lvl6pPr lvl="5" rtl="0">
              <a:lnSpc>
                <a:spcPct val="100000"/>
              </a:lnSpc>
              <a:spcBef>
                <a:spcPts val="0"/>
              </a:spcBef>
              <a:spcAft>
                <a:spcPts val="0"/>
              </a:spcAft>
              <a:buSzPts val="900"/>
              <a:buFont typeface="Inter"/>
              <a:buNone/>
              <a:defRPr sz="1200" b="1">
                <a:latin typeface="Inter"/>
                <a:ea typeface="Inter"/>
                <a:cs typeface="Inter"/>
                <a:sym typeface="Inter"/>
              </a:defRPr>
            </a:lvl6pPr>
            <a:lvl7pPr lvl="6" rtl="0">
              <a:lnSpc>
                <a:spcPct val="100000"/>
              </a:lnSpc>
              <a:spcBef>
                <a:spcPts val="0"/>
              </a:spcBef>
              <a:spcAft>
                <a:spcPts val="0"/>
              </a:spcAft>
              <a:buSzPts val="900"/>
              <a:buFont typeface="Inter"/>
              <a:buNone/>
              <a:defRPr sz="1200" b="1">
                <a:latin typeface="Inter"/>
                <a:ea typeface="Inter"/>
                <a:cs typeface="Inter"/>
                <a:sym typeface="Inter"/>
              </a:defRPr>
            </a:lvl7pPr>
            <a:lvl8pPr lvl="7" rtl="0">
              <a:lnSpc>
                <a:spcPct val="100000"/>
              </a:lnSpc>
              <a:spcBef>
                <a:spcPts val="0"/>
              </a:spcBef>
              <a:spcAft>
                <a:spcPts val="0"/>
              </a:spcAft>
              <a:buSzPts val="900"/>
              <a:buFont typeface="Inter"/>
              <a:buNone/>
              <a:defRPr sz="1200" b="1">
                <a:latin typeface="Inter"/>
                <a:ea typeface="Inter"/>
                <a:cs typeface="Inter"/>
                <a:sym typeface="Inter"/>
              </a:defRPr>
            </a:lvl8pPr>
            <a:lvl9pPr lvl="8" rtl="0">
              <a:lnSpc>
                <a:spcPct val="100000"/>
              </a:lnSpc>
              <a:spcBef>
                <a:spcPts val="0"/>
              </a:spcBef>
              <a:spcAft>
                <a:spcPts val="0"/>
              </a:spcAft>
              <a:buSzPts val="900"/>
              <a:buFont typeface="Inter"/>
              <a:buNone/>
              <a:defRPr sz="1200" b="1">
                <a:latin typeface="Inter"/>
                <a:ea typeface="Inter"/>
                <a:cs typeface="Inter"/>
                <a:sym typeface="Inter"/>
              </a:defRPr>
            </a:lvl9pPr>
          </a:lstStyle>
          <a:p>
            <a:endParaRPr/>
          </a:p>
        </p:txBody>
      </p:sp>
      <p:sp>
        <p:nvSpPr>
          <p:cNvPr id="2158" name="Google Shape;2158;p60"/>
          <p:cNvSpPr txBox="1">
            <a:spLocks noGrp="1"/>
          </p:cNvSpPr>
          <p:nvPr>
            <p:ph type="subTitle" idx="16"/>
          </p:nvPr>
        </p:nvSpPr>
        <p:spPr>
          <a:xfrm>
            <a:off x="1159967" y="5642857"/>
            <a:ext cx="2046400" cy="470000"/>
          </a:xfrm>
          <a:prstGeom prst="rect">
            <a:avLst/>
          </a:prstGeom>
          <a:noFill/>
        </p:spPr>
        <p:txBody>
          <a:bodyPr spcFirstLastPara="1" wrap="square" lIns="0" tIns="34275" rIns="68575" bIns="34275" anchor="t" anchorCtr="0">
            <a:noAutofit/>
          </a:bodyPr>
          <a:lstStyle>
            <a:lvl1pPr lvl="0" rtl="0">
              <a:lnSpc>
                <a:spcPct val="100000"/>
              </a:lnSpc>
              <a:spcBef>
                <a:spcPts val="0"/>
              </a:spcBef>
              <a:spcAft>
                <a:spcPts val="0"/>
              </a:spcAft>
              <a:buSzPts val="900"/>
              <a:buFont typeface="Inter"/>
              <a:buNone/>
              <a:defRPr sz="1200" b="1"/>
            </a:lvl1pPr>
            <a:lvl2pPr lvl="1" rtl="0">
              <a:lnSpc>
                <a:spcPct val="100000"/>
              </a:lnSpc>
              <a:spcBef>
                <a:spcPts val="0"/>
              </a:spcBef>
              <a:spcAft>
                <a:spcPts val="0"/>
              </a:spcAft>
              <a:buSzPts val="900"/>
              <a:buFont typeface="Inter"/>
              <a:buNone/>
              <a:defRPr sz="1200" b="1"/>
            </a:lvl2pPr>
            <a:lvl3pPr lvl="2" rtl="0">
              <a:lnSpc>
                <a:spcPct val="100000"/>
              </a:lnSpc>
              <a:spcBef>
                <a:spcPts val="0"/>
              </a:spcBef>
              <a:spcAft>
                <a:spcPts val="0"/>
              </a:spcAft>
              <a:buSzPts val="900"/>
              <a:buFont typeface="Inter"/>
              <a:buNone/>
              <a:defRPr sz="1200" b="1"/>
            </a:lvl3pPr>
            <a:lvl4pPr lvl="3" rtl="0">
              <a:lnSpc>
                <a:spcPct val="100000"/>
              </a:lnSpc>
              <a:spcBef>
                <a:spcPts val="0"/>
              </a:spcBef>
              <a:spcAft>
                <a:spcPts val="0"/>
              </a:spcAft>
              <a:buSzPts val="900"/>
              <a:buFont typeface="Inter"/>
              <a:buNone/>
              <a:defRPr sz="1200" b="1"/>
            </a:lvl4pPr>
            <a:lvl5pPr lvl="4" rtl="0">
              <a:lnSpc>
                <a:spcPct val="100000"/>
              </a:lnSpc>
              <a:spcBef>
                <a:spcPts val="0"/>
              </a:spcBef>
              <a:spcAft>
                <a:spcPts val="0"/>
              </a:spcAft>
              <a:buSzPts val="900"/>
              <a:buFont typeface="Inter"/>
              <a:buNone/>
              <a:defRPr sz="1200" b="1"/>
            </a:lvl5pPr>
            <a:lvl6pPr lvl="5" rtl="0">
              <a:lnSpc>
                <a:spcPct val="100000"/>
              </a:lnSpc>
              <a:spcBef>
                <a:spcPts val="0"/>
              </a:spcBef>
              <a:spcAft>
                <a:spcPts val="0"/>
              </a:spcAft>
              <a:buSzPts val="900"/>
              <a:buFont typeface="Inter"/>
              <a:buNone/>
              <a:defRPr sz="1200" b="1">
                <a:latin typeface="Inter"/>
                <a:ea typeface="Inter"/>
                <a:cs typeface="Inter"/>
                <a:sym typeface="Inter"/>
              </a:defRPr>
            </a:lvl6pPr>
            <a:lvl7pPr lvl="6" rtl="0">
              <a:lnSpc>
                <a:spcPct val="100000"/>
              </a:lnSpc>
              <a:spcBef>
                <a:spcPts val="0"/>
              </a:spcBef>
              <a:spcAft>
                <a:spcPts val="0"/>
              </a:spcAft>
              <a:buSzPts val="900"/>
              <a:buFont typeface="Inter"/>
              <a:buNone/>
              <a:defRPr sz="1200" b="1">
                <a:latin typeface="Inter"/>
                <a:ea typeface="Inter"/>
                <a:cs typeface="Inter"/>
                <a:sym typeface="Inter"/>
              </a:defRPr>
            </a:lvl7pPr>
            <a:lvl8pPr lvl="7" rtl="0">
              <a:lnSpc>
                <a:spcPct val="100000"/>
              </a:lnSpc>
              <a:spcBef>
                <a:spcPts val="0"/>
              </a:spcBef>
              <a:spcAft>
                <a:spcPts val="0"/>
              </a:spcAft>
              <a:buSzPts val="900"/>
              <a:buFont typeface="Inter"/>
              <a:buNone/>
              <a:defRPr sz="1200" b="1">
                <a:latin typeface="Inter"/>
                <a:ea typeface="Inter"/>
                <a:cs typeface="Inter"/>
                <a:sym typeface="Inter"/>
              </a:defRPr>
            </a:lvl8pPr>
            <a:lvl9pPr lvl="8" rtl="0">
              <a:lnSpc>
                <a:spcPct val="100000"/>
              </a:lnSpc>
              <a:spcBef>
                <a:spcPts val="0"/>
              </a:spcBef>
              <a:spcAft>
                <a:spcPts val="0"/>
              </a:spcAft>
              <a:buSzPts val="900"/>
              <a:buFont typeface="Inter"/>
              <a:buNone/>
              <a:defRPr sz="1200" b="1">
                <a:latin typeface="Inter"/>
                <a:ea typeface="Inter"/>
                <a:cs typeface="Inter"/>
                <a:sym typeface="Inter"/>
              </a:defRPr>
            </a:lvl9pPr>
          </a:lstStyle>
          <a:p>
            <a:endParaRPr/>
          </a:p>
        </p:txBody>
      </p:sp>
      <p:sp>
        <p:nvSpPr>
          <p:cNvPr id="2159" name="Google Shape;2159;p60"/>
          <p:cNvSpPr txBox="1">
            <a:spLocks noGrp="1"/>
          </p:cNvSpPr>
          <p:nvPr>
            <p:ph type="subTitle" idx="17"/>
          </p:nvPr>
        </p:nvSpPr>
        <p:spPr>
          <a:xfrm>
            <a:off x="3970600" y="5642857"/>
            <a:ext cx="2046400" cy="470000"/>
          </a:xfrm>
          <a:prstGeom prst="rect">
            <a:avLst/>
          </a:prstGeom>
          <a:noFill/>
        </p:spPr>
        <p:txBody>
          <a:bodyPr spcFirstLastPara="1" wrap="square" lIns="0" tIns="34275" rIns="68575" bIns="34275" anchor="t" anchorCtr="0">
            <a:noAutofit/>
          </a:bodyPr>
          <a:lstStyle>
            <a:lvl1pPr lvl="0" rtl="0">
              <a:lnSpc>
                <a:spcPct val="100000"/>
              </a:lnSpc>
              <a:spcBef>
                <a:spcPts val="0"/>
              </a:spcBef>
              <a:spcAft>
                <a:spcPts val="0"/>
              </a:spcAft>
              <a:buSzPts val="900"/>
              <a:buFont typeface="Inter"/>
              <a:buNone/>
              <a:defRPr sz="1200" b="1"/>
            </a:lvl1pPr>
            <a:lvl2pPr lvl="1" rtl="0">
              <a:lnSpc>
                <a:spcPct val="100000"/>
              </a:lnSpc>
              <a:spcBef>
                <a:spcPts val="0"/>
              </a:spcBef>
              <a:spcAft>
                <a:spcPts val="0"/>
              </a:spcAft>
              <a:buSzPts val="900"/>
              <a:buFont typeface="Inter"/>
              <a:buNone/>
              <a:defRPr sz="1200" b="1"/>
            </a:lvl2pPr>
            <a:lvl3pPr lvl="2" rtl="0">
              <a:lnSpc>
                <a:spcPct val="100000"/>
              </a:lnSpc>
              <a:spcBef>
                <a:spcPts val="0"/>
              </a:spcBef>
              <a:spcAft>
                <a:spcPts val="0"/>
              </a:spcAft>
              <a:buSzPts val="900"/>
              <a:buFont typeface="Inter"/>
              <a:buNone/>
              <a:defRPr sz="1200" b="1"/>
            </a:lvl3pPr>
            <a:lvl4pPr lvl="3" rtl="0">
              <a:lnSpc>
                <a:spcPct val="100000"/>
              </a:lnSpc>
              <a:spcBef>
                <a:spcPts val="0"/>
              </a:spcBef>
              <a:spcAft>
                <a:spcPts val="0"/>
              </a:spcAft>
              <a:buSzPts val="900"/>
              <a:buFont typeface="Inter"/>
              <a:buNone/>
              <a:defRPr sz="1200" b="1"/>
            </a:lvl4pPr>
            <a:lvl5pPr lvl="4" rtl="0">
              <a:lnSpc>
                <a:spcPct val="100000"/>
              </a:lnSpc>
              <a:spcBef>
                <a:spcPts val="0"/>
              </a:spcBef>
              <a:spcAft>
                <a:spcPts val="0"/>
              </a:spcAft>
              <a:buSzPts val="900"/>
              <a:buFont typeface="Inter"/>
              <a:buNone/>
              <a:defRPr sz="1200" b="1"/>
            </a:lvl5pPr>
            <a:lvl6pPr lvl="5" rtl="0">
              <a:lnSpc>
                <a:spcPct val="100000"/>
              </a:lnSpc>
              <a:spcBef>
                <a:spcPts val="0"/>
              </a:spcBef>
              <a:spcAft>
                <a:spcPts val="0"/>
              </a:spcAft>
              <a:buSzPts val="900"/>
              <a:buFont typeface="Inter"/>
              <a:buNone/>
              <a:defRPr sz="1200" b="1">
                <a:latin typeface="Inter"/>
                <a:ea typeface="Inter"/>
                <a:cs typeface="Inter"/>
                <a:sym typeface="Inter"/>
              </a:defRPr>
            </a:lvl6pPr>
            <a:lvl7pPr lvl="6" rtl="0">
              <a:lnSpc>
                <a:spcPct val="100000"/>
              </a:lnSpc>
              <a:spcBef>
                <a:spcPts val="0"/>
              </a:spcBef>
              <a:spcAft>
                <a:spcPts val="0"/>
              </a:spcAft>
              <a:buSzPts val="900"/>
              <a:buFont typeface="Inter"/>
              <a:buNone/>
              <a:defRPr sz="1200" b="1">
                <a:latin typeface="Inter"/>
                <a:ea typeface="Inter"/>
                <a:cs typeface="Inter"/>
                <a:sym typeface="Inter"/>
              </a:defRPr>
            </a:lvl7pPr>
            <a:lvl8pPr lvl="7" rtl="0">
              <a:lnSpc>
                <a:spcPct val="100000"/>
              </a:lnSpc>
              <a:spcBef>
                <a:spcPts val="0"/>
              </a:spcBef>
              <a:spcAft>
                <a:spcPts val="0"/>
              </a:spcAft>
              <a:buSzPts val="900"/>
              <a:buFont typeface="Inter"/>
              <a:buNone/>
              <a:defRPr sz="1200" b="1">
                <a:latin typeface="Inter"/>
                <a:ea typeface="Inter"/>
                <a:cs typeface="Inter"/>
                <a:sym typeface="Inter"/>
              </a:defRPr>
            </a:lvl8pPr>
            <a:lvl9pPr lvl="8" rtl="0">
              <a:lnSpc>
                <a:spcPct val="100000"/>
              </a:lnSpc>
              <a:spcBef>
                <a:spcPts val="0"/>
              </a:spcBef>
              <a:spcAft>
                <a:spcPts val="0"/>
              </a:spcAft>
              <a:buSzPts val="900"/>
              <a:buFont typeface="Inter"/>
              <a:buNone/>
              <a:defRPr sz="1200" b="1">
                <a:latin typeface="Inter"/>
                <a:ea typeface="Inter"/>
                <a:cs typeface="Inter"/>
                <a:sym typeface="Inter"/>
              </a:defRPr>
            </a:lvl9pPr>
          </a:lstStyle>
          <a:p>
            <a:endParaRPr/>
          </a:p>
        </p:txBody>
      </p:sp>
      <p:sp>
        <p:nvSpPr>
          <p:cNvPr id="2160" name="Google Shape;2160;p60"/>
          <p:cNvSpPr txBox="1">
            <a:spLocks noGrp="1"/>
          </p:cNvSpPr>
          <p:nvPr>
            <p:ph type="subTitle" idx="18"/>
          </p:nvPr>
        </p:nvSpPr>
        <p:spPr>
          <a:xfrm>
            <a:off x="6843600" y="5642857"/>
            <a:ext cx="2046400" cy="470000"/>
          </a:xfrm>
          <a:prstGeom prst="rect">
            <a:avLst/>
          </a:prstGeom>
          <a:noFill/>
        </p:spPr>
        <p:txBody>
          <a:bodyPr spcFirstLastPara="1" wrap="square" lIns="0" tIns="34275" rIns="68575" bIns="34275" anchor="t" anchorCtr="0">
            <a:noAutofit/>
          </a:bodyPr>
          <a:lstStyle>
            <a:lvl1pPr lvl="0" rtl="0">
              <a:lnSpc>
                <a:spcPct val="100000"/>
              </a:lnSpc>
              <a:spcBef>
                <a:spcPts val="0"/>
              </a:spcBef>
              <a:spcAft>
                <a:spcPts val="0"/>
              </a:spcAft>
              <a:buSzPts val="900"/>
              <a:buFont typeface="Inter"/>
              <a:buNone/>
              <a:defRPr sz="1200" b="1"/>
            </a:lvl1pPr>
            <a:lvl2pPr lvl="1" rtl="0">
              <a:lnSpc>
                <a:spcPct val="100000"/>
              </a:lnSpc>
              <a:spcBef>
                <a:spcPts val="0"/>
              </a:spcBef>
              <a:spcAft>
                <a:spcPts val="0"/>
              </a:spcAft>
              <a:buSzPts val="900"/>
              <a:buFont typeface="Inter"/>
              <a:buNone/>
              <a:defRPr sz="1200" b="1"/>
            </a:lvl2pPr>
            <a:lvl3pPr lvl="2" rtl="0">
              <a:lnSpc>
                <a:spcPct val="100000"/>
              </a:lnSpc>
              <a:spcBef>
                <a:spcPts val="0"/>
              </a:spcBef>
              <a:spcAft>
                <a:spcPts val="0"/>
              </a:spcAft>
              <a:buSzPts val="900"/>
              <a:buFont typeface="Inter"/>
              <a:buNone/>
              <a:defRPr sz="1200" b="1"/>
            </a:lvl3pPr>
            <a:lvl4pPr lvl="3" rtl="0">
              <a:lnSpc>
                <a:spcPct val="100000"/>
              </a:lnSpc>
              <a:spcBef>
                <a:spcPts val="0"/>
              </a:spcBef>
              <a:spcAft>
                <a:spcPts val="0"/>
              </a:spcAft>
              <a:buSzPts val="900"/>
              <a:buFont typeface="Inter"/>
              <a:buNone/>
              <a:defRPr sz="1200" b="1"/>
            </a:lvl4pPr>
            <a:lvl5pPr lvl="4" rtl="0">
              <a:lnSpc>
                <a:spcPct val="100000"/>
              </a:lnSpc>
              <a:spcBef>
                <a:spcPts val="0"/>
              </a:spcBef>
              <a:spcAft>
                <a:spcPts val="0"/>
              </a:spcAft>
              <a:buSzPts val="900"/>
              <a:buFont typeface="Inter"/>
              <a:buNone/>
              <a:defRPr sz="1200" b="1"/>
            </a:lvl5pPr>
            <a:lvl6pPr lvl="5" rtl="0">
              <a:lnSpc>
                <a:spcPct val="100000"/>
              </a:lnSpc>
              <a:spcBef>
                <a:spcPts val="0"/>
              </a:spcBef>
              <a:spcAft>
                <a:spcPts val="0"/>
              </a:spcAft>
              <a:buSzPts val="900"/>
              <a:buFont typeface="Inter"/>
              <a:buNone/>
              <a:defRPr sz="1200" b="1">
                <a:latin typeface="Inter"/>
                <a:ea typeface="Inter"/>
                <a:cs typeface="Inter"/>
                <a:sym typeface="Inter"/>
              </a:defRPr>
            </a:lvl6pPr>
            <a:lvl7pPr lvl="6" rtl="0">
              <a:lnSpc>
                <a:spcPct val="100000"/>
              </a:lnSpc>
              <a:spcBef>
                <a:spcPts val="0"/>
              </a:spcBef>
              <a:spcAft>
                <a:spcPts val="0"/>
              </a:spcAft>
              <a:buSzPts val="900"/>
              <a:buFont typeface="Inter"/>
              <a:buNone/>
              <a:defRPr sz="1200" b="1">
                <a:latin typeface="Inter"/>
                <a:ea typeface="Inter"/>
                <a:cs typeface="Inter"/>
                <a:sym typeface="Inter"/>
              </a:defRPr>
            </a:lvl7pPr>
            <a:lvl8pPr lvl="7" rtl="0">
              <a:lnSpc>
                <a:spcPct val="100000"/>
              </a:lnSpc>
              <a:spcBef>
                <a:spcPts val="0"/>
              </a:spcBef>
              <a:spcAft>
                <a:spcPts val="0"/>
              </a:spcAft>
              <a:buSzPts val="900"/>
              <a:buFont typeface="Inter"/>
              <a:buNone/>
              <a:defRPr sz="1200" b="1">
                <a:latin typeface="Inter"/>
                <a:ea typeface="Inter"/>
                <a:cs typeface="Inter"/>
                <a:sym typeface="Inter"/>
              </a:defRPr>
            </a:lvl8pPr>
            <a:lvl9pPr lvl="8" rtl="0">
              <a:lnSpc>
                <a:spcPct val="100000"/>
              </a:lnSpc>
              <a:spcBef>
                <a:spcPts val="0"/>
              </a:spcBef>
              <a:spcAft>
                <a:spcPts val="0"/>
              </a:spcAft>
              <a:buSzPts val="900"/>
              <a:buFont typeface="Inter"/>
              <a:buNone/>
              <a:defRPr sz="1200" b="1">
                <a:latin typeface="Inter"/>
                <a:ea typeface="Inter"/>
                <a:cs typeface="Inter"/>
                <a:sym typeface="Inter"/>
              </a:defRPr>
            </a:lvl9pPr>
          </a:lstStyle>
          <a:p>
            <a:endParaRPr/>
          </a:p>
        </p:txBody>
      </p:sp>
      <p:sp>
        <p:nvSpPr>
          <p:cNvPr id="2161" name="Google Shape;2161;p60"/>
          <p:cNvSpPr txBox="1">
            <a:spLocks noGrp="1"/>
          </p:cNvSpPr>
          <p:nvPr>
            <p:ph type="subTitle" idx="19"/>
          </p:nvPr>
        </p:nvSpPr>
        <p:spPr>
          <a:xfrm>
            <a:off x="9648867" y="5642857"/>
            <a:ext cx="2046400" cy="470000"/>
          </a:xfrm>
          <a:prstGeom prst="rect">
            <a:avLst/>
          </a:prstGeom>
          <a:noFill/>
        </p:spPr>
        <p:txBody>
          <a:bodyPr spcFirstLastPara="1" wrap="square" lIns="0" tIns="34275" rIns="68575" bIns="34275" anchor="t" anchorCtr="0">
            <a:noAutofit/>
          </a:bodyPr>
          <a:lstStyle>
            <a:lvl1pPr lvl="0" rtl="0">
              <a:lnSpc>
                <a:spcPct val="100000"/>
              </a:lnSpc>
              <a:spcBef>
                <a:spcPts val="0"/>
              </a:spcBef>
              <a:spcAft>
                <a:spcPts val="0"/>
              </a:spcAft>
              <a:buSzPts val="900"/>
              <a:buFont typeface="Inter"/>
              <a:buNone/>
              <a:defRPr sz="1200" b="1"/>
            </a:lvl1pPr>
            <a:lvl2pPr lvl="1" rtl="0">
              <a:lnSpc>
                <a:spcPct val="100000"/>
              </a:lnSpc>
              <a:spcBef>
                <a:spcPts val="0"/>
              </a:spcBef>
              <a:spcAft>
                <a:spcPts val="0"/>
              </a:spcAft>
              <a:buSzPts val="900"/>
              <a:buFont typeface="Inter"/>
              <a:buNone/>
              <a:defRPr sz="1200" b="1"/>
            </a:lvl2pPr>
            <a:lvl3pPr lvl="2" rtl="0">
              <a:lnSpc>
                <a:spcPct val="100000"/>
              </a:lnSpc>
              <a:spcBef>
                <a:spcPts val="0"/>
              </a:spcBef>
              <a:spcAft>
                <a:spcPts val="0"/>
              </a:spcAft>
              <a:buSzPts val="900"/>
              <a:buFont typeface="Inter"/>
              <a:buNone/>
              <a:defRPr sz="1200" b="1"/>
            </a:lvl3pPr>
            <a:lvl4pPr lvl="3" rtl="0">
              <a:lnSpc>
                <a:spcPct val="100000"/>
              </a:lnSpc>
              <a:spcBef>
                <a:spcPts val="0"/>
              </a:spcBef>
              <a:spcAft>
                <a:spcPts val="0"/>
              </a:spcAft>
              <a:buSzPts val="900"/>
              <a:buFont typeface="Inter"/>
              <a:buNone/>
              <a:defRPr sz="1200" b="1"/>
            </a:lvl4pPr>
            <a:lvl5pPr lvl="4" rtl="0">
              <a:lnSpc>
                <a:spcPct val="100000"/>
              </a:lnSpc>
              <a:spcBef>
                <a:spcPts val="0"/>
              </a:spcBef>
              <a:spcAft>
                <a:spcPts val="0"/>
              </a:spcAft>
              <a:buSzPts val="900"/>
              <a:buFont typeface="Inter"/>
              <a:buNone/>
              <a:defRPr sz="1200" b="1"/>
            </a:lvl5pPr>
            <a:lvl6pPr lvl="5" rtl="0">
              <a:lnSpc>
                <a:spcPct val="100000"/>
              </a:lnSpc>
              <a:spcBef>
                <a:spcPts val="0"/>
              </a:spcBef>
              <a:spcAft>
                <a:spcPts val="0"/>
              </a:spcAft>
              <a:buSzPts val="900"/>
              <a:buFont typeface="Inter"/>
              <a:buNone/>
              <a:defRPr sz="1200" b="1">
                <a:latin typeface="Inter"/>
                <a:ea typeface="Inter"/>
                <a:cs typeface="Inter"/>
                <a:sym typeface="Inter"/>
              </a:defRPr>
            </a:lvl6pPr>
            <a:lvl7pPr lvl="6" rtl="0">
              <a:lnSpc>
                <a:spcPct val="100000"/>
              </a:lnSpc>
              <a:spcBef>
                <a:spcPts val="0"/>
              </a:spcBef>
              <a:spcAft>
                <a:spcPts val="0"/>
              </a:spcAft>
              <a:buSzPts val="900"/>
              <a:buFont typeface="Inter"/>
              <a:buNone/>
              <a:defRPr sz="1200" b="1">
                <a:latin typeface="Inter"/>
                <a:ea typeface="Inter"/>
                <a:cs typeface="Inter"/>
                <a:sym typeface="Inter"/>
              </a:defRPr>
            </a:lvl7pPr>
            <a:lvl8pPr lvl="7" rtl="0">
              <a:lnSpc>
                <a:spcPct val="100000"/>
              </a:lnSpc>
              <a:spcBef>
                <a:spcPts val="0"/>
              </a:spcBef>
              <a:spcAft>
                <a:spcPts val="0"/>
              </a:spcAft>
              <a:buSzPts val="900"/>
              <a:buFont typeface="Inter"/>
              <a:buNone/>
              <a:defRPr sz="1200" b="1">
                <a:latin typeface="Inter"/>
                <a:ea typeface="Inter"/>
                <a:cs typeface="Inter"/>
                <a:sym typeface="Inter"/>
              </a:defRPr>
            </a:lvl8pPr>
            <a:lvl9pPr lvl="8" rtl="0">
              <a:lnSpc>
                <a:spcPct val="100000"/>
              </a:lnSpc>
              <a:spcBef>
                <a:spcPts val="0"/>
              </a:spcBef>
              <a:spcAft>
                <a:spcPts val="0"/>
              </a:spcAft>
              <a:buSzPts val="900"/>
              <a:buFont typeface="Inter"/>
              <a:buNone/>
              <a:defRPr sz="1200" b="1">
                <a:latin typeface="Inter"/>
                <a:ea typeface="Inter"/>
                <a:cs typeface="Inter"/>
                <a:sym typeface="Inter"/>
              </a:defRPr>
            </a:lvl9pPr>
          </a:lstStyle>
          <a:p>
            <a:endParaRPr/>
          </a:p>
        </p:txBody>
      </p:sp>
    </p:spTree>
    <p:extLst>
      <p:ext uri="{BB962C8B-B14F-4D97-AF65-F5344CB8AC3E}">
        <p14:creationId xmlns:p14="http://schemas.microsoft.com/office/powerpoint/2010/main" val="177959607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matchingName="Profile pics - 9">
  <p:cSld name="Profile pics - 9">
    <p:bg>
      <p:bgPr>
        <a:solidFill>
          <a:schemeClr val="lt2"/>
        </a:solidFill>
        <a:effectLst/>
      </p:bgPr>
    </p:bg>
    <p:spTree>
      <p:nvGrpSpPr>
        <p:cNvPr id="1" name="Shape 2162"/>
        <p:cNvGrpSpPr/>
        <p:nvPr/>
      </p:nvGrpSpPr>
      <p:grpSpPr>
        <a:xfrm>
          <a:off x="0" y="0"/>
          <a:ext cx="0" cy="0"/>
          <a:chOff x="0" y="0"/>
          <a:chExt cx="0" cy="0"/>
        </a:xfrm>
      </p:grpSpPr>
      <p:grpSp>
        <p:nvGrpSpPr>
          <p:cNvPr id="2163" name="Google Shape;2163;p61"/>
          <p:cNvGrpSpPr/>
          <p:nvPr/>
        </p:nvGrpSpPr>
        <p:grpSpPr>
          <a:xfrm>
            <a:off x="1032707" y="2049254"/>
            <a:ext cx="1221155" cy="1221575"/>
            <a:chOff x="469730" y="1536940"/>
            <a:chExt cx="915866" cy="916181"/>
          </a:xfrm>
        </p:grpSpPr>
        <p:sp>
          <p:nvSpPr>
            <p:cNvPr id="2164" name="Google Shape;2164;p61"/>
            <p:cNvSpPr/>
            <p:nvPr/>
          </p:nvSpPr>
          <p:spPr>
            <a:xfrm>
              <a:off x="469730" y="1536940"/>
              <a:ext cx="798000" cy="7983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sp>
          <p:nvSpPr>
            <p:cNvPr id="2165" name="Google Shape;2165;p61"/>
            <p:cNvSpPr/>
            <p:nvPr/>
          </p:nvSpPr>
          <p:spPr>
            <a:xfrm>
              <a:off x="528663" y="1595880"/>
              <a:ext cx="798000" cy="7983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sp>
          <p:nvSpPr>
            <p:cNvPr id="2166" name="Google Shape;2166;p61"/>
            <p:cNvSpPr/>
            <p:nvPr/>
          </p:nvSpPr>
          <p:spPr>
            <a:xfrm>
              <a:off x="587596" y="1654821"/>
              <a:ext cx="798000" cy="7983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sp>
          <p:nvSpPr>
            <p:cNvPr id="2167" name="Google Shape;2167;p61"/>
            <p:cNvSpPr/>
            <p:nvPr/>
          </p:nvSpPr>
          <p:spPr>
            <a:xfrm>
              <a:off x="1257438" y="1542142"/>
              <a:ext cx="118200" cy="118200"/>
            </a:xfrm>
            <a:prstGeom prst="rtTriangle">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sp>
          <p:nvSpPr>
            <p:cNvPr id="2168" name="Google Shape;2168;p61"/>
            <p:cNvSpPr/>
            <p:nvPr/>
          </p:nvSpPr>
          <p:spPr>
            <a:xfrm rot="10800000">
              <a:off x="474720" y="2325320"/>
              <a:ext cx="118200" cy="118200"/>
            </a:xfrm>
            <a:prstGeom prst="rtTriangle">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grpSp>
      <p:grpSp>
        <p:nvGrpSpPr>
          <p:cNvPr id="2169" name="Google Shape;2169;p61"/>
          <p:cNvGrpSpPr/>
          <p:nvPr/>
        </p:nvGrpSpPr>
        <p:grpSpPr>
          <a:xfrm>
            <a:off x="1845508" y="4246769"/>
            <a:ext cx="1221353" cy="1221511"/>
            <a:chOff x="719225" y="1001350"/>
            <a:chExt cx="1184400" cy="1184400"/>
          </a:xfrm>
        </p:grpSpPr>
        <p:sp>
          <p:nvSpPr>
            <p:cNvPr id="2170" name="Google Shape;2170;p61"/>
            <p:cNvSpPr/>
            <p:nvPr/>
          </p:nvSpPr>
          <p:spPr>
            <a:xfrm>
              <a:off x="719225" y="10013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sp>
          <p:nvSpPr>
            <p:cNvPr id="2171" name="Google Shape;2171;p61"/>
            <p:cNvSpPr/>
            <p:nvPr/>
          </p:nvSpPr>
          <p:spPr>
            <a:xfrm>
              <a:off x="795425" y="10775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sp>
          <p:nvSpPr>
            <p:cNvPr id="2172" name="Google Shape;2172;p61"/>
            <p:cNvSpPr/>
            <p:nvPr/>
          </p:nvSpPr>
          <p:spPr>
            <a:xfrm>
              <a:off x="871625" y="11537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sp>
          <p:nvSpPr>
            <p:cNvPr id="2173" name="Google Shape;2173;p61"/>
            <p:cNvSpPr/>
            <p:nvPr/>
          </p:nvSpPr>
          <p:spPr>
            <a:xfrm>
              <a:off x="1737725" y="1008075"/>
              <a:ext cx="152700" cy="152700"/>
            </a:xfrm>
            <a:prstGeom prst="rtTriangle">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sp>
          <p:nvSpPr>
            <p:cNvPr id="2174" name="Google Shape;2174;p61"/>
            <p:cNvSpPr/>
            <p:nvPr/>
          </p:nvSpPr>
          <p:spPr>
            <a:xfrm rot="10800000">
              <a:off x="725809" y="2020700"/>
              <a:ext cx="152700" cy="152700"/>
            </a:xfrm>
            <a:prstGeom prst="rtTriangle">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grpSp>
      <p:grpSp>
        <p:nvGrpSpPr>
          <p:cNvPr id="2175" name="Google Shape;2175;p61"/>
          <p:cNvGrpSpPr/>
          <p:nvPr/>
        </p:nvGrpSpPr>
        <p:grpSpPr>
          <a:xfrm>
            <a:off x="3156965" y="2049254"/>
            <a:ext cx="1221353" cy="1221511"/>
            <a:chOff x="719225" y="1001350"/>
            <a:chExt cx="1184400" cy="1184400"/>
          </a:xfrm>
        </p:grpSpPr>
        <p:sp>
          <p:nvSpPr>
            <p:cNvPr id="2176" name="Google Shape;2176;p61"/>
            <p:cNvSpPr/>
            <p:nvPr/>
          </p:nvSpPr>
          <p:spPr>
            <a:xfrm>
              <a:off x="719225" y="10013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sp>
          <p:nvSpPr>
            <p:cNvPr id="2177" name="Google Shape;2177;p61"/>
            <p:cNvSpPr/>
            <p:nvPr/>
          </p:nvSpPr>
          <p:spPr>
            <a:xfrm>
              <a:off x="795425" y="10775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sp>
          <p:nvSpPr>
            <p:cNvPr id="2178" name="Google Shape;2178;p61"/>
            <p:cNvSpPr/>
            <p:nvPr/>
          </p:nvSpPr>
          <p:spPr>
            <a:xfrm>
              <a:off x="871625" y="11537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sp>
          <p:nvSpPr>
            <p:cNvPr id="2179" name="Google Shape;2179;p61"/>
            <p:cNvSpPr/>
            <p:nvPr/>
          </p:nvSpPr>
          <p:spPr>
            <a:xfrm>
              <a:off x="1737725" y="1008075"/>
              <a:ext cx="152700" cy="152700"/>
            </a:xfrm>
            <a:prstGeom prst="rtTriangle">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sp>
          <p:nvSpPr>
            <p:cNvPr id="2180" name="Google Shape;2180;p61"/>
            <p:cNvSpPr/>
            <p:nvPr/>
          </p:nvSpPr>
          <p:spPr>
            <a:xfrm rot="10800000">
              <a:off x="725809" y="2020700"/>
              <a:ext cx="152700" cy="152700"/>
            </a:xfrm>
            <a:prstGeom prst="rtTriangle">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grpSp>
      <p:grpSp>
        <p:nvGrpSpPr>
          <p:cNvPr id="2181" name="Google Shape;2181;p61"/>
          <p:cNvGrpSpPr/>
          <p:nvPr/>
        </p:nvGrpSpPr>
        <p:grpSpPr>
          <a:xfrm>
            <a:off x="3969765" y="4246769"/>
            <a:ext cx="1221353" cy="1221511"/>
            <a:chOff x="719225" y="1001350"/>
            <a:chExt cx="1184400" cy="1184400"/>
          </a:xfrm>
        </p:grpSpPr>
        <p:sp>
          <p:nvSpPr>
            <p:cNvPr id="2182" name="Google Shape;2182;p61"/>
            <p:cNvSpPr/>
            <p:nvPr/>
          </p:nvSpPr>
          <p:spPr>
            <a:xfrm>
              <a:off x="719225" y="10013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sp>
          <p:nvSpPr>
            <p:cNvPr id="2183" name="Google Shape;2183;p61"/>
            <p:cNvSpPr/>
            <p:nvPr/>
          </p:nvSpPr>
          <p:spPr>
            <a:xfrm>
              <a:off x="795425" y="10775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sp>
          <p:nvSpPr>
            <p:cNvPr id="2184" name="Google Shape;2184;p61"/>
            <p:cNvSpPr/>
            <p:nvPr/>
          </p:nvSpPr>
          <p:spPr>
            <a:xfrm>
              <a:off x="871625" y="11537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sp>
          <p:nvSpPr>
            <p:cNvPr id="2185" name="Google Shape;2185;p61"/>
            <p:cNvSpPr/>
            <p:nvPr/>
          </p:nvSpPr>
          <p:spPr>
            <a:xfrm>
              <a:off x="1737725" y="1008075"/>
              <a:ext cx="152700" cy="152700"/>
            </a:xfrm>
            <a:prstGeom prst="rtTriangle">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sp>
          <p:nvSpPr>
            <p:cNvPr id="2186" name="Google Shape;2186;p61"/>
            <p:cNvSpPr/>
            <p:nvPr/>
          </p:nvSpPr>
          <p:spPr>
            <a:xfrm rot="10800000">
              <a:off x="725809" y="2020700"/>
              <a:ext cx="152700" cy="152700"/>
            </a:xfrm>
            <a:prstGeom prst="rtTriangle">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grpSp>
      <p:grpSp>
        <p:nvGrpSpPr>
          <p:cNvPr id="2187" name="Google Shape;2187;p61"/>
          <p:cNvGrpSpPr/>
          <p:nvPr/>
        </p:nvGrpSpPr>
        <p:grpSpPr>
          <a:xfrm>
            <a:off x="5306869" y="2049254"/>
            <a:ext cx="1221353" cy="1221511"/>
            <a:chOff x="719225" y="1001350"/>
            <a:chExt cx="1184400" cy="1184400"/>
          </a:xfrm>
        </p:grpSpPr>
        <p:sp>
          <p:nvSpPr>
            <p:cNvPr id="2188" name="Google Shape;2188;p61"/>
            <p:cNvSpPr/>
            <p:nvPr/>
          </p:nvSpPr>
          <p:spPr>
            <a:xfrm>
              <a:off x="719225" y="10013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sp>
          <p:nvSpPr>
            <p:cNvPr id="2189" name="Google Shape;2189;p61"/>
            <p:cNvSpPr/>
            <p:nvPr/>
          </p:nvSpPr>
          <p:spPr>
            <a:xfrm>
              <a:off x="795425" y="10775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sp>
          <p:nvSpPr>
            <p:cNvPr id="2190" name="Google Shape;2190;p61"/>
            <p:cNvSpPr/>
            <p:nvPr/>
          </p:nvSpPr>
          <p:spPr>
            <a:xfrm>
              <a:off x="871625" y="11537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sp>
          <p:nvSpPr>
            <p:cNvPr id="2191" name="Google Shape;2191;p61"/>
            <p:cNvSpPr/>
            <p:nvPr/>
          </p:nvSpPr>
          <p:spPr>
            <a:xfrm>
              <a:off x="1737725" y="1008075"/>
              <a:ext cx="152700" cy="152700"/>
            </a:xfrm>
            <a:prstGeom prst="rtTriangle">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sp>
          <p:nvSpPr>
            <p:cNvPr id="2192" name="Google Shape;2192;p61"/>
            <p:cNvSpPr/>
            <p:nvPr/>
          </p:nvSpPr>
          <p:spPr>
            <a:xfrm rot="10800000">
              <a:off x="725809" y="2020700"/>
              <a:ext cx="152700" cy="152700"/>
            </a:xfrm>
            <a:prstGeom prst="rtTriangle">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grpSp>
      <p:grpSp>
        <p:nvGrpSpPr>
          <p:cNvPr id="2193" name="Google Shape;2193;p61"/>
          <p:cNvGrpSpPr/>
          <p:nvPr/>
        </p:nvGrpSpPr>
        <p:grpSpPr>
          <a:xfrm>
            <a:off x="6119669" y="4246769"/>
            <a:ext cx="1221353" cy="1221511"/>
            <a:chOff x="719225" y="1001350"/>
            <a:chExt cx="1184400" cy="1184400"/>
          </a:xfrm>
        </p:grpSpPr>
        <p:sp>
          <p:nvSpPr>
            <p:cNvPr id="2194" name="Google Shape;2194;p61"/>
            <p:cNvSpPr/>
            <p:nvPr/>
          </p:nvSpPr>
          <p:spPr>
            <a:xfrm>
              <a:off x="719225" y="10013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sp>
          <p:nvSpPr>
            <p:cNvPr id="2195" name="Google Shape;2195;p61"/>
            <p:cNvSpPr/>
            <p:nvPr/>
          </p:nvSpPr>
          <p:spPr>
            <a:xfrm>
              <a:off x="795425" y="10775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sp>
          <p:nvSpPr>
            <p:cNvPr id="2196" name="Google Shape;2196;p61"/>
            <p:cNvSpPr/>
            <p:nvPr/>
          </p:nvSpPr>
          <p:spPr>
            <a:xfrm>
              <a:off x="871625" y="11537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sp>
          <p:nvSpPr>
            <p:cNvPr id="2197" name="Google Shape;2197;p61"/>
            <p:cNvSpPr/>
            <p:nvPr/>
          </p:nvSpPr>
          <p:spPr>
            <a:xfrm>
              <a:off x="1737725" y="1008075"/>
              <a:ext cx="152700" cy="152700"/>
            </a:xfrm>
            <a:prstGeom prst="rtTriangle">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sp>
          <p:nvSpPr>
            <p:cNvPr id="2198" name="Google Shape;2198;p61"/>
            <p:cNvSpPr/>
            <p:nvPr/>
          </p:nvSpPr>
          <p:spPr>
            <a:xfrm rot="10800000">
              <a:off x="725809" y="2020700"/>
              <a:ext cx="152700" cy="152700"/>
            </a:xfrm>
            <a:prstGeom prst="rtTriangle">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grpSp>
      <p:grpSp>
        <p:nvGrpSpPr>
          <p:cNvPr id="2199" name="Google Shape;2199;p61"/>
          <p:cNvGrpSpPr/>
          <p:nvPr/>
        </p:nvGrpSpPr>
        <p:grpSpPr>
          <a:xfrm>
            <a:off x="7456773" y="2049254"/>
            <a:ext cx="1221353" cy="1221511"/>
            <a:chOff x="719225" y="1001350"/>
            <a:chExt cx="1184400" cy="1184400"/>
          </a:xfrm>
        </p:grpSpPr>
        <p:sp>
          <p:nvSpPr>
            <p:cNvPr id="2200" name="Google Shape;2200;p61"/>
            <p:cNvSpPr/>
            <p:nvPr/>
          </p:nvSpPr>
          <p:spPr>
            <a:xfrm>
              <a:off x="719225" y="10013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sp>
          <p:nvSpPr>
            <p:cNvPr id="2201" name="Google Shape;2201;p61"/>
            <p:cNvSpPr/>
            <p:nvPr/>
          </p:nvSpPr>
          <p:spPr>
            <a:xfrm>
              <a:off x="795425" y="10775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sp>
          <p:nvSpPr>
            <p:cNvPr id="2202" name="Google Shape;2202;p61"/>
            <p:cNvSpPr/>
            <p:nvPr/>
          </p:nvSpPr>
          <p:spPr>
            <a:xfrm>
              <a:off x="871625" y="11537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sp>
          <p:nvSpPr>
            <p:cNvPr id="2203" name="Google Shape;2203;p61"/>
            <p:cNvSpPr/>
            <p:nvPr/>
          </p:nvSpPr>
          <p:spPr>
            <a:xfrm>
              <a:off x="1737725" y="1008075"/>
              <a:ext cx="152700" cy="152700"/>
            </a:xfrm>
            <a:prstGeom prst="rtTriangle">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sp>
          <p:nvSpPr>
            <p:cNvPr id="2204" name="Google Shape;2204;p61"/>
            <p:cNvSpPr/>
            <p:nvPr/>
          </p:nvSpPr>
          <p:spPr>
            <a:xfrm rot="10800000">
              <a:off x="725809" y="2020700"/>
              <a:ext cx="152700" cy="152700"/>
            </a:xfrm>
            <a:prstGeom prst="rtTriangle">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grpSp>
      <p:grpSp>
        <p:nvGrpSpPr>
          <p:cNvPr id="2205" name="Google Shape;2205;p61"/>
          <p:cNvGrpSpPr/>
          <p:nvPr/>
        </p:nvGrpSpPr>
        <p:grpSpPr>
          <a:xfrm>
            <a:off x="8269573" y="4246769"/>
            <a:ext cx="1221353" cy="1221511"/>
            <a:chOff x="719225" y="1001350"/>
            <a:chExt cx="1184400" cy="1184400"/>
          </a:xfrm>
        </p:grpSpPr>
        <p:sp>
          <p:nvSpPr>
            <p:cNvPr id="2206" name="Google Shape;2206;p61"/>
            <p:cNvSpPr/>
            <p:nvPr/>
          </p:nvSpPr>
          <p:spPr>
            <a:xfrm>
              <a:off x="719225" y="10013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sp>
          <p:nvSpPr>
            <p:cNvPr id="2207" name="Google Shape;2207;p61"/>
            <p:cNvSpPr/>
            <p:nvPr/>
          </p:nvSpPr>
          <p:spPr>
            <a:xfrm>
              <a:off x="795425" y="10775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sp>
          <p:nvSpPr>
            <p:cNvPr id="2208" name="Google Shape;2208;p61"/>
            <p:cNvSpPr/>
            <p:nvPr/>
          </p:nvSpPr>
          <p:spPr>
            <a:xfrm>
              <a:off x="871625" y="11537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sp>
          <p:nvSpPr>
            <p:cNvPr id="2209" name="Google Shape;2209;p61"/>
            <p:cNvSpPr/>
            <p:nvPr/>
          </p:nvSpPr>
          <p:spPr>
            <a:xfrm>
              <a:off x="1737725" y="1008075"/>
              <a:ext cx="152700" cy="152700"/>
            </a:xfrm>
            <a:prstGeom prst="rtTriangle">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sp>
          <p:nvSpPr>
            <p:cNvPr id="2210" name="Google Shape;2210;p61"/>
            <p:cNvSpPr/>
            <p:nvPr/>
          </p:nvSpPr>
          <p:spPr>
            <a:xfrm rot="10800000">
              <a:off x="725809" y="2020700"/>
              <a:ext cx="152700" cy="152700"/>
            </a:xfrm>
            <a:prstGeom prst="rtTriangle">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grpSp>
      <p:sp>
        <p:nvSpPr>
          <p:cNvPr id="2211" name="Google Shape;2211;p61"/>
          <p:cNvSpPr>
            <a:spLocks noGrp="1"/>
          </p:cNvSpPr>
          <p:nvPr>
            <p:ph type="pic" idx="2"/>
          </p:nvPr>
        </p:nvSpPr>
        <p:spPr>
          <a:xfrm>
            <a:off x="1032921" y="2049232"/>
            <a:ext cx="1064400" cy="1064400"/>
          </a:xfrm>
          <a:prstGeom prst="roundRect">
            <a:avLst>
              <a:gd name="adj" fmla="val 3181"/>
            </a:avLst>
          </a:prstGeom>
          <a:noFill/>
          <a:ln>
            <a:noFill/>
          </a:ln>
        </p:spPr>
      </p:sp>
      <p:sp>
        <p:nvSpPr>
          <p:cNvPr id="2212" name="Google Shape;2212;p61"/>
          <p:cNvSpPr>
            <a:spLocks noGrp="1"/>
          </p:cNvSpPr>
          <p:nvPr>
            <p:ph type="pic" idx="3"/>
          </p:nvPr>
        </p:nvSpPr>
        <p:spPr>
          <a:xfrm>
            <a:off x="3157104" y="2049232"/>
            <a:ext cx="1064400" cy="1064400"/>
          </a:xfrm>
          <a:prstGeom prst="roundRect">
            <a:avLst>
              <a:gd name="adj" fmla="val 3181"/>
            </a:avLst>
          </a:prstGeom>
          <a:noFill/>
          <a:ln>
            <a:noFill/>
          </a:ln>
        </p:spPr>
      </p:sp>
      <p:sp>
        <p:nvSpPr>
          <p:cNvPr id="2213" name="Google Shape;2213;p61"/>
          <p:cNvSpPr>
            <a:spLocks noGrp="1"/>
          </p:cNvSpPr>
          <p:nvPr>
            <p:ph type="pic" idx="4"/>
          </p:nvPr>
        </p:nvSpPr>
        <p:spPr>
          <a:xfrm>
            <a:off x="5306919" y="2049232"/>
            <a:ext cx="1064400" cy="1064400"/>
          </a:xfrm>
          <a:prstGeom prst="roundRect">
            <a:avLst>
              <a:gd name="adj" fmla="val 3181"/>
            </a:avLst>
          </a:prstGeom>
          <a:noFill/>
          <a:ln>
            <a:noFill/>
          </a:ln>
        </p:spPr>
      </p:sp>
      <p:sp>
        <p:nvSpPr>
          <p:cNvPr id="2214" name="Google Shape;2214;p61"/>
          <p:cNvSpPr>
            <a:spLocks noGrp="1"/>
          </p:cNvSpPr>
          <p:nvPr>
            <p:ph type="pic" idx="5"/>
          </p:nvPr>
        </p:nvSpPr>
        <p:spPr>
          <a:xfrm>
            <a:off x="7456792" y="2049232"/>
            <a:ext cx="1064400" cy="1064400"/>
          </a:xfrm>
          <a:prstGeom prst="roundRect">
            <a:avLst>
              <a:gd name="adj" fmla="val 3181"/>
            </a:avLst>
          </a:prstGeom>
          <a:noFill/>
          <a:ln>
            <a:noFill/>
          </a:ln>
        </p:spPr>
      </p:sp>
      <p:sp>
        <p:nvSpPr>
          <p:cNvPr id="2215" name="Google Shape;2215;p61"/>
          <p:cNvSpPr>
            <a:spLocks noGrp="1"/>
          </p:cNvSpPr>
          <p:nvPr>
            <p:ph type="pic" idx="6"/>
          </p:nvPr>
        </p:nvSpPr>
        <p:spPr>
          <a:xfrm>
            <a:off x="1845721" y="4246808"/>
            <a:ext cx="1064400" cy="1064400"/>
          </a:xfrm>
          <a:prstGeom prst="roundRect">
            <a:avLst>
              <a:gd name="adj" fmla="val 3181"/>
            </a:avLst>
          </a:prstGeom>
          <a:noFill/>
          <a:ln>
            <a:noFill/>
          </a:ln>
        </p:spPr>
      </p:sp>
      <p:sp>
        <p:nvSpPr>
          <p:cNvPr id="2216" name="Google Shape;2216;p61"/>
          <p:cNvSpPr>
            <a:spLocks noGrp="1"/>
          </p:cNvSpPr>
          <p:nvPr>
            <p:ph type="pic" idx="7"/>
          </p:nvPr>
        </p:nvSpPr>
        <p:spPr>
          <a:xfrm>
            <a:off x="3969904" y="4246808"/>
            <a:ext cx="1064400" cy="1064400"/>
          </a:xfrm>
          <a:prstGeom prst="roundRect">
            <a:avLst>
              <a:gd name="adj" fmla="val 3181"/>
            </a:avLst>
          </a:prstGeom>
          <a:noFill/>
          <a:ln>
            <a:noFill/>
          </a:ln>
        </p:spPr>
      </p:sp>
      <p:sp>
        <p:nvSpPr>
          <p:cNvPr id="2217" name="Google Shape;2217;p61"/>
          <p:cNvSpPr>
            <a:spLocks noGrp="1"/>
          </p:cNvSpPr>
          <p:nvPr>
            <p:ph type="pic" idx="8"/>
          </p:nvPr>
        </p:nvSpPr>
        <p:spPr>
          <a:xfrm>
            <a:off x="6119719" y="4246808"/>
            <a:ext cx="1064400" cy="1064400"/>
          </a:xfrm>
          <a:prstGeom prst="roundRect">
            <a:avLst>
              <a:gd name="adj" fmla="val 3181"/>
            </a:avLst>
          </a:prstGeom>
          <a:noFill/>
          <a:ln>
            <a:noFill/>
          </a:ln>
        </p:spPr>
      </p:sp>
      <p:sp>
        <p:nvSpPr>
          <p:cNvPr id="2218" name="Google Shape;2218;p61"/>
          <p:cNvSpPr>
            <a:spLocks noGrp="1"/>
          </p:cNvSpPr>
          <p:nvPr>
            <p:ph type="pic" idx="9"/>
          </p:nvPr>
        </p:nvSpPr>
        <p:spPr>
          <a:xfrm>
            <a:off x="8269592" y="4246808"/>
            <a:ext cx="1064400" cy="1064400"/>
          </a:xfrm>
          <a:prstGeom prst="roundRect">
            <a:avLst>
              <a:gd name="adj" fmla="val 3181"/>
            </a:avLst>
          </a:prstGeom>
          <a:noFill/>
          <a:ln>
            <a:noFill/>
          </a:ln>
        </p:spPr>
      </p:sp>
      <p:sp>
        <p:nvSpPr>
          <p:cNvPr id="2219" name="Google Shape;2219;p61"/>
          <p:cNvSpPr txBox="1">
            <a:spLocks noGrp="1"/>
          </p:cNvSpPr>
          <p:nvPr>
            <p:ph type="title"/>
          </p:nvPr>
        </p:nvSpPr>
        <p:spPr>
          <a:xfrm>
            <a:off x="951700" y="359997"/>
            <a:ext cx="10515600" cy="975200"/>
          </a:xfrm>
          <a:prstGeom prst="rect">
            <a:avLst/>
          </a:prstGeom>
          <a:noFill/>
          <a:ln>
            <a:noFill/>
          </a:ln>
        </p:spPr>
        <p:txBody>
          <a:bodyPr spcFirstLastPara="1" wrap="square" lIns="0" tIns="0" rIns="68575" bIns="34275" anchor="t" anchorCtr="0">
            <a:noAutofit/>
          </a:bodyPr>
          <a:lstStyle>
            <a:lvl1pPr lvl="0" algn="l" rtl="0">
              <a:lnSpc>
                <a:spcPct val="90000"/>
              </a:lnSpc>
              <a:spcBef>
                <a:spcPts val="0"/>
              </a:spcBef>
              <a:spcAft>
                <a:spcPts val="0"/>
              </a:spcAft>
              <a:buSzPts val="2400"/>
              <a:buFont typeface="Inter Medium"/>
              <a:buNone/>
              <a:defRPr sz="3200">
                <a:latin typeface="Inter Medium"/>
                <a:ea typeface="Inter Medium"/>
                <a:cs typeface="Inter Medium"/>
                <a:sym typeface="Inter Medium"/>
              </a:defRPr>
            </a:lvl1pPr>
            <a:lvl2pPr lvl="1" rtl="0">
              <a:spcBef>
                <a:spcPts val="0"/>
              </a:spcBef>
              <a:spcAft>
                <a:spcPts val="0"/>
              </a:spcAft>
              <a:buSzPts val="1100"/>
              <a:buNone/>
              <a:defRPr b="1"/>
            </a:lvl2pPr>
            <a:lvl3pPr lvl="2" rtl="0">
              <a:spcBef>
                <a:spcPts val="0"/>
              </a:spcBef>
              <a:spcAft>
                <a:spcPts val="0"/>
              </a:spcAft>
              <a:buSzPts val="1100"/>
              <a:buNone/>
              <a:defRPr b="1"/>
            </a:lvl3pPr>
            <a:lvl4pPr lvl="3" rtl="0">
              <a:spcBef>
                <a:spcPts val="0"/>
              </a:spcBef>
              <a:spcAft>
                <a:spcPts val="0"/>
              </a:spcAft>
              <a:buSzPts val="1100"/>
              <a:buNone/>
              <a:defRPr b="1"/>
            </a:lvl4pPr>
            <a:lvl5pPr lvl="4" rtl="0">
              <a:spcBef>
                <a:spcPts val="0"/>
              </a:spcBef>
              <a:spcAft>
                <a:spcPts val="0"/>
              </a:spcAft>
              <a:buSzPts val="1100"/>
              <a:buNone/>
              <a:defRPr b="1"/>
            </a:lvl5pPr>
            <a:lvl6pPr lvl="5" rtl="0">
              <a:spcBef>
                <a:spcPts val="0"/>
              </a:spcBef>
              <a:spcAft>
                <a:spcPts val="0"/>
              </a:spcAft>
              <a:buSzPts val="1100"/>
              <a:buNone/>
              <a:defRPr b="1"/>
            </a:lvl6pPr>
            <a:lvl7pPr lvl="6" rtl="0">
              <a:spcBef>
                <a:spcPts val="0"/>
              </a:spcBef>
              <a:spcAft>
                <a:spcPts val="0"/>
              </a:spcAft>
              <a:buSzPts val="1100"/>
              <a:buNone/>
              <a:defRPr b="1"/>
            </a:lvl7pPr>
            <a:lvl8pPr lvl="7" rtl="0">
              <a:spcBef>
                <a:spcPts val="0"/>
              </a:spcBef>
              <a:spcAft>
                <a:spcPts val="0"/>
              </a:spcAft>
              <a:buSzPts val="1100"/>
              <a:buNone/>
              <a:defRPr b="1"/>
            </a:lvl8pPr>
            <a:lvl9pPr lvl="8" rtl="0">
              <a:spcBef>
                <a:spcPts val="0"/>
              </a:spcBef>
              <a:spcAft>
                <a:spcPts val="0"/>
              </a:spcAft>
              <a:buSzPts val="1100"/>
              <a:buNone/>
              <a:defRPr b="1"/>
            </a:lvl9pPr>
          </a:lstStyle>
          <a:p>
            <a:endParaRPr/>
          </a:p>
        </p:txBody>
      </p:sp>
      <p:sp>
        <p:nvSpPr>
          <p:cNvPr id="2220" name="Google Shape;2220;p61"/>
          <p:cNvSpPr txBox="1">
            <a:spLocks noGrp="1"/>
          </p:cNvSpPr>
          <p:nvPr>
            <p:ph type="sldNum" idx="12"/>
          </p:nvPr>
        </p:nvSpPr>
        <p:spPr>
          <a:xfrm>
            <a:off x="10978812" y="5993647"/>
            <a:ext cx="731600" cy="524800"/>
          </a:xfrm>
          <a:prstGeom prst="rect">
            <a:avLst/>
          </a:prstGeom>
          <a:noFill/>
        </p:spPr>
        <p:txBody>
          <a:bodyPr spcFirstLastPara="1" wrap="square" lIns="91425" tIns="91425" rIns="0" bIns="0" anchor="b" anchorCtr="0">
            <a:noAutofit/>
          </a:bodyPr>
          <a:lstStyle>
            <a:lvl1pPr lvl="0" algn="r" rtl="0">
              <a:buNone/>
              <a:defRPr sz="667">
                <a:solidFill>
                  <a:schemeClr val="dk2"/>
                </a:solidFill>
                <a:latin typeface="Inter"/>
                <a:ea typeface="Inter"/>
                <a:cs typeface="Inter"/>
                <a:sym typeface="Inter"/>
              </a:defRPr>
            </a:lvl1pPr>
            <a:lvl2pPr lvl="1" algn="r" rtl="0">
              <a:buNone/>
              <a:defRPr sz="667">
                <a:solidFill>
                  <a:schemeClr val="dk2"/>
                </a:solidFill>
                <a:latin typeface="Inter"/>
                <a:ea typeface="Inter"/>
                <a:cs typeface="Inter"/>
                <a:sym typeface="Inter"/>
              </a:defRPr>
            </a:lvl2pPr>
            <a:lvl3pPr lvl="2" algn="r" rtl="0">
              <a:buNone/>
              <a:defRPr sz="667">
                <a:solidFill>
                  <a:schemeClr val="dk2"/>
                </a:solidFill>
                <a:latin typeface="Inter"/>
                <a:ea typeface="Inter"/>
                <a:cs typeface="Inter"/>
                <a:sym typeface="Inter"/>
              </a:defRPr>
            </a:lvl3pPr>
            <a:lvl4pPr lvl="3" algn="r" rtl="0">
              <a:buNone/>
              <a:defRPr sz="667">
                <a:solidFill>
                  <a:schemeClr val="dk2"/>
                </a:solidFill>
                <a:latin typeface="Inter"/>
                <a:ea typeface="Inter"/>
                <a:cs typeface="Inter"/>
                <a:sym typeface="Inter"/>
              </a:defRPr>
            </a:lvl4pPr>
            <a:lvl5pPr lvl="4" algn="r" rtl="0">
              <a:buNone/>
              <a:defRPr sz="667">
                <a:solidFill>
                  <a:schemeClr val="dk2"/>
                </a:solidFill>
                <a:latin typeface="Inter"/>
                <a:ea typeface="Inter"/>
                <a:cs typeface="Inter"/>
                <a:sym typeface="Inter"/>
              </a:defRPr>
            </a:lvl5pPr>
            <a:lvl6pPr lvl="5" algn="r" rtl="0">
              <a:buNone/>
              <a:defRPr sz="667">
                <a:solidFill>
                  <a:schemeClr val="dk2"/>
                </a:solidFill>
                <a:latin typeface="Inter"/>
                <a:ea typeface="Inter"/>
                <a:cs typeface="Inter"/>
                <a:sym typeface="Inter"/>
              </a:defRPr>
            </a:lvl6pPr>
            <a:lvl7pPr lvl="6" algn="r" rtl="0">
              <a:buNone/>
              <a:defRPr sz="667">
                <a:solidFill>
                  <a:schemeClr val="dk2"/>
                </a:solidFill>
                <a:latin typeface="Inter"/>
                <a:ea typeface="Inter"/>
                <a:cs typeface="Inter"/>
                <a:sym typeface="Inter"/>
              </a:defRPr>
            </a:lvl7pPr>
            <a:lvl8pPr lvl="7" algn="r" rtl="0">
              <a:buNone/>
              <a:defRPr sz="667">
                <a:solidFill>
                  <a:schemeClr val="dk2"/>
                </a:solidFill>
                <a:latin typeface="Inter"/>
                <a:ea typeface="Inter"/>
                <a:cs typeface="Inter"/>
                <a:sym typeface="Inter"/>
              </a:defRPr>
            </a:lvl8pPr>
            <a:lvl9pPr lvl="8" algn="r" rtl="0">
              <a:buNone/>
              <a:defRPr sz="667">
                <a:solidFill>
                  <a:schemeClr val="dk2"/>
                </a:solidFill>
                <a:latin typeface="Inter"/>
                <a:ea typeface="Inter"/>
                <a:cs typeface="Inter"/>
                <a:sym typeface="Inter"/>
              </a:defRPr>
            </a:lvl9pPr>
          </a:lstStyle>
          <a:p>
            <a:fld id="{00000000-1234-1234-1234-123412341234}" type="slidenum">
              <a:rPr lang="en-GB" smtClean="0"/>
              <a:pPr/>
              <a:t>‹#›</a:t>
            </a:fld>
            <a:endParaRPr lang="en-GB"/>
          </a:p>
        </p:txBody>
      </p:sp>
      <p:sp>
        <p:nvSpPr>
          <p:cNvPr id="2221" name="Google Shape;2221;p61"/>
          <p:cNvSpPr txBox="1"/>
          <p:nvPr/>
        </p:nvSpPr>
        <p:spPr>
          <a:xfrm>
            <a:off x="481600" y="6245247"/>
            <a:ext cx="1288400" cy="273200"/>
          </a:xfrm>
          <a:prstGeom prst="rect">
            <a:avLst/>
          </a:prstGeom>
          <a:noFill/>
          <a:ln>
            <a:noFill/>
          </a:ln>
        </p:spPr>
        <p:txBody>
          <a:bodyPr spcFirstLastPara="1" wrap="square" lIns="0" tIns="0" rIns="0" bIns="0" anchor="b" anchorCtr="0">
            <a:noAutofit/>
          </a:bodyPr>
          <a:lstStyle/>
          <a:p>
            <a:pPr marL="0" lvl="0" indent="0" algn="l" rtl="0">
              <a:spcBef>
                <a:spcPts val="0"/>
              </a:spcBef>
              <a:spcAft>
                <a:spcPts val="0"/>
              </a:spcAft>
              <a:buNone/>
            </a:pPr>
            <a:r>
              <a:rPr lang="en-GB" sz="667">
                <a:solidFill>
                  <a:schemeClr val="dk2"/>
                </a:solidFill>
                <a:latin typeface="Inter"/>
                <a:ea typeface="Inter"/>
                <a:cs typeface="Inter"/>
                <a:sym typeface="Inter"/>
              </a:rPr>
              <a:t>Multiverse</a:t>
            </a:r>
            <a:endParaRPr sz="667">
              <a:solidFill>
                <a:schemeClr val="dk2"/>
              </a:solidFill>
              <a:latin typeface="Inter"/>
              <a:ea typeface="Inter"/>
              <a:cs typeface="Inter"/>
              <a:sym typeface="Inter"/>
            </a:endParaRPr>
          </a:p>
        </p:txBody>
      </p:sp>
      <p:sp>
        <p:nvSpPr>
          <p:cNvPr id="2222" name="Google Shape;2222;p61"/>
          <p:cNvSpPr/>
          <p:nvPr/>
        </p:nvSpPr>
        <p:spPr>
          <a:xfrm>
            <a:off x="481601" y="414630"/>
            <a:ext cx="349111" cy="305471"/>
          </a:xfrm>
          <a:custGeom>
            <a:avLst/>
            <a:gdLst/>
            <a:ahLst/>
            <a:cxnLst/>
            <a:rect l="l" t="t" r="r" b="b"/>
            <a:pathLst>
              <a:path w="1586865" h="1388506" extrusionOk="0">
                <a:moveTo>
                  <a:pt x="1083683" y="969931"/>
                </a:moveTo>
                <a:lnTo>
                  <a:pt x="1083683" y="579692"/>
                </a:lnTo>
                <a:lnTo>
                  <a:pt x="849297" y="969931"/>
                </a:lnTo>
                <a:lnTo>
                  <a:pt x="848892" y="969931"/>
                </a:lnTo>
                <a:cubicBezTo>
                  <a:pt x="848892" y="969931"/>
                  <a:pt x="848892" y="969931"/>
                  <a:pt x="848892" y="969931"/>
                </a:cubicBezTo>
                <a:lnTo>
                  <a:pt x="738783" y="969931"/>
                </a:lnTo>
                <a:lnTo>
                  <a:pt x="738783" y="577668"/>
                </a:lnTo>
                <a:lnTo>
                  <a:pt x="549735" y="892612"/>
                </a:lnTo>
                <a:cubicBezTo>
                  <a:pt x="527876" y="929449"/>
                  <a:pt x="510873" y="958191"/>
                  <a:pt x="503992" y="969931"/>
                </a:cubicBezTo>
                <a:lnTo>
                  <a:pt x="393073" y="969931"/>
                </a:lnTo>
                <a:lnTo>
                  <a:pt x="393073" y="418576"/>
                </a:lnTo>
                <a:lnTo>
                  <a:pt x="503992" y="418576"/>
                </a:lnTo>
                <a:lnTo>
                  <a:pt x="502777" y="760643"/>
                </a:lnTo>
                <a:lnTo>
                  <a:pt x="503587" y="782098"/>
                </a:lnTo>
                <a:lnTo>
                  <a:pt x="721781" y="418981"/>
                </a:lnTo>
                <a:lnTo>
                  <a:pt x="721781" y="418981"/>
                </a:lnTo>
                <a:lnTo>
                  <a:pt x="721781" y="418981"/>
                </a:lnTo>
                <a:lnTo>
                  <a:pt x="739188" y="418981"/>
                </a:lnTo>
                <a:lnTo>
                  <a:pt x="847678" y="418981"/>
                </a:lnTo>
                <a:cubicBezTo>
                  <a:pt x="847678" y="418981"/>
                  <a:pt x="848487" y="722995"/>
                  <a:pt x="848892" y="783717"/>
                </a:cubicBezTo>
                <a:lnTo>
                  <a:pt x="1067895" y="418981"/>
                </a:lnTo>
                <a:lnTo>
                  <a:pt x="1067895" y="418981"/>
                </a:lnTo>
                <a:lnTo>
                  <a:pt x="1067895" y="418981"/>
                </a:lnTo>
                <a:lnTo>
                  <a:pt x="1085302" y="418981"/>
                </a:lnTo>
                <a:lnTo>
                  <a:pt x="1193387" y="418981"/>
                </a:lnTo>
                <a:lnTo>
                  <a:pt x="1193387" y="970336"/>
                </a:lnTo>
                <a:lnTo>
                  <a:pt x="1083683" y="970336"/>
                </a:lnTo>
                <a:close/>
                <a:moveTo>
                  <a:pt x="1190149" y="0"/>
                </a:moveTo>
                <a:lnTo>
                  <a:pt x="396716" y="0"/>
                </a:lnTo>
                <a:lnTo>
                  <a:pt x="0" y="694253"/>
                </a:lnTo>
                <a:lnTo>
                  <a:pt x="396716" y="1388507"/>
                </a:lnTo>
                <a:lnTo>
                  <a:pt x="1190149" y="1388507"/>
                </a:lnTo>
                <a:lnTo>
                  <a:pt x="1586865" y="694253"/>
                </a:lnTo>
                <a:lnTo>
                  <a:pt x="1190149" y="0"/>
                </a:lnTo>
                <a:close/>
              </a:path>
            </a:pathLst>
          </a:custGeom>
          <a:solidFill>
            <a:schemeClr val="dk2"/>
          </a:solidFill>
          <a:ln>
            <a:noFill/>
          </a:ln>
        </p:spPr>
        <p:txBody>
          <a:bodyPr spcFirstLastPara="1" wrap="square" lIns="91433" tIns="45700" rIns="91433" bIns="45700"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223" name="Google Shape;2223;p61"/>
          <p:cNvSpPr txBox="1">
            <a:spLocks noGrp="1"/>
          </p:cNvSpPr>
          <p:nvPr>
            <p:ph type="subTitle" idx="1"/>
          </p:nvPr>
        </p:nvSpPr>
        <p:spPr>
          <a:xfrm>
            <a:off x="1032741" y="3320265"/>
            <a:ext cx="1842400" cy="423200"/>
          </a:xfrm>
          <a:prstGeom prst="rect">
            <a:avLst/>
          </a:prstGeom>
          <a:noFill/>
        </p:spPr>
        <p:txBody>
          <a:bodyPr spcFirstLastPara="1" wrap="square" lIns="0" tIns="34275" rIns="68575" bIns="34275" anchor="t" anchorCtr="0">
            <a:noAutofit/>
          </a:bodyPr>
          <a:lstStyle>
            <a:lvl1pPr lvl="0" rtl="0">
              <a:lnSpc>
                <a:spcPct val="100000"/>
              </a:lnSpc>
              <a:spcBef>
                <a:spcPts val="0"/>
              </a:spcBef>
              <a:spcAft>
                <a:spcPts val="0"/>
              </a:spcAft>
              <a:buSzPts val="900"/>
              <a:buFont typeface="Inter"/>
              <a:buNone/>
              <a:defRPr sz="1200" b="1"/>
            </a:lvl1pPr>
            <a:lvl2pPr lvl="1" rtl="0">
              <a:lnSpc>
                <a:spcPct val="100000"/>
              </a:lnSpc>
              <a:spcBef>
                <a:spcPts val="0"/>
              </a:spcBef>
              <a:spcAft>
                <a:spcPts val="0"/>
              </a:spcAft>
              <a:buSzPts val="900"/>
              <a:buFont typeface="Inter"/>
              <a:buNone/>
              <a:defRPr sz="1200" b="1"/>
            </a:lvl2pPr>
            <a:lvl3pPr lvl="2" rtl="0">
              <a:lnSpc>
                <a:spcPct val="100000"/>
              </a:lnSpc>
              <a:spcBef>
                <a:spcPts val="0"/>
              </a:spcBef>
              <a:spcAft>
                <a:spcPts val="0"/>
              </a:spcAft>
              <a:buSzPts val="900"/>
              <a:buFont typeface="Inter"/>
              <a:buNone/>
              <a:defRPr sz="1200" b="1"/>
            </a:lvl3pPr>
            <a:lvl4pPr lvl="3" rtl="0">
              <a:lnSpc>
                <a:spcPct val="100000"/>
              </a:lnSpc>
              <a:spcBef>
                <a:spcPts val="0"/>
              </a:spcBef>
              <a:spcAft>
                <a:spcPts val="0"/>
              </a:spcAft>
              <a:buSzPts val="900"/>
              <a:buFont typeface="Inter"/>
              <a:buNone/>
              <a:defRPr sz="1200" b="1"/>
            </a:lvl4pPr>
            <a:lvl5pPr lvl="4" rtl="0">
              <a:lnSpc>
                <a:spcPct val="100000"/>
              </a:lnSpc>
              <a:spcBef>
                <a:spcPts val="0"/>
              </a:spcBef>
              <a:spcAft>
                <a:spcPts val="0"/>
              </a:spcAft>
              <a:buSzPts val="900"/>
              <a:buFont typeface="Inter"/>
              <a:buNone/>
              <a:defRPr sz="1200" b="1"/>
            </a:lvl5pPr>
            <a:lvl6pPr lvl="5" rtl="0">
              <a:lnSpc>
                <a:spcPct val="100000"/>
              </a:lnSpc>
              <a:spcBef>
                <a:spcPts val="0"/>
              </a:spcBef>
              <a:spcAft>
                <a:spcPts val="0"/>
              </a:spcAft>
              <a:buSzPts val="900"/>
              <a:buFont typeface="Inter"/>
              <a:buNone/>
              <a:defRPr sz="1200" b="1">
                <a:latin typeface="Inter"/>
                <a:ea typeface="Inter"/>
                <a:cs typeface="Inter"/>
                <a:sym typeface="Inter"/>
              </a:defRPr>
            </a:lvl6pPr>
            <a:lvl7pPr lvl="6" rtl="0">
              <a:lnSpc>
                <a:spcPct val="100000"/>
              </a:lnSpc>
              <a:spcBef>
                <a:spcPts val="0"/>
              </a:spcBef>
              <a:spcAft>
                <a:spcPts val="0"/>
              </a:spcAft>
              <a:buSzPts val="900"/>
              <a:buFont typeface="Inter"/>
              <a:buNone/>
              <a:defRPr sz="1200" b="1">
                <a:latin typeface="Inter"/>
                <a:ea typeface="Inter"/>
                <a:cs typeface="Inter"/>
                <a:sym typeface="Inter"/>
              </a:defRPr>
            </a:lvl7pPr>
            <a:lvl8pPr lvl="7" rtl="0">
              <a:lnSpc>
                <a:spcPct val="100000"/>
              </a:lnSpc>
              <a:spcBef>
                <a:spcPts val="0"/>
              </a:spcBef>
              <a:spcAft>
                <a:spcPts val="0"/>
              </a:spcAft>
              <a:buSzPts val="900"/>
              <a:buFont typeface="Inter"/>
              <a:buNone/>
              <a:defRPr sz="1200" b="1">
                <a:latin typeface="Inter"/>
                <a:ea typeface="Inter"/>
                <a:cs typeface="Inter"/>
                <a:sym typeface="Inter"/>
              </a:defRPr>
            </a:lvl8pPr>
            <a:lvl9pPr lvl="8" rtl="0">
              <a:lnSpc>
                <a:spcPct val="100000"/>
              </a:lnSpc>
              <a:spcBef>
                <a:spcPts val="0"/>
              </a:spcBef>
              <a:spcAft>
                <a:spcPts val="0"/>
              </a:spcAft>
              <a:buSzPts val="900"/>
              <a:buFont typeface="Inter"/>
              <a:buNone/>
              <a:defRPr sz="1200" b="1">
                <a:latin typeface="Inter"/>
                <a:ea typeface="Inter"/>
                <a:cs typeface="Inter"/>
                <a:sym typeface="Inter"/>
              </a:defRPr>
            </a:lvl9pPr>
          </a:lstStyle>
          <a:p>
            <a:endParaRPr/>
          </a:p>
        </p:txBody>
      </p:sp>
      <p:sp>
        <p:nvSpPr>
          <p:cNvPr id="2224" name="Google Shape;2224;p61"/>
          <p:cNvSpPr txBox="1">
            <a:spLocks noGrp="1"/>
          </p:cNvSpPr>
          <p:nvPr>
            <p:ph type="subTitle" idx="13"/>
          </p:nvPr>
        </p:nvSpPr>
        <p:spPr>
          <a:xfrm>
            <a:off x="3156984" y="3320265"/>
            <a:ext cx="1842400" cy="423200"/>
          </a:xfrm>
          <a:prstGeom prst="rect">
            <a:avLst/>
          </a:prstGeom>
          <a:noFill/>
        </p:spPr>
        <p:txBody>
          <a:bodyPr spcFirstLastPara="1" wrap="square" lIns="0" tIns="34275" rIns="68575" bIns="34275" anchor="t" anchorCtr="0">
            <a:noAutofit/>
          </a:bodyPr>
          <a:lstStyle>
            <a:lvl1pPr lvl="0" rtl="0">
              <a:lnSpc>
                <a:spcPct val="100000"/>
              </a:lnSpc>
              <a:spcBef>
                <a:spcPts val="0"/>
              </a:spcBef>
              <a:spcAft>
                <a:spcPts val="0"/>
              </a:spcAft>
              <a:buSzPts val="900"/>
              <a:buFont typeface="Inter"/>
              <a:buNone/>
              <a:defRPr sz="1200" b="1"/>
            </a:lvl1pPr>
            <a:lvl2pPr lvl="1" rtl="0">
              <a:lnSpc>
                <a:spcPct val="100000"/>
              </a:lnSpc>
              <a:spcBef>
                <a:spcPts val="0"/>
              </a:spcBef>
              <a:spcAft>
                <a:spcPts val="0"/>
              </a:spcAft>
              <a:buSzPts val="900"/>
              <a:buFont typeface="Inter"/>
              <a:buNone/>
              <a:defRPr sz="1200" b="1"/>
            </a:lvl2pPr>
            <a:lvl3pPr lvl="2" rtl="0">
              <a:lnSpc>
                <a:spcPct val="100000"/>
              </a:lnSpc>
              <a:spcBef>
                <a:spcPts val="0"/>
              </a:spcBef>
              <a:spcAft>
                <a:spcPts val="0"/>
              </a:spcAft>
              <a:buSzPts val="900"/>
              <a:buFont typeface="Inter"/>
              <a:buNone/>
              <a:defRPr sz="1200" b="1"/>
            </a:lvl3pPr>
            <a:lvl4pPr lvl="3" rtl="0">
              <a:lnSpc>
                <a:spcPct val="100000"/>
              </a:lnSpc>
              <a:spcBef>
                <a:spcPts val="0"/>
              </a:spcBef>
              <a:spcAft>
                <a:spcPts val="0"/>
              </a:spcAft>
              <a:buSzPts val="900"/>
              <a:buFont typeface="Inter"/>
              <a:buNone/>
              <a:defRPr sz="1200" b="1"/>
            </a:lvl4pPr>
            <a:lvl5pPr lvl="4" rtl="0">
              <a:lnSpc>
                <a:spcPct val="100000"/>
              </a:lnSpc>
              <a:spcBef>
                <a:spcPts val="0"/>
              </a:spcBef>
              <a:spcAft>
                <a:spcPts val="0"/>
              </a:spcAft>
              <a:buSzPts val="900"/>
              <a:buFont typeface="Inter"/>
              <a:buNone/>
              <a:defRPr sz="1200" b="1"/>
            </a:lvl5pPr>
            <a:lvl6pPr lvl="5" rtl="0">
              <a:lnSpc>
                <a:spcPct val="100000"/>
              </a:lnSpc>
              <a:spcBef>
                <a:spcPts val="0"/>
              </a:spcBef>
              <a:spcAft>
                <a:spcPts val="0"/>
              </a:spcAft>
              <a:buSzPts val="900"/>
              <a:buFont typeface="Inter"/>
              <a:buNone/>
              <a:defRPr sz="1200" b="1">
                <a:latin typeface="Inter"/>
                <a:ea typeface="Inter"/>
                <a:cs typeface="Inter"/>
                <a:sym typeface="Inter"/>
              </a:defRPr>
            </a:lvl6pPr>
            <a:lvl7pPr lvl="6" rtl="0">
              <a:lnSpc>
                <a:spcPct val="100000"/>
              </a:lnSpc>
              <a:spcBef>
                <a:spcPts val="0"/>
              </a:spcBef>
              <a:spcAft>
                <a:spcPts val="0"/>
              </a:spcAft>
              <a:buSzPts val="900"/>
              <a:buFont typeface="Inter"/>
              <a:buNone/>
              <a:defRPr sz="1200" b="1">
                <a:latin typeface="Inter"/>
                <a:ea typeface="Inter"/>
                <a:cs typeface="Inter"/>
                <a:sym typeface="Inter"/>
              </a:defRPr>
            </a:lvl7pPr>
            <a:lvl8pPr lvl="7" rtl="0">
              <a:lnSpc>
                <a:spcPct val="100000"/>
              </a:lnSpc>
              <a:spcBef>
                <a:spcPts val="0"/>
              </a:spcBef>
              <a:spcAft>
                <a:spcPts val="0"/>
              </a:spcAft>
              <a:buSzPts val="900"/>
              <a:buFont typeface="Inter"/>
              <a:buNone/>
              <a:defRPr sz="1200" b="1">
                <a:latin typeface="Inter"/>
                <a:ea typeface="Inter"/>
                <a:cs typeface="Inter"/>
                <a:sym typeface="Inter"/>
              </a:defRPr>
            </a:lvl8pPr>
            <a:lvl9pPr lvl="8" rtl="0">
              <a:lnSpc>
                <a:spcPct val="100000"/>
              </a:lnSpc>
              <a:spcBef>
                <a:spcPts val="0"/>
              </a:spcBef>
              <a:spcAft>
                <a:spcPts val="0"/>
              </a:spcAft>
              <a:buSzPts val="900"/>
              <a:buFont typeface="Inter"/>
              <a:buNone/>
              <a:defRPr sz="1200" b="1">
                <a:latin typeface="Inter"/>
                <a:ea typeface="Inter"/>
                <a:cs typeface="Inter"/>
                <a:sym typeface="Inter"/>
              </a:defRPr>
            </a:lvl9pPr>
          </a:lstStyle>
          <a:p>
            <a:endParaRPr/>
          </a:p>
        </p:txBody>
      </p:sp>
      <p:sp>
        <p:nvSpPr>
          <p:cNvPr id="2225" name="Google Shape;2225;p61"/>
          <p:cNvSpPr txBox="1">
            <a:spLocks noGrp="1"/>
          </p:cNvSpPr>
          <p:nvPr>
            <p:ph type="subTitle" idx="14"/>
          </p:nvPr>
        </p:nvSpPr>
        <p:spPr>
          <a:xfrm>
            <a:off x="5337381" y="3320265"/>
            <a:ext cx="1842400" cy="423200"/>
          </a:xfrm>
          <a:prstGeom prst="rect">
            <a:avLst/>
          </a:prstGeom>
          <a:noFill/>
        </p:spPr>
        <p:txBody>
          <a:bodyPr spcFirstLastPara="1" wrap="square" lIns="0" tIns="34275" rIns="68575" bIns="34275" anchor="t" anchorCtr="0">
            <a:noAutofit/>
          </a:bodyPr>
          <a:lstStyle>
            <a:lvl1pPr lvl="0" rtl="0">
              <a:lnSpc>
                <a:spcPct val="100000"/>
              </a:lnSpc>
              <a:spcBef>
                <a:spcPts val="0"/>
              </a:spcBef>
              <a:spcAft>
                <a:spcPts val="0"/>
              </a:spcAft>
              <a:buSzPts val="900"/>
              <a:buFont typeface="Inter"/>
              <a:buNone/>
              <a:defRPr sz="1200" b="1"/>
            </a:lvl1pPr>
            <a:lvl2pPr lvl="1" rtl="0">
              <a:lnSpc>
                <a:spcPct val="100000"/>
              </a:lnSpc>
              <a:spcBef>
                <a:spcPts val="0"/>
              </a:spcBef>
              <a:spcAft>
                <a:spcPts val="0"/>
              </a:spcAft>
              <a:buSzPts val="900"/>
              <a:buFont typeface="Inter"/>
              <a:buNone/>
              <a:defRPr sz="1200" b="1"/>
            </a:lvl2pPr>
            <a:lvl3pPr lvl="2" rtl="0">
              <a:lnSpc>
                <a:spcPct val="100000"/>
              </a:lnSpc>
              <a:spcBef>
                <a:spcPts val="0"/>
              </a:spcBef>
              <a:spcAft>
                <a:spcPts val="0"/>
              </a:spcAft>
              <a:buSzPts val="900"/>
              <a:buFont typeface="Inter"/>
              <a:buNone/>
              <a:defRPr sz="1200" b="1"/>
            </a:lvl3pPr>
            <a:lvl4pPr lvl="3" rtl="0">
              <a:lnSpc>
                <a:spcPct val="100000"/>
              </a:lnSpc>
              <a:spcBef>
                <a:spcPts val="0"/>
              </a:spcBef>
              <a:spcAft>
                <a:spcPts val="0"/>
              </a:spcAft>
              <a:buSzPts val="900"/>
              <a:buFont typeface="Inter"/>
              <a:buNone/>
              <a:defRPr sz="1200" b="1"/>
            </a:lvl4pPr>
            <a:lvl5pPr lvl="4" rtl="0">
              <a:lnSpc>
                <a:spcPct val="100000"/>
              </a:lnSpc>
              <a:spcBef>
                <a:spcPts val="0"/>
              </a:spcBef>
              <a:spcAft>
                <a:spcPts val="0"/>
              </a:spcAft>
              <a:buSzPts val="900"/>
              <a:buFont typeface="Inter"/>
              <a:buNone/>
              <a:defRPr sz="1200" b="1"/>
            </a:lvl5pPr>
            <a:lvl6pPr lvl="5" rtl="0">
              <a:lnSpc>
                <a:spcPct val="100000"/>
              </a:lnSpc>
              <a:spcBef>
                <a:spcPts val="0"/>
              </a:spcBef>
              <a:spcAft>
                <a:spcPts val="0"/>
              </a:spcAft>
              <a:buSzPts val="900"/>
              <a:buFont typeface="Inter"/>
              <a:buNone/>
              <a:defRPr sz="1200" b="1">
                <a:latin typeface="Inter"/>
                <a:ea typeface="Inter"/>
                <a:cs typeface="Inter"/>
                <a:sym typeface="Inter"/>
              </a:defRPr>
            </a:lvl6pPr>
            <a:lvl7pPr lvl="6" rtl="0">
              <a:lnSpc>
                <a:spcPct val="100000"/>
              </a:lnSpc>
              <a:spcBef>
                <a:spcPts val="0"/>
              </a:spcBef>
              <a:spcAft>
                <a:spcPts val="0"/>
              </a:spcAft>
              <a:buSzPts val="900"/>
              <a:buFont typeface="Inter"/>
              <a:buNone/>
              <a:defRPr sz="1200" b="1">
                <a:latin typeface="Inter"/>
                <a:ea typeface="Inter"/>
                <a:cs typeface="Inter"/>
                <a:sym typeface="Inter"/>
              </a:defRPr>
            </a:lvl7pPr>
            <a:lvl8pPr lvl="7" rtl="0">
              <a:lnSpc>
                <a:spcPct val="100000"/>
              </a:lnSpc>
              <a:spcBef>
                <a:spcPts val="0"/>
              </a:spcBef>
              <a:spcAft>
                <a:spcPts val="0"/>
              </a:spcAft>
              <a:buSzPts val="900"/>
              <a:buFont typeface="Inter"/>
              <a:buNone/>
              <a:defRPr sz="1200" b="1">
                <a:latin typeface="Inter"/>
                <a:ea typeface="Inter"/>
                <a:cs typeface="Inter"/>
                <a:sym typeface="Inter"/>
              </a:defRPr>
            </a:lvl8pPr>
            <a:lvl9pPr lvl="8" rtl="0">
              <a:lnSpc>
                <a:spcPct val="100000"/>
              </a:lnSpc>
              <a:spcBef>
                <a:spcPts val="0"/>
              </a:spcBef>
              <a:spcAft>
                <a:spcPts val="0"/>
              </a:spcAft>
              <a:buSzPts val="900"/>
              <a:buFont typeface="Inter"/>
              <a:buNone/>
              <a:defRPr sz="1200" b="1">
                <a:latin typeface="Inter"/>
                <a:ea typeface="Inter"/>
                <a:cs typeface="Inter"/>
                <a:sym typeface="Inter"/>
              </a:defRPr>
            </a:lvl9pPr>
          </a:lstStyle>
          <a:p>
            <a:endParaRPr/>
          </a:p>
        </p:txBody>
      </p:sp>
      <p:sp>
        <p:nvSpPr>
          <p:cNvPr id="2226" name="Google Shape;2226;p61"/>
          <p:cNvSpPr txBox="1">
            <a:spLocks noGrp="1"/>
          </p:cNvSpPr>
          <p:nvPr>
            <p:ph type="subTitle" idx="15"/>
          </p:nvPr>
        </p:nvSpPr>
        <p:spPr>
          <a:xfrm>
            <a:off x="7456792" y="3320265"/>
            <a:ext cx="1842400" cy="423200"/>
          </a:xfrm>
          <a:prstGeom prst="rect">
            <a:avLst/>
          </a:prstGeom>
          <a:noFill/>
        </p:spPr>
        <p:txBody>
          <a:bodyPr spcFirstLastPara="1" wrap="square" lIns="0" tIns="34275" rIns="68575" bIns="34275" anchor="t" anchorCtr="0">
            <a:noAutofit/>
          </a:bodyPr>
          <a:lstStyle>
            <a:lvl1pPr lvl="0" rtl="0">
              <a:lnSpc>
                <a:spcPct val="100000"/>
              </a:lnSpc>
              <a:spcBef>
                <a:spcPts val="0"/>
              </a:spcBef>
              <a:spcAft>
                <a:spcPts val="0"/>
              </a:spcAft>
              <a:buSzPts val="900"/>
              <a:buFont typeface="Inter"/>
              <a:buNone/>
              <a:defRPr sz="1200" b="1"/>
            </a:lvl1pPr>
            <a:lvl2pPr lvl="1" rtl="0">
              <a:lnSpc>
                <a:spcPct val="100000"/>
              </a:lnSpc>
              <a:spcBef>
                <a:spcPts val="0"/>
              </a:spcBef>
              <a:spcAft>
                <a:spcPts val="0"/>
              </a:spcAft>
              <a:buSzPts val="900"/>
              <a:buFont typeface="Inter"/>
              <a:buNone/>
              <a:defRPr sz="1200" b="1"/>
            </a:lvl2pPr>
            <a:lvl3pPr lvl="2" rtl="0">
              <a:lnSpc>
                <a:spcPct val="100000"/>
              </a:lnSpc>
              <a:spcBef>
                <a:spcPts val="0"/>
              </a:spcBef>
              <a:spcAft>
                <a:spcPts val="0"/>
              </a:spcAft>
              <a:buSzPts val="900"/>
              <a:buFont typeface="Inter"/>
              <a:buNone/>
              <a:defRPr sz="1200" b="1"/>
            </a:lvl3pPr>
            <a:lvl4pPr lvl="3" rtl="0">
              <a:lnSpc>
                <a:spcPct val="100000"/>
              </a:lnSpc>
              <a:spcBef>
                <a:spcPts val="0"/>
              </a:spcBef>
              <a:spcAft>
                <a:spcPts val="0"/>
              </a:spcAft>
              <a:buSzPts val="900"/>
              <a:buFont typeface="Inter"/>
              <a:buNone/>
              <a:defRPr sz="1200" b="1"/>
            </a:lvl4pPr>
            <a:lvl5pPr lvl="4" rtl="0">
              <a:lnSpc>
                <a:spcPct val="100000"/>
              </a:lnSpc>
              <a:spcBef>
                <a:spcPts val="0"/>
              </a:spcBef>
              <a:spcAft>
                <a:spcPts val="0"/>
              </a:spcAft>
              <a:buSzPts val="900"/>
              <a:buFont typeface="Inter"/>
              <a:buNone/>
              <a:defRPr sz="1200" b="1"/>
            </a:lvl5pPr>
            <a:lvl6pPr lvl="5" rtl="0">
              <a:lnSpc>
                <a:spcPct val="100000"/>
              </a:lnSpc>
              <a:spcBef>
                <a:spcPts val="0"/>
              </a:spcBef>
              <a:spcAft>
                <a:spcPts val="0"/>
              </a:spcAft>
              <a:buSzPts val="900"/>
              <a:buFont typeface="Inter"/>
              <a:buNone/>
              <a:defRPr sz="1200" b="1">
                <a:latin typeface="Inter"/>
                <a:ea typeface="Inter"/>
                <a:cs typeface="Inter"/>
                <a:sym typeface="Inter"/>
              </a:defRPr>
            </a:lvl6pPr>
            <a:lvl7pPr lvl="6" rtl="0">
              <a:lnSpc>
                <a:spcPct val="100000"/>
              </a:lnSpc>
              <a:spcBef>
                <a:spcPts val="0"/>
              </a:spcBef>
              <a:spcAft>
                <a:spcPts val="0"/>
              </a:spcAft>
              <a:buSzPts val="900"/>
              <a:buFont typeface="Inter"/>
              <a:buNone/>
              <a:defRPr sz="1200" b="1">
                <a:latin typeface="Inter"/>
                <a:ea typeface="Inter"/>
                <a:cs typeface="Inter"/>
                <a:sym typeface="Inter"/>
              </a:defRPr>
            </a:lvl7pPr>
            <a:lvl8pPr lvl="7" rtl="0">
              <a:lnSpc>
                <a:spcPct val="100000"/>
              </a:lnSpc>
              <a:spcBef>
                <a:spcPts val="0"/>
              </a:spcBef>
              <a:spcAft>
                <a:spcPts val="0"/>
              </a:spcAft>
              <a:buSzPts val="900"/>
              <a:buFont typeface="Inter"/>
              <a:buNone/>
              <a:defRPr sz="1200" b="1">
                <a:latin typeface="Inter"/>
                <a:ea typeface="Inter"/>
                <a:cs typeface="Inter"/>
                <a:sym typeface="Inter"/>
              </a:defRPr>
            </a:lvl8pPr>
            <a:lvl9pPr lvl="8" rtl="0">
              <a:lnSpc>
                <a:spcPct val="100000"/>
              </a:lnSpc>
              <a:spcBef>
                <a:spcPts val="0"/>
              </a:spcBef>
              <a:spcAft>
                <a:spcPts val="0"/>
              </a:spcAft>
              <a:buSzPts val="900"/>
              <a:buFont typeface="Inter"/>
              <a:buNone/>
              <a:defRPr sz="1200" b="1">
                <a:latin typeface="Inter"/>
                <a:ea typeface="Inter"/>
                <a:cs typeface="Inter"/>
                <a:sym typeface="Inter"/>
              </a:defRPr>
            </a:lvl9pPr>
          </a:lstStyle>
          <a:p>
            <a:endParaRPr/>
          </a:p>
        </p:txBody>
      </p:sp>
      <p:sp>
        <p:nvSpPr>
          <p:cNvPr id="2227" name="Google Shape;2227;p61"/>
          <p:cNvSpPr txBox="1">
            <a:spLocks noGrp="1"/>
          </p:cNvSpPr>
          <p:nvPr>
            <p:ph type="subTitle" idx="16"/>
          </p:nvPr>
        </p:nvSpPr>
        <p:spPr>
          <a:xfrm>
            <a:off x="1845541" y="5527520"/>
            <a:ext cx="1842400" cy="423200"/>
          </a:xfrm>
          <a:prstGeom prst="rect">
            <a:avLst/>
          </a:prstGeom>
          <a:noFill/>
        </p:spPr>
        <p:txBody>
          <a:bodyPr spcFirstLastPara="1" wrap="square" lIns="0" tIns="34275" rIns="68575" bIns="34275" anchor="t" anchorCtr="0">
            <a:noAutofit/>
          </a:bodyPr>
          <a:lstStyle>
            <a:lvl1pPr lvl="0" rtl="0">
              <a:lnSpc>
                <a:spcPct val="100000"/>
              </a:lnSpc>
              <a:spcBef>
                <a:spcPts val="0"/>
              </a:spcBef>
              <a:spcAft>
                <a:spcPts val="0"/>
              </a:spcAft>
              <a:buSzPts val="900"/>
              <a:buFont typeface="Inter"/>
              <a:buNone/>
              <a:defRPr sz="1200" b="1"/>
            </a:lvl1pPr>
            <a:lvl2pPr lvl="1" rtl="0">
              <a:lnSpc>
                <a:spcPct val="100000"/>
              </a:lnSpc>
              <a:spcBef>
                <a:spcPts val="0"/>
              </a:spcBef>
              <a:spcAft>
                <a:spcPts val="0"/>
              </a:spcAft>
              <a:buSzPts val="900"/>
              <a:buFont typeface="Inter"/>
              <a:buNone/>
              <a:defRPr sz="1200" b="1"/>
            </a:lvl2pPr>
            <a:lvl3pPr lvl="2" rtl="0">
              <a:lnSpc>
                <a:spcPct val="100000"/>
              </a:lnSpc>
              <a:spcBef>
                <a:spcPts val="0"/>
              </a:spcBef>
              <a:spcAft>
                <a:spcPts val="0"/>
              </a:spcAft>
              <a:buSzPts val="900"/>
              <a:buFont typeface="Inter"/>
              <a:buNone/>
              <a:defRPr sz="1200" b="1"/>
            </a:lvl3pPr>
            <a:lvl4pPr lvl="3" rtl="0">
              <a:lnSpc>
                <a:spcPct val="100000"/>
              </a:lnSpc>
              <a:spcBef>
                <a:spcPts val="0"/>
              </a:spcBef>
              <a:spcAft>
                <a:spcPts val="0"/>
              </a:spcAft>
              <a:buSzPts val="900"/>
              <a:buFont typeface="Inter"/>
              <a:buNone/>
              <a:defRPr sz="1200" b="1"/>
            </a:lvl4pPr>
            <a:lvl5pPr lvl="4" rtl="0">
              <a:lnSpc>
                <a:spcPct val="100000"/>
              </a:lnSpc>
              <a:spcBef>
                <a:spcPts val="0"/>
              </a:spcBef>
              <a:spcAft>
                <a:spcPts val="0"/>
              </a:spcAft>
              <a:buSzPts val="900"/>
              <a:buFont typeface="Inter"/>
              <a:buNone/>
              <a:defRPr sz="1200" b="1"/>
            </a:lvl5pPr>
            <a:lvl6pPr lvl="5" rtl="0">
              <a:lnSpc>
                <a:spcPct val="100000"/>
              </a:lnSpc>
              <a:spcBef>
                <a:spcPts val="0"/>
              </a:spcBef>
              <a:spcAft>
                <a:spcPts val="0"/>
              </a:spcAft>
              <a:buSzPts val="900"/>
              <a:buFont typeface="Inter"/>
              <a:buNone/>
              <a:defRPr sz="1200" b="1">
                <a:latin typeface="Inter"/>
                <a:ea typeface="Inter"/>
                <a:cs typeface="Inter"/>
                <a:sym typeface="Inter"/>
              </a:defRPr>
            </a:lvl6pPr>
            <a:lvl7pPr lvl="6" rtl="0">
              <a:lnSpc>
                <a:spcPct val="100000"/>
              </a:lnSpc>
              <a:spcBef>
                <a:spcPts val="0"/>
              </a:spcBef>
              <a:spcAft>
                <a:spcPts val="0"/>
              </a:spcAft>
              <a:buSzPts val="900"/>
              <a:buFont typeface="Inter"/>
              <a:buNone/>
              <a:defRPr sz="1200" b="1">
                <a:latin typeface="Inter"/>
                <a:ea typeface="Inter"/>
                <a:cs typeface="Inter"/>
                <a:sym typeface="Inter"/>
              </a:defRPr>
            </a:lvl7pPr>
            <a:lvl8pPr lvl="7" rtl="0">
              <a:lnSpc>
                <a:spcPct val="100000"/>
              </a:lnSpc>
              <a:spcBef>
                <a:spcPts val="0"/>
              </a:spcBef>
              <a:spcAft>
                <a:spcPts val="0"/>
              </a:spcAft>
              <a:buSzPts val="900"/>
              <a:buFont typeface="Inter"/>
              <a:buNone/>
              <a:defRPr sz="1200" b="1">
                <a:latin typeface="Inter"/>
                <a:ea typeface="Inter"/>
                <a:cs typeface="Inter"/>
                <a:sym typeface="Inter"/>
              </a:defRPr>
            </a:lvl8pPr>
            <a:lvl9pPr lvl="8" rtl="0">
              <a:lnSpc>
                <a:spcPct val="100000"/>
              </a:lnSpc>
              <a:spcBef>
                <a:spcPts val="0"/>
              </a:spcBef>
              <a:spcAft>
                <a:spcPts val="0"/>
              </a:spcAft>
              <a:buSzPts val="900"/>
              <a:buFont typeface="Inter"/>
              <a:buNone/>
              <a:defRPr sz="1200" b="1">
                <a:latin typeface="Inter"/>
                <a:ea typeface="Inter"/>
                <a:cs typeface="Inter"/>
                <a:sym typeface="Inter"/>
              </a:defRPr>
            </a:lvl9pPr>
          </a:lstStyle>
          <a:p>
            <a:endParaRPr/>
          </a:p>
        </p:txBody>
      </p:sp>
      <p:sp>
        <p:nvSpPr>
          <p:cNvPr id="2228" name="Google Shape;2228;p61"/>
          <p:cNvSpPr txBox="1">
            <a:spLocks noGrp="1"/>
          </p:cNvSpPr>
          <p:nvPr>
            <p:ph type="subTitle" idx="17"/>
          </p:nvPr>
        </p:nvSpPr>
        <p:spPr>
          <a:xfrm>
            <a:off x="3969784" y="5527520"/>
            <a:ext cx="1842400" cy="423200"/>
          </a:xfrm>
          <a:prstGeom prst="rect">
            <a:avLst/>
          </a:prstGeom>
          <a:noFill/>
        </p:spPr>
        <p:txBody>
          <a:bodyPr spcFirstLastPara="1" wrap="square" lIns="0" tIns="34275" rIns="68575" bIns="34275" anchor="t" anchorCtr="0">
            <a:noAutofit/>
          </a:bodyPr>
          <a:lstStyle>
            <a:lvl1pPr lvl="0" rtl="0">
              <a:lnSpc>
                <a:spcPct val="100000"/>
              </a:lnSpc>
              <a:spcBef>
                <a:spcPts val="0"/>
              </a:spcBef>
              <a:spcAft>
                <a:spcPts val="0"/>
              </a:spcAft>
              <a:buSzPts val="900"/>
              <a:buFont typeface="Inter"/>
              <a:buNone/>
              <a:defRPr sz="1200" b="1"/>
            </a:lvl1pPr>
            <a:lvl2pPr lvl="1" rtl="0">
              <a:lnSpc>
                <a:spcPct val="100000"/>
              </a:lnSpc>
              <a:spcBef>
                <a:spcPts val="0"/>
              </a:spcBef>
              <a:spcAft>
                <a:spcPts val="0"/>
              </a:spcAft>
              <a:buSzPts val="900"/>
              <a:buFont typeface="Inter"/>
              <a:buNone/>
              <a:defRPr sz="1200" b="1"/>
            </a:lvl2pPr>
            <a:lvl3pPr lvl="2" rtl="0">
              <a:lnSpc>
                <a:spcPct val="100000"/>
              </a:lnSpc>
              <a:spcBef>
                <a:spcPts val="0"/>
              </a:spcBef>
              <a:spcAft>
                <a:spcPts val="0"/>
              </a:spcAft>
              <a:buSzPts val="900"/>
              <a:buFont typeface="Inter"/>
              <a:buNone/>
              <a:defRPr sz="1200" b="1"/>
            </a:lvl3pPr>
            <a:lvl4pPr lvl="3" rtl="0">
              <a:lnSpc>
                <a:spcPct val="100000"/>
              </a:lnSpc>
              <a:spcBef>
                <a:spcPts val="0"/>
              </a:spcBef>
              <a:spcAft>
                <a:spcPts val="0"/>
              </a:spcAft>
              <a:buSzPts val="900"/>
              <a:buFont typeface="Inter"/>
              <a:buNone/>
              <a:defRPr sz="1200" b="1"/>
            </a:lvl4pPr>
            <a:lvl5pPr lvl="4" rtl="0">
              <a:lnSpc>
                <a:spcPct val="100000"/>
              </a:lnSpc>
              <a:spcBef>
                <a:spcPts val="0"/>
              </a:spcBef>
              <a:spcAft>
                <a:spcPts val="0"/>
              </a:spcAft>
              <a:buSzPts val="900"/>
              <a:buFont typeface="Inter"/>
              <a:buNone/>
              <a:defRPr sz="1200" b="1"/>
            </a:lvl5pPr>
            <a:lvl6pPr lvl="5" rtl="0">
              <a:lnSpc>
                <a:spcPct val="100000"/>
              </a:lnSpc>
              <a:spcBef>
                <a:spcPts val="0"/>
              </a:spcBef>
              <a:spcAft>
                <a:spcPts val="0"/>
              </a:spcAft>
              <a:buSzPts val="900"/>
              <a:buFont typeface="Inter"/>
              <a:buNone/>
              <a:defRPr sz="1200" b="1">
                <a:latin typeface="Inter"/>
                <a:ea typeface="Inter"/>
                <a:cs typeface="Inter"/>
                <a:sym typeface="Inter"/>
              </a:defRPr>
            </a:lvl6pPr>
            <a:lvl7pPr lvl="6" rtl="0">
              <a:lnSpc>
                <a:spcPct val="100000"/>
              </a:lnSpc>
              <a:spcBef>
                <a:spcPts val="0"/>
              </a:spcBef>
              <a:spcAft>
                <a:spcPts val="0"/>
              </a:spcAft>
              <a:buSzPts val="900"/>
              <a:buFont typeface="Inter"/>
              <a:buNone/>
              <a:defRPr sz="1200" b="1">
                <a:latin typeface="Inter"/>
                <a:ea typeface="Inter"/>
                <a:cs typeface="Inter"/>
                <a:sym typeface="Inter"/>
              </a:defRPr>
            </a:lvl7pPr>
            <a:lvl8pPr lvl="7" rtl="0">
              <a:lnSpc>
                <a:spcPct val="100000"/>
              </a:lnSpc>
              <a:spcBef>
                <a:spcPts val="0"/>
              </a:spcBef>
              <a:spcAft>
                <a:spcPts val="0"/>
              </a:spcAft>
              <a:buSzPts val="900"/>
              <a:buFont typeface="Inter"/>
              <a:buNone/>
              <a:defRPr sz="1200" b="1">
                <a:latin typeface="Inter"/>
                <a:ea typeface="Inter"/>
                <a:cs typeface="Inter"/>
                <a:sym typeface="Inter"/>
              </a:defRPr>
            </a:lvl8pPr>
            <a:lvl9pPr lvl="8" rtl="0">
              <a:lnSpc>
                <a:spcPct val="100000"/>
              </a:lnSpc>
              <a:spcBef>
                <a:spcPts val="0"/>
              </a:spcBef>
              <a:spcAft>
                <a:spcPts val="0"/>
              </a:spcAft>
              <a:buSzPts val="900"/>
              <a:buFont typeface="Inter"/>
              <a:buNone/>
              <a:defRPr sz="1200" b="1">
                <a:latin typeface="Inter"/>
                <a:ea typeface="Inter"/>
                <a:cs typeface="Inter"/>
                <a:sym typeface="Inter"/>
              </a:defRPr>
            </a:lvl9pPr>
          </a:lstStyle>
          <a:p>
            <a:endParaRPr/>
          </a:p>
        </p:txBody>
      </p:sp>
      <p:sp>
        <p:nvSpPr>
          <p:cNvPr id="2229" name="Google Shape;2229;p61"/>
          <p:cNvSpPr txBox="1">
            <a:spLocks noGrp="1"/>
          </p:cNvSpPr>
          <p:nvPr>
            <p:ph type="subTitle" idx="18"/>
          </p:nvPr>
        </p:nvSpPr>
        <p:spPr>
          <a:xfrm>
            <a:off x="6150181" y="5527520"/>
            <a:ext cx="1842400" cy="423200"/>
          </a:xfrm>
          <a:prstGeom prst="rect">
            <a:avLst/>
          </a:prstGeom>
          <a:noFill/>
        </p:spPr>
        <p:txBody>
          <a:bodyPr spcFirstLastPara="1" wrap="square" lIns="0" tIns="34275" rIns="68575" bIns="34275" anchor="t" anchorCtr="0">
            <a:noAutofit/>
          </a:bodyPr>
          <a:lstStyle>
            <a:lvl1pPr lvl="0" rtl="0">
              <a:lnSpc>
                <a:spcPct val="100000"/>
              </a:lnSpc>
              <a:spcBef>
                <a:spcPts val="0"/>
              </a:spcBef>
              <a:spcAft>
                <a:spcPts val="0"/>
              </a:spcAft>
              <a:buSzPts val="900"/>
              <a:buFont typeface="Inter"/>
              <a:buNone/>
              <a:defRPr sz="1200" b="1"/>
            </a:lvl1pPr>
            <a:lvl2pPr lvl="1" rtl="0">
              <a:lnSpc>
                <a:spcPct val="100000"/>
              </a:lnSpc>
              <a:spcBef>
                <a:spcPts val="0"/>
              </a:spcBef>
              <a:spcAft>
                <a:spcPts val="0"/>
              </a:spcAft>
              <a:buSzPts val="900"/>
              <a:buFont typeface="Inter"/>
              <a:buNone/>
              <a:defRPr sz="1200" b="1"/>
            </a:lvl2pPr>
            <a:lvl3pPr lvl="2" rtl="0">
              <a:lnSpc>
                <a:spcPct val="100000"/>
              </a:lnSpc>
              <a:spcBef>
                <a:spcPts val="0"/>
              </a:spcBef>
              <a:spcAft>
                <a:spcPts val="0"/>
              </a:spcAft>
              <a:buSzPts val="900"/>
              <a:buFont typeface="Inter"/>
              <a:buNone/>
              <a:defRPr sz="1200" b="1"/>
            </a:lvl3pPr>
            <a:lvl4pPr lvl="3" rtl="0">
              <a:lnSpc>
                <a:spcPct val="100000"/>
              </a:lnSpc>
              <a:spcBef>
                <a:spcPts val="0"/>
              </a:spcBef>
              <a:spcAft>
                <a:spcPts val="0"/>
              </a:spcAft>
              <a:buSzPts val="900"/>
              <a:buFont typeface="Inter"/>
              <a:buNone/>
              <a:defRPr sz="1200" b="1"/>
            </a:lvl4pPr>
            <a:lvl5pPr lvl="4" rtl="0">
              <a:lnSpc>
                <a:spcPct val="100000"/>
              </a:lnSpc>
              <a:spcBef>
                <a:spcPts val="0"/>
              </a:spcBef>
              <a:spcAft>
                <a:spcPts val="0"/>
              </a:spcAft>
              <a:buSzPts val="900"/>
              <a:buFont typeface="Inter"/>
              <a:buNone/>
              <a:defRPr sz="1200" b="1"/>
            </a:lvl5pPr>
            <a:lvl6pPr lvl="5" rtl="0">
              <a:lnSpc>
                <a:spcPct val="100000"/>
              </a:lnSpc>
              <a:spcBef>
                <a:spcPts val="0"/>
              </a:spcBef>
              <a:spcAft>
                <a:spcPts val="0"/>
              </a:spcAft>
              <a:buSzPts val="900"/>
              <a:buFont typeface="Inter"/>
              <a:buNone/>
              <a:defRPr sz="1200" b="1">
                <a:latin typeface="Inter"/>
                <a:ea typeface="Inter"/>
                <a:cs typeface="Inter"/>
                <a:sym typeface="Inter"/>
              </a:defRPr>
            </a:lvl6pPr>
            <a:lvl7pPr lvl="6" rtl="0">
              <a:lnSpc>
                <a:spcPct val="100000"/>
              </a:lnSpc>
              <a:spcBef>
                <a:spcPts val="0"/>
              </a:spcBef>
              <a:spcAft>
                <a:spcPts val="0"/>
              </a:spcAft>
              <a:buSzPts val="900"/>
              <a:buFont typeface="Inter"/>
              <a:buNone/>
              <a:defRPr sz="1200" b="1">
                <a:latin typeface="Inter"/>
                <a:ea typeface="Inter"/>
                <a:cs typeface="Inter"/>
                <a:sym typeface="Inter"/>
              </a:defRPr>
            </a:lvl7pPr>
            <a:lvl8pPr lvl="7" rtl="0">
              <a:lnSpc>
                <a:spcPct val="100000"/>
              </a:lnSpc>
              <a:spcBef>
                <a:spcPts val="0"/>
              </a:spcBef>
              <a:spcAft>
                <a:spcPts val="0"/>
              </a:spcAft>
              <a:buSzPts val="900"/>
              <a:buFont typeface="Inter"/>
              <a:buNone/>
              <a:defRPr sz="1200" b="1">
                <a:latin typeface="Inter"/>
                <a:ea typeface="Inter"/>
                <a:cs typeface="Inter"/>
                <a:sym typeface="Inter"/>
              </a:defRPr>
            </a:lvl8pPr>
            <a:lvl9pPr lvl="8" rtl="0">
              <a:lnSpc>
                <a:spcPct val="100000"/>
              </a:lnSpc>
              <a:spcBef>
                <a:spcPts val="0"/>
              </a:spcBef>
              <a:spcAft>
                <a:spcPts val="0"/>
              </a:spcAft>
              <a:buSzPts val="900"/>
              <a:buFont typeface="Inter"/>
              <a:buNone/>
              <a:defRPr sz="1200" b="1">
                <a:latin typeface="Inter"/>
                <a:ea typeface="Inter"/>
                <a:cs typeface="Inter"/>
                <a:sym typeface="Inter"/>
              </a:defRPr>
            </a:lvl9pPr>
          </a:lstStyle>
          <a:p>
            <a:endParaRPr/>
          </a:p>
        </p:txBody>
      </p:sp>
      <p:sp>
        <p:nvSpPr>
          <p:cNvPr id="2230" name="Google Shape;2230;p61"/>
          <p:cNvSpPr txBox="1">
            <a:spLocks noGrp="1"/>
          </p:cNvSpPr>
          <p:nvPr>
            <p:ph type="subTitle" idx="19"/>
          </p:nvPr>
        </p:nvSpPr>
        <p:spPr>
          <a:xfrm>
            <a:off x="8269592" y="5527520"/>
            <a:ext cx="1842400" cy="423200"/>
          </a:xfrm>
          <a:prstGeom prst="rect">
            <a:avLst/>
          </a:prstGeom>
          <a:noFill/>
        </p:spPr>
        <p:txBody>
          <a:bodyPr spcFirstLastPara="1" wrap="square" lIns="0" tIns="34275" rIns="68575" bIns="34275" anchor="t" anchorCtr="0">
            <a:noAutofit/>
          </a:bodyPr>
          <a:lstStyle>
            <a:lvl1pPr lvl="0" rtl="0">
              <a:lnSpc>
                <a:spcPct val="100000"/>
              </a:lnSpc>
              <a:spcBef>
                <a:spcPts val="0"/>
              </a:spcBef>
              <a:spcAft>
                <a:spcPts val="0"/>
              </a:spcAft>
              <a:buSzPts val="900"/>
              <a:buFont typeface="Inter"/>
              <a:buNone/>
              <a:defRPr sz="1200" b="1"/>
            </a:lvl1pPr>
            <a:lvl2pPr lvl="1" rtl="0">
              <a:lnSpc>
                <a:spcPct val="100000"/>
              </a:lnSpc>
              <a:spcBef>
                <a:spcPts val="0"/>
              </a:spcBef>
              <a:spcAft>
                <a:spcPts val="0"/>
              </a:spcAft>
              <a:buSzPts val="900"/>
              <a:buFont typeface="Inter"/>
              <a:buNone/>
              <a:defRPr sz="1200" b="1"/>
            </a:lvl2pPr>
            <a:lvl3pPr lvl="2" rtl="0">
              <a:lnSpc>
                <a:spcPct val="100000"/>
              </a:lnSpc>
              <a:spcBef>
                <a:spcPts val="0"/>
              </a:spcBef>
              <a:spcAft>
                <a:spcPts val="0"/>
              </a:spcAft>
              <a:buSzPts val="900"/>
              <a:buFont typeface="Inter"/>
              <a:buNone/>
              <a:defRPr sz="1200" b="1"/>
            </a:lvl3pPr>
            <a:lvl4pPr lvl="3" rtl="0">
              <a:lnSpc>
                <a:spcPct val="100000"/>
              </a:lnSpc>
              <a:spcBef>
                <a:spcPts val="0"/>
              </a:spcBef>
              <a:spcAft>
                <a:spcPts val="0"/>
              </a:spcAft>
              <a:buSzPts val="900"/>
              <a:buFont typeface="Inter"/>
              <a:buNone/>
              <a:defRPr sz="1200" b="1"/>
            </a:lvl4pPr>
            <a:lvl5pPr lvl="4" rtl="0">
              <a:lnSpc>
                <a:spcPct val="100000"/>
              </a:lnSpc>
              <a:spcBef>
                <a:spcPts val="0"/>
              </a:spcBef>
              <a:spcAft>
                <a:spcPts val="0"/>
              </a:spcAft>
              <a:buSzPts val="900"/>
              <a:buFont typeface="Inter"/>
              <a:buNone/>
              <a:defRPr sz="1200" b="1"/>
            </a:lvl5pPr>
            <a:lvl6pPr lvl="5" rtl="0">
              <a:lnSpc>
                <a:spcPct val="100000"/>
              </a:lnSpc>
              <a:spcBef>
                <a:spcPts val="0"/>
              </a:spcBef>
              <a:spcAft>
                <a:spcPts val="0"/>
              </a:spcAft>
              <a:buSzPts val="900"/>
              <a:buFont typeface="Inter"/>
              <a:buNone/>
              <a:defRPr sz="1200" b="1">
                <a:latin typeface="Inter"/>
                <a:ea typeface="Inter"/>
                <a:cs typeface="Inter"/>
                <a:sym typeface="Inter"/>
              </a:defRPr>
            </a:lvl6pPr>
            <a:lvl7pPr lvl="6" rtl="0">
              <a:lnSpc>
                <a:spcPct val="100000"/>
              </a:lnSpc>
              <a:spcBef>
                <a:spcPts val="0"/>
              </a:spcBef>
              <a:spcAft>
                <a:spcPts val="0"/>
              </a:spcAft>
              <a:buSzPts val="900"/>
              <a:buFont typeface="Inter"/>
              <a:buNone/>
              <a:defRPr sz="1200" b="1">
                <a:latin typeface="Inter"/>
                <a:ea typeface="Inter"/>
                <a:cs typeface="Inter"/>
                <a:sym typeface="Inter"/>
              </a:defRPr>
            </a:lvl7pPr>
            <a:lvl8pPr lvl="7" rtl="0">
              <a:lnSpc>
                <a:spcPct val="100000"/>
              </a:lnSpc>
              <a:spcBef>
                <a:spcPts val="0"/>
              </a:spcBef>
              <a:spcAft>
                <a:spcPts val="0"/>
              </a:spcAft>
              <a:buSzPts val="900"/>
              <a:buFont typeface="Inter"/>
              <a:buNone/>
              <a:defRPr sz="1200" b="1">
                <a:latin typeface="Inter"/>
                <a:ea typeface="Inter"/>
                <a:cs typeface="Inter"/>
                <a:sym typeface="Inter"/>
              </a:defRPr>
            </a:lvl8pPr>
            <a:lvl9pPr lvl="8" rtl="0">
              <a:lnSpc>
                <a:spcPct val="100000"/>
              </a:lnSpc>
              <a:spcBef>
                <a:spcPts val="0"/>
              </a:spcBef>
              <a:spcAft>
                <a:spcPts val="0"/>
              </a:spcAft>
              <a:buSzPts val="900"/>
              <a:buFont typeface="Inter"/>
              <a:buNone/>
              <a:defRPr sz="1200" b="1">
                <a:latin typeface="Inter"/>
                <a:ea typeface="Inter"/>
                <a:cs typeface="Inter"/>
                <a:sym typeface="Inter"/>
              </a:defRPr>
            </a:lvl9pPr>
          </a:lstStyle>
          <a:p>
            <a:endParaRPr/>
          </a:p>
        </p:txBody>
      </p:sp>
      <p:grpSp>
        <p:nvGrpSpPr>
          <p:cNvPr id="2231" name="Google Shape;2231;p61"/>
          <p:cNvGrpSpPr/>
          <p:nvPr/>
        </p:nvGrpSpPr>
        <p:grpSpPr>
          <a:xfrm>
            <a:off x="9604006" y="2016121"/>
            <a:ext cx="1221353" cy="1221511"/>
            <a:chOff x="719225" y="1001350"/>
            <a:chExt cx="1184400" cy="1184400"/>
          </a:xfrm>
        </p:grpSpPr>
        <p:sp>
          <p:nvSpPr>
            <p:cNvPr id="2232" name="Google Shape;2232;p61"/>
            <p:cNvSpPr/>
            <p:nvPr/>
          </p:nvSpPr>
          <p:spPr>
            <a:xfrm>
              <a:off x="719225" y="10013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sp>
          <p:nvSpPr>
            <p:cNvPr id="2233" name="Google Shape;2233;p61"/>
            <p:cNvSpPr/>
            <p:nvPr/>
          </p:nvSpPr>
          <p:spPr>
            <a:xfrm>
              <a:off x="795425" y="10775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sp>
          <p:nvSpPr>
            <p:cNvPr id="2234" name="Google Shape;2234;p61"/>
            <p:cNvSpPr/>
            <p:nvPr/>
          </p:nvSpPr>
          <p:spPr>
            <a:xfrm>
              <a:off x="871625" y="11537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sp>
          <p:nvSpPr>
            <p:cNvPr id="2235" name="Google Shape;2235;p61"/>
            <p:cNvSpPr/>
            <p:nvPr/>
          </p:nvSpPr>
          <p:spPr>
            <a:xfrm>
              <a:off x="1737725" y="1008075"/>
              <a:ext cx="152700" cy="152700"/>
            </a:xfrm>
            <a:prstGeom prst="rtTriangle">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sp>
          <p:nvSpPr>
            <p:cNvPr id="2236" name="Google Shape;2236;p61"/>
            <p:cNvSpPr/>
            <p:nvPr/>
          </p:nvSpPr>
          <p:spPr>
            <a:xfrm rot="10800000">
              <a:off x="725809" y="2020700"/>
              <a:ext cx="152700" cy="152700"/>
            </a:xfrm>
            <a:prstGeom prst="rtTriangle">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solidFill>
                  <a:schemeClr val="accent4"/>
                </a:solidFill>
                <a:latin typeface="Inter"/>
                <a:ea typeface="Inter"/>
                <a:cs typeface="Inter"/>
                <a:sym typeface="Inter"/>
              </a:endParaRPr>
            </a:p>
          </p:txBody>
        </p:sp>
      </p:grpSp>
      <p:sp>
        <p:nvSpPr>
          <p:cNvPr id="2237" name="Google Shape;2237;p61"/>
          <p:cNvSpPr>
            <a:spLocks noGrp="1"/>
          </p:cNvSpPr>
          <p:nvPr>
            <p:ph type="pic" idx="20"/>
          </p:nvPr>
        </p:nvSpPr>
        <p:spPr>
          <a:xfrm>
            <a:off x="9604025" y="2016099"/>
            <a:ext cx="1064400" cy="1064400"/>
          </a:xfrm>
          <a:prstGeom prst="roundRect">
            <a:avLst>
              <a:gd name="adj" fmla="val 3181"/>
            </a:avLst>
          </a:prstGeom>
          <a:noFill/>
          <a:ln>
            <a:noFill/>
          </a:ln>
        </p:spPr>
      </p:sp>
      <p:sp>
        <p:nvSpPr>
          <p:cNvPr id="2238" name="Google Shape;2238;p61"/>
          <p:cNvSpPr txBox="1">
            <a:spLocks noGrp="1"/>
          </p:cNvSpPr>
          <p:nvPr>
            <p:ph type="subTitle" idx="21"/>
          </p:nvPr>
        </p:nvSpPr>
        <p:spPr>
          <a:xfrm>
            <a:off x="9604025" y="3287132"/>
            <a:ext cx="1842400" cy="423200"/>
          </a:xfrm>
          <a:prstGeom prst="rect">
            <a:avLst/>
          </a:prstGeom>
          <a:noFill/>
        </p:spPr>
        <p:txBody>
          <a:bodyPr spcFirstLastPara="1" wrap="square" lIns="0" tIns="34275" rIns="68575" bIns="34275" anchor="t" anchorCtr="0">
            <a:noAutofit/>
          </a:bodyPr>
          <a:lstStyle>
            <a:lvl1pPr lvl="0" rtl="0">
              <a:lnSpc>
                <a:spcPct val="100000"/>
              </a:lnSpc>
              <a:spcBef>
                <a:spcPts val="0"/>
              </a:spcBef>
              <a:spcAft>
                <a:spcPts val="0"/>
              </a:spcAft>
              <a:buSzPts val="900"/>
              <a:buFont typeface="Inter"/>
              <a:buNone/>
              <a:defRPr sz="1200" b="1"/>
            </a:lvl1pPr>
            <a:lvl2pPr lvl="1" rtl="0">
              <a:lnSpc>
                <a:spcPct val="100000"/>
              </a:lnSpc>
              <a:spcBef>
                <a:spcPts val="0"/>
              </a:spcBef>
              <a:spcAft>
                <a:spcPts val="0"/>
              </a:spcAft>
              <a:buSzPts val="900"/>
              <a:buFont typeface="Inter"/>
              <a:buNone/>
              <a:defRPr sz="1200" b="1"/>
            </a:lvl2pPr>
            <a:lvl3pPr lvl="2" rtl="0">
              <a:lnSpc>
                <a:spcPct val="100000"/>
              </a:lnSpc>
              <a:spcBef>
                <a:spcPts val="0"/>
              </a:spcBef>
              <a:spcAft>
                <a:spcPts val="0"/>
              </a:spcAft>
              <a:buSzPts val="900"/>
              <a:buFont typeface="Inter"/>
              <a:buNone/>
              <a:defRPr sz="1200" b="1"/>
            </a:lvl3pPr>
            <a:lvl4pPr lvl="3" rtl="0">
              <a:lnSpc>
                <a:spcPct val="100000"/>
              </a:lnSpc>
              <a:spcBef>
                <a:spcPts val="0"/>
              </a:spcBef>
              <a:spcAft>
                <a:spcPts val="0"/>
              </a:spcAft>
              <a:buSzPts val="900"/>
              <a:buFont typeface="Inter"/>
              <a:buNone/>
              <a:defRPr sz="1200" b="1"/>
            </a:lvl4pPr>
            <a:lvl5pPr lvl="4" rtl="0">
              <a:lnSpc>
                <a:spcPct val="100000"/>
              </a:lnSpc>
              <a:spcBef>
                <a:spcPts val="0"/>
              </a:spcBef>
              <a:spcAft>
                <a:spcPts val="0"/>
              </a:spcAft>
              <a:buSzPts val="900"/>
              <a:buFont typeface="Inter"/>
              <a:buNone/>
              <a:defRPr sz="1200" b="1"/>
            </a:lvl5pPr>
            <a:lvl6pPr lvl="5" rtl="0">
              <a:lnSpc>
                <a:spcPct val="100000"/>
              </a:lnSpc>
              <a:spcBef>
                <a:spcPts val="0"/>
              </a:spcBef>
              <a:spcAft>
                <a:spcPts val="0"/>
              </a:spcAft>
              <a:buSzPts val="900"/>
              <a:buFont typeface="Inter"/>
              <a:buNone/>
              <a:defRPr sz="1200" b="1">
                <a:latin typeface="Inter"/>
                <a:ea typeface="Inter"/>
                <a:cs typeface="Inter"/>
                <a:sym typeface="Inter"/>
              </a:defRPr>
            </a:lvl6pPr>
            <a:lvl7pPr lvl="6" rtl="0">
              <a:lnSpc>
                <a:spcPct val="100000"/>
              </a:lnSpc>
              <a:spcBef>
                <a:spcPts val="0"/>
              </a:spcBef>
              <a:spcAft>
                <a:spcPts val="0"/>
              </a:spcAft>
              <a:buSzPts val="900"/>
              <a:buFont typeface="Inter"/>
              <a:buNone/>
              <a:defRPr sz="1200" b="1">
                <a:latin typeface="Inter"/>
                <a:ea typeface="Inter"/>
                <a:cs typeface="Inter"/>
                <a:sym typeface="Inter"/>
              </a:defRPr>
            </a:lvl7pPr>
            <a:lvl8pPr lvl="7" rtl="0">
              <a:lnSpc>
                <a:spcPct val="100000"/>
              </a:lnSpc>
              <a:spcBef>
                <a:spcPts val="0"/>
              </a:spcBef>
              <a:spcAft>
                <a:spcPts val="0"/>
              </a:spcAft>
              <a:buSzPts val="900"/>
              <a:buFont typeface="Inter"/>
              <a:buNone/>
              <a:defRPr sz="1200" b="1">
                <a:latin typeface="Inter"/>
                <a:ea typeface="Inter"/>
                <a:cs typeface="Inter"/>
                <a:sym typeface="Inter"/>
              </a:defRPr>
            </a:lvl8pPr>
            <a:lvl9pPr lvl="8" rtl="0">
              <a:lnSpc>
                <a:spcPct val="100000"/>
              </a:lnSpc>
              <a:spcBef>
                <a:spcPts val="0"/>
              </a:spcBef>
              <a:spcAft>
                <a:spcPts val="0"/>
              </a:spcAft>
              <a:buSzPts val="900"/>
              <a:buFont typeface="Inter"/>
              <a:buNone/>
              <a:defRPr sz="1200" b="1">
                <a:latin typeface="Inter"/>
                <a:ea typeface="Inter"/>
                <a:cs typeface="Inter"/>
                <a:sym typeface="Inter"/>
              </a:defRPr>
            </a:lvl9pPr>
          </a:lstStyle>
          <a:p>
            <a:endParaRPr/>
          </a:p>
        </p:txBody>
      </p:sp>
    </p:spTree>
    <p:extLst>
      <p:ext uri="{BB962C8B-B14F-4D97-AF65-F5344CB8AC3E}">
        <p14:creationId xmlns:p14="http://schemas.microsoft.com/office/powerpoint/2010/main" val="314769944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matchingName="Profile pics - 4">
  <p:cSld name="Profile pics - 4">
    <p:bg>
      <p:bgPr>
        <a:solidFill>
          <a:schemeClr val="lt2"/>
        </a:solidFill>
        <a:effectLst/>
      </p:bgPr>
    </p:bg>
    <p:spTree>
      <p:nvGrpSpPr>
        <p:cNvPr id="1" name="Shape 2239"/>
        <p:cNvGrpSpPr/>
        <p:nvPr/>
      </p:nvGrpSpPr>
      <p:grpSpPr>
        <a:xfrm>
          <a:off x="0" y="0"/>
          <a:ext cx="0" cy="0"/>
          <a:chOff x="0" y="0"/>
          <a:chExt cx="0" cy="0"/>
        </a:xfrm>
      </p:grpSpPr>
      <p:grpSp>
        <p:nvGrpSpPr>
          <p:cNvPr id="2240" name="Google Shape;2240;p62"/>
          <p:cNvGrpSpPr/>
          <p:nvPr/>
        </p:nvGrpSpPr>
        <p:grpSpPr>
          <a:xfrm>
            <a:off x="1159995" y="2005437"/>
            <a:ext cx="1632893" cy="1633051"/>
            <a:chOff x="719225" y="1001350"/>
            <a:chExt cx="1184400" cy="1184400"/>
          </a:xfrm>
        </p:grpSpPr>
        <p:sp>
          <p:nvSpPr>
            <p:cNvPr id="2241" name="Google Shape;2241;p62"/>
            <p:cNvSpPr/>
            <p:nvPr/>
          </p:nvSpPr>
          <p:spPr>
            <a:xfrm>
              <a:off x="719225" y="10013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sp>
          <p:nvSpPr>
            <p:cNvPr id="2242" name="Google Shape;2242;p62"/>
            <p:cNvSpPr/>
            <p:nvPr/>
          </p:nvSpPr>
          <p:spPr>
            <a:xfrm>
              <a:off x="795425" y="10775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sp>
          <p:nvSpPr>
            <p:cNvPr id="2243" name="Google Shape;2243;p62"/>
            <p:cNvSpPr/>
            <p:nvPr/>
          </p:nvSpPr>
          <p:spPr>
            <a:xfrm>
              <a:off x="871625" y="11537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sp>
          <p:nvSpPr>
            <p:cNvPr id="2244" name="Google Shape;2244;p62"/>
            <p:cNvSpPr/>
            <p:nvPr/>
          </p:nvSpPr>
          <p:spPr>
            <a:xfrm>
              <a:off x="1737725" y="1008075"/>
              <a:ext cx="152700" cy="152700"/>
            </a:xfrm>
            <a:prstGeom prst="rtTriangle">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sp>
          <p:nvSpPr>
            <p:cNvPr id="2245" name="Google Shape;2245;p62"/>
            <p:cNvSpPr/>
            <p:nvPr/>
          </p:nvSpPr>
          <p:spPr>
            <a:xfrm rot="10800000">
              <a:off x="725809" y="2020700"/>
              <a:ext cx="152700" cy="152700"/>
            </a:xfrm>
            <a:prstGeom prst="rtTriangle">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grpSp>
      <p:grpSp>
        <p:nvGrpSpPr>
          <p:cNvPr id="2246" name="Google Shape;2246;p62"/>
          <p:cNvGrpSpPr/>
          <p:nvPr/>
        </p:nvGrpSpPr>
        <p:grpSpPr>
          <a:xfrm>
            <a:off x="3955906" y="2005437"/>
            <a:ext cx="1632893" cy="1633051"/>
            <a:chOff x="719225" y="1001350"/>
            <a:chExt cx="1184400" cy="1184400"/>
          </a:xfrm>
        </p:grpSpPr>
        <p:sp>
          <p:nvSpPr>
            <p:cNvPr id="2247" name="Google Shape;2247;p62"/>
            <p:cNvSpPr/>
            <p:nvPr/>
          </p:nvSpPr>
          <p:spPr>
            <a:xfrm>
              <a:off x="719225" y="10013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sp>
          <p:nvSpPr>
            <p:cNvPr id="2248" name="Google Shape;2248;p62"/>
            <p:cNvSpPr/>
            <p:nvPr/>
          </p:nvSpPr>
          <p:spPr>
            <a:xfrm>
              <a:off x="795425" y="10775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sp>
          <p:nvSpPr>
            <p:cNvPr id="2249" name="Google Shape;2249;p62"/>
            <p:cNvSpPr/>
            <p:nvPr/>
          </p:nvSpPr>
          <p:spPr>
            <a:xfrm>
              <a:off x="871625" y="11537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sp>
          <p:nvSpPr>
            <p:cNvPr id="2250" name="Google Shape;2250;p62"/>
            <p:cNvSpPr/>
            <p:nvPr/>
          </p:nvSpPr>
          <p:spPr>
            <a:xfrm>
              <a:off x="1737725" y="1008075"/>
              <a:ext cx="152700" cy="152700"/>
            </a:xfrm>
            <a:prstGeom prst="rtTriangle">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sp>
          <p:nvSpPr>
            <p:cNvPr id="2251" name="Google Shape;2251;p62"/>
            <p:cNvSpPr/>
            <p:nvPr/>
          </p:nvSpPr>
          <p:spPr>
            <a:xfrm rot="10800000">
              <a:off x="725809" y="2020700"/>
              <a:ext cx="152700" cy="152700"/>
            </a:xfrm>
            <a:prstGeom prst="rtTriangle">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grpSp>
      <p:grpSp>
        <p:nvGrpSpPr>
          <p:cNvPr id="2252" name="Google Shape;2252;p62"/>
          <p:cNvGrpSpPr/>
          <p:nvPr/>
        </p:nvGrpSpPr>
        <p:grpSpPr>
          <a:xfrm>
            <a:off x="6751591" y="2005437"/>
            <a:ext cx="1632893" cy="1633051"/>
            <a:chOff x="719225" y="1001350"/>
            <a:chExt cx="1184400" cy="1184400"/>
          </a:xfrm>
        </p:grpSpPr>
        <p:sp>
          <p:nvSpPr>
            <p:cNvPr id="2253" name="Google Shape;2253;p62"/>
            <p:cNvSpPr/>
            <p:nvPr/>
          </p:nvSpPr>
          <p:spPr>
            <a:xfrm>
              <a:off x="719225" y="10013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sp>
          <p:nvSpPr>
            <p:cNvPr id="2254" name="Google Shape;2254;p62"/>
            <p:cNvSpPr/>
            <p:nvPr/>
          </p:nvSpPr>
          <p:spPr>
            <a:xfrm>
              <a:off x="795425" y="10775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sp>
          <p:nvSpPr>
            <p:cNvPr id="2255" name="Google Shape;2255;p62"/>
            <p:cNvSpPr/>
            <p:nvPr/>
          </p:nvSpPr>
          <p:spPr>
            <a:xfrm>
              <a:off x="871625" y="11537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sp>
          <p:nvSpPr>
            <p:cNvPr id="2256" name="Google Shape;2256;p62"/>
            <p:cNvSpPr/>
            <p:nvPr/>
          </p:nvSpPr>
          <p:spPr>
            <a:xfrm>
              <a:off x="1737725" y="1008075"/>
              <a:ext cx="152700" cy="152700"/>
            </a:xfrm>
            <a:prstGeom prst="rtTriangle">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sp>
          <p:nvSpPr>
            <p:cNvPr id="2257" name="Google Shape;2257;p62"/>
            <p:cNvSpPr/>
            <p:nvPr/>
          </p:nvSpPr>
          <p:spPr>
            <a:xfrm rot="10800000">
              <a:off x="725809" y="2020700"/>
              <a:ext cx="152700" cy="152700"/>
            </a:xfrm>
            <a:prstGeom prst="rtTriangle">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grpSp>
      <p:grpSp>
        <p:nvGrpSpPr>
          <p:cNvPr id="2258" name="Google Shape;2258;p62"/>
          <p:cNvGrpSpPr/>
          <p:nvPr/>
        </p:nvGrpSpPr>
        <p:grpSpPr>
          <a:xfrm>
            <a:off x="9547312" y="2005437"/>
            <a:ext cx="1632893" cy="1633051"/>
            <a:chOff x="719225" y="1001350"/>
            <a:chExt cx="1184400" cy="1184400"/>
          </a:xfrm>
        </p:grpSpPr>
        <p:sp>
          <p:nvSpPr>
            <p:cNvPr id="2259" name="Google Shape;2259;p62"/>
            <p:cNvSpPr/>
            <p:nvPr/>
          </p:nvSpPr>
          <p:spPr>
            <a:xfrm>
              <a:off x="719225" y="10013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sp>
          <p:nvSpPr>
            <p:cNvPr id="2260" name="Google Shape;2260;p62"/>
            <p:cNvSpPr/>
            <p:nvPr/>
          </p:nvSpPr>
          <p:spPr>
            <a:xfrm>
              <a:off x="795425" y="10775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sp>
          <p:nvSpPr>
            <p:cNvPr id="2261" name="Google Shape;2261;p62"/>
            <p:cNvSpPr/>
            <p:nvPr/>
          </p:nvSpPr>
          <p:spPr>
            <a:xfrm>
              <a:off x="871625" y="1153750"/>
              <a:ext cx="1032000" cy="1032000"/>
            </a:xfrm>
            <a:prstGeom prst="roundRect">
              <a:avLst>
                <a:gd name="adj" fmla="val 3178"/>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sp>
          <p:nvSpPr>
            <p:cNvPr id="2262" name="Google Shape;2262;p62"/>
            <p:cNvSpPr/>
            <p:nvPr/>
          </p:nvSpPr>
          <p:spPr>
            <a:xfrm>
              <a:off x="1737725" y="1008075"/>
              <a:ext cx="152700" cy="152700"/>
            </a:xfrm>
            <a:prstGeom prst="rtTriangle">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sp>
          <p:nvSpPr>
            <p:cNvPr id="2263" name="Google Shape;2263;p62"/>
            <p:cNvSpPr/>
            <p:nvPr/>
          </p:nvSpPr>
          <p:spPr>
            <a:xfrm rot="10800000">
              <a:off x="725809" y="2020700"/>
              <a:ext cx="152700" cy="152700"/>
            </a:xfrm>
            <a:prstGeom prst="rtTriangle">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grpSp>
      <p:sp>
        <p:nvSpPr>
          <p:cNvPr id="2264" name="Google Shape;2264;p62"/>
          <p:cNvSpPr>
            <a:spLocks noGrp="1"/>
          </p:cNvSpPr>
          <p:nvPr>
            <p:ph type="pic" idx="2"/>
          </p:nvPr>
        </p:nvSpPr>
        <p:spPr>
          <a:xfrm>
            <a:off x="1160219" y="2005397"/>
            <a:ext cx="1422800" cy="1422800"/>
          </a:xfrm>
          <a:prstGeom prst="roundRect">
            <a:avLst>
              <a:gd name="adj" fmla="val 3181"/>
            </a:avLst>
          </a:prstGeom>
          <a:noFill/>
          <a:ln>
            <a:noFill/>
          </a:ln>
        </p:spPr>
      </p:sp>
      <p:sp>
        <p:nvSpPr>
          <p:cNvPr id="2265" name="Google Shape;2265;p62"/>
          <p:cNvSpPr>
            <a:spLocks noGrp="1"/>
          </p:cNvSpPr>
          <p:nvPr>
            <p:ph type="pic" idx="3"/>
          </p:nvPr>
        </p:nvSpPr>
        <p:spPr>
          <a:xfrm>
            <a:off x="3955905" y="2005397"/>
            <a:ext cx="1422800" cy="1422800"/>
          </a:xfrm>
          <a:prstGeom prst="roundRect">
            <a:avLst>
              <a:gd name="adj" fmla="val 3181"/>
            </a:avLst>
          </a:prstGeom>
          <a:noFill/>
          <a:ln>
            <a:noFill/>
          </a:ln>
        </p:spPr>
      </p:sp>
      <p:sp>
        <p:nvSpPr>
          <p:cNvPr id="2266" name="Google Shape;2266;p62"/>
          <p:cNvSpPr>
            <a:spLocks noGrp="1"/>
          </p:cNvSpPr>
          <p:nvPr>
            <p:ph type="pic" idx="4"/>
          </p:nvPr>
        </p:nvSpPr>
        <p:spPr>
          <a:xfrm>
            <a:off x="6751591" y="2005397"/>
            <a:ext cx="1422800" cy="1422800"/>
          </a:xfrm>
          <a:prstGeom prst="roundRect">
            <a:avLst>
              <a:gd name="adj" fmla="val 3181"/>
            </a:avLst>
          </a:prstGeom>
          <a:noFill/>
          <a:ln>
            <a:noFill/>
          </a:ln>
        </p:spPr>
      </p:sp>
      <p:sp>
        <p:nvSpPr>
          <p:cNvPr id="2267" name="Google Shape;2267;p62"/>
          <p:cNvSpPr>
            <a:spLocks noGrp="1"/>
          </p:cNvSpPr>
          <p:nvPr>
            <p:ph type="pic" idx="5"/>
          </p:nvPr>
        </p:nvSpPr>
        <p:spPr>
          <a:xfrm>
            <a:off x="9547276" y="2005397"/>
            <a:ext cx="1422800" cy="1422800"/>
          </a:xfrm>
          <a:prstGeom prst="roundRect">
            <a:avLst>
              <a:gd name="adj" fmla="val 3181"/>
            </a:avLst>
          </a:prstGeom>
          <a:noFill/>
          <a:ln>
            <a:noFill/>
          </a:ln>
        </p:spPr>
      </p:sp>
      <p:sp>
        <p:nvSpPr>
          <p:cNvPr id="2268" name="Google Shape;2268;p62"/>
          <p:cNvSpPr txBox="1">
            <a:spLocks noGrp="1"/>
          </p:cNvSpPr>
          <p:nvPr>
            <p:ph type="title"/>
          </p:nvPr>
        </p:nvSpPr>
        <p:spPr>
          <a:xfrm>
            <a:off x="951700" y="359997"/>
            <a:ext cx="10515600" cy="975200"/>
          </a:xfrm>
          <a:prstGeom prst="rect">
            <a:avLst/>
          </a:prstGeom>
          <a:noFill/>
          <a:ln>
            <a:noFill/>
          </a:ln>
        </p:spPr>
        <p:txBody>
          <a:bodyPr spcFirstLastPara="1" wrap="square" lIns="0" tIns="0" rIns="68575" bIns="34275" anchor="t" anchorCtr="0">
            <a:noAutofit/>
          </a:bodyPr>
          <a:lstStyle>
            <a:lvl1pPr lvl="0" algn="l" rtl="0">
              <a:lnSpc>
                <a:spcPct val="90000"/>
              </a:lnSpc>
              <a:spcBef>
                <a:spcPts val="0"/>
              </a:spcBef>
              <a:spcAft>
                <a:spcPts val="0"/>
              </a:spcAft>
              <a:buClr>
                <a:schemeClr val="dk1"/>
              </a:buClr>
              <a:buSzPts val="2400"/>
              <a:buFont typeface="Inter Medium"/>
              <a:buNone/>
              <a:defRPr sz="3200">
                <a:solidFill>
                  <a:schemeClr val="dk1"/>
                </a:solidFill>
                <a:latin typeface="Inter Medium"/>
                <a:ea typeface="Inter Medium"/>
                <a:cs typeface="Inter Medium"/>
                <a:sym typeface="Inter Medium"/>
              </a:defRPr>
            </a:lvl1pPr>
            <a:lvl2pPr lvl="1" rtl="0">
              <a:spcBef>
                <a:spcPts val="0"/>
              </a:spcBef>
              <a:spcAft>
                <a:spcPts val="0"/>
              </a:spcAft>
              <a:buClr>
                <a:schemeClr val="dk1"/>
              </a:buClr>
              <a:buSzPts val="1100"/>
              <a:buNone/>
              <a:defRPr b="1">
                <a:solidFill>
                  <a:schemeClr val="dk1"/>
                </a:solidFill>
              </a:defRPr>
            </a:lvl2pPr>
            <a:lvl3pPr lvl="2" rtl="0">
              <a:spcBef>
                <a:spcPts val="0"/>
              </a:spcBef>
              <a:spcAft>
                <a:spcPts val="0"/>
              </a:spcAft>
              <a:buClr>
                <a:schemeClr val="dk1"/>
              </a:buClr>
              <a:buSzPts val="1100"/>
              <a:buNone/>
              <a:defRPr b="1">
                <a:solidFill>
                  <a:schemeClr val="dk1"/>
                </a:solidFill>
              </a:defRPr>
            </a:lvl3pPr>
            <a:lvl4pPr lvl="3" rtl="0">
              <a:spcBef>
                <a:spcPts val="0"/>
              </a:spcBef>
              <a:spcAft>
                <a:spcPts val="0"/>
              </a:spcAft>
              <a:buClr>
                <a:schemeClr val="dk1"/>
              </a:buClr>
              <a:buSzPts val="1100"/>
              <a:buNone/>
              <a:defRPr b="1">
                <a:solidFill>
                  <a:schemeClr val="dk1"/>
                </a:solidFill>
              </a:defRPr>
            </a:lvl4pPr>
            <a:lvl5pPr lvl="4" rtl="0">
              <a:spcBef>
                <a:spcPts val="0"/>
              </a:spcBef>
              <a:spcAft>
                <a:spcPts val="0"/>
              </a:spcAft>
              <a:buClr>
                <a:schemeClr val="dk1"/>
              </a:buClr>
              <a:buSzPts val="1100"/>
              <a:buNone/>
              <a:defRPr b="1">
                <a:solidFill>
                  <a:schemeClr val="dk1"/>
                </a:solidFill>
              </a:defRPr>
            </a:lvl5pPr>
            <a:lvl6pPr lvl="5" rtl="0">
              <a:spcBef>
                <a:spcPts val="0"/>
              </a:spcBef>
              <a:spcAft>
                <a:spcPts val="0"/>
              </a:spcAft>
              <a:buClr>
                <a:schemeClr val="dk1"/>
              </a:buClr>
              <a:buSzPts val="1100"/>
              <a:buNone/>
              <a:defRPr b="1">
                <a:solidFill>
                  <a:schemeClr val="dk1"/>
                </a:solidFill>
              </a:defRPr>
            </a:lvl6pPr>
            <a:lvl7pPr lvl="6" rtl="0">
              <a:spcBef>
                <a:spcPts val="0"/>
              </a:spcBef>
              <a:spcAft>
                <a:spcPts val="0"/>
              </a:spcAft>
              <a:buClr>
                <a:schemeClr val="dk1"/>
              </a:buClr>
              <a:buSzPts val="1100"/>
              <a:buNone/>
              <a:defRPr b="1">
                <a:solidFill>
                  <a:schemeClr val="dk1"/>
                </a:solidFill>
              </a:defRPr>
            </a:lvl7pPr>
            <a:lvl8pPr lvl="7" rtl="0">
              <a:spcBef>
                <a:spcPts val="0"/>
              </a:spcBef>
              <a:spcAft>
                <a:spcPts val="0"/>
              </a:spcAft>
              <a:buClr>
                <a:schemeClr val="dk1"/>
              </a:buClr>
              <a:buSzPts val="1100"/>
              <a:buNone/>
              <a:defRPr b="1">
                <a:solidFill>
                  <a:schemeClr val="dk1"/>
                </a:solidFill>
              </a:defRPr>
            </a:lvl8pPr>
            <a:lvl9pPr lvl="8" rtl="0">
              <a:spcBef>
                <a:spcPts val="0"/>
              </a:spcBef>
              <a:spcAft>
                <a:spcPts val="0"/>
              </a:spcAft>
              <a:buClr>
                <a:schemeClr val="dk1"/>
              </a:buClr>
              <a:buSzPts val="1100"/>
              <a:buNone/>
              <a:defRPr b="1">
                <a:solidFill>
                  <a:schemeClr val="dk1"/>
                </a:solidFill>
              </a:defRPr>
            </a:lvl9pPr>
          </a:lstStyle>
          <a:p>
            <a:endParaRPr/>
          </a:p>
        </p:txBody>
      </p:sp>
      <p:sp>
        <p:nvSpPr>
          <p:cNvPr id="2269" name="Google Shape;2269;p62"/>
          <p:cNvSpPr txBox="1">
            <a:spLocks noGrp="1"/>
          </p:cNvSpPr>
          <p:nvPr>
            <p:ph type="sldNum" idx="12"/>
          </p:nvPr>
        </p:nvSpPr>
        <p:spPr>
          <a:xfrm>
            <a:off x="10978812" y="5993647"/>
            <a:ext cx="731600" cy="524800"/>
          </a:xfrm>
          <a:prstGeom prst="rect">
            <a:avLst/>
          </a:prstGeom>
          <a:noFill/>
        </p:spPr>
        <p:txBody>
          <a:bodyPr spcFirstLastPara="1" wrap="square" lIns="91425" tIns="91425" rIns="0" bIns="0" anchor="b" anchorCtr="0">
            <a:noAutofit/>
          </a:bodyPr>
          <a:lstStyle>
            <a:lvl1pPr lvl="0" algn="r" rtl="0">
              <a:buNone/>
              <a:defRPr sz="667">
                <a:latin typeface="Inter"/>
                <a:ea typeface="Inter"/>
                <a:cs typeface="Inter"/>
                <a:sym typeface="Inter"/>
              </a:defRPr>
            </a:lvl1pPr>
            <a:lvl2pPr lvl="1" algn="r" rtl="0">
              <a:buNone/>
              <a:defRPr sz="667">
                <a:latin typeface="Inter"/>
                <a:ea typeface="Inter"/>
                <a:cs typeface="Inter"/>
                <a:sym typeface="Inter"/>
              </a:defRPr>
            </a:lvl2pPr>
            <a:lvl3pPr lvl="2" algn="r" rtl="0">
              <a:buNone/>
              <a:defRPr sz="667">
                <a:latin typeface="Inter"/>
                <a:ea typeface="Inter"/>
                <a:cs typeface="Inter"/>
                <a:sym typeface="Inter"/>
              </a:defRPr>
            </a:lvl3pPr>
            <a:lvl4pPr lvl="3" algn="r" rtl="0">
              <a:buNone/>
              <a:defRPr sz="667">
                <a:latin typeface="Inter"/>
                <a:ea typeface="Inter"/>
                <a:cs typeface="Inter"/>
                <a:sym typeface="Inter"/>
              </a:defRPr>
            </a:lvl4pPr>
            <a:lvl5pPr lvl="4" algn="r" rtl="0">
              <a:buNone/>
              <a:defRPr sz="667">
                <a:latin typeface="Inter"/>
                <a:ea typeface="Inter"/>
                <a:cs typeface="Inter"/>
                <a:sym typeface="Inter"/>
              </a:defRPr>
            </a:lvl5pPr>
            <a:lvl6pPr lvl="5" algn="r" rtl="0">
              <a:buNone/>
              <a:defRPr sz="667">
                <a:latin typeface="Inter"/>
                <a:ea typeface="Inter"/>
                <a:cs typeface="Inter"/>
                <a:sym typeface="Inter"/>
              </a:defRPr>
            </a:lvl6pPr>
            <a:lvl7pPr lvl="6" algn="r" rtl="0">
              <a:buNone/>
              <a:defRPr sz="667">
                <a:latin typeface="Inter"/>
                <a:ea typeface="Inter"/>
                <a:cs typeface="Inter"/>
                <a:sym typeface="Inter"/>
              </a:defRPr>
            </a:lvl7pPr>
            <a:lvl8pPr lvl="7" algn="r" rtl="0">
              <a:buNone/>
              <a:defRPr sz="667">
                <a:latin typeface="Inter"/>
                <a:ea typeface="Inter"/>
                <a:cs typeface="Inter"/>
                <a:sym typeface="Inter"/>
              </a:defRPr>
            </a:lvl8pPr>
            <a:lvl9pPr lvl="8" algn="r" rtl="0">
              <a:buNone/>
              <a:defRPr sz="667">
                <a:latin typeface="Inter"/>
                <a:ea typeface="Inter"/>
                <a:cs typeface="Inter"/>
                <a:sym typeface="Inter"/>
              </a:defRPr>
            </a:lvl9pPr>
          </a:lstStyle>
          <a:p>
            <a:fld id="{00000000-1234-1234-1234-123412341234}" type="slidenum">
              <a:rPr lang="en-GB" smtClean="0"/>
              <a:pPr/>
              <a:t>‹#›</a:t>
            </a:fld>
            <a:endParaRPr lang="en-GB"/>
          </a:p>
        </p:txBody>
      </p:sp>
      <p:sp>
        <p:nvSpPr>
          <p:cNvPr id="2270" name="Google Shape;2270;p62"/>
          <p:cNvSpPr txBox="1"/>
          <p:nvPr/>
        </p:nvSpPr>
        <p:spPr>
          <a:xfrm>
            <a:off x="481600" y="6245247"/>
            <a:ext cx="1288400" cy="273200"/>
          </a:xfrm>
          <a:prstGeom prst="rect">
            <a:avLst/>
          </a:prstGeom>
          <a:noFill/>
          <a:ln>
            <a:noFill/>
          </a:ln>
        </p:spPr>
        <p:txBody>
          <a:bodyPr spcFirstLastPara="1" wrap="square" lIns="0" tIns="0" rIns="0" bIns="0" anchor="b" anchorCtr="0">
            <a:noAutofit/>
          </a:bodyPr>
          <a:lstStyle/>
          <a:p>
            <a:pPr marL="0" lvl="0" indent="0" algn="l" rtl="0">
              <a:spcBef>
                <a:spcPts val="0"/>
              </a:spcBef>
              <a:spcAft>
                <a:spcPts val="0"/>
              </a:spcAft>
              <a:buNone/>
            </a:pPr>
            <a:r>
              <a:rPr lang="en-GB" sz="667">
                <a:solidFill>
                  <a:schemeClr val="dk2"/>
                </a:solidFill>
                <a:latin typeface="Inter"/>
                <a:ea typeface="Inter"/>
                <a:cs typeface="Inter"/>
                <a:sym typeface="Inter"/>
              </a:rPr>
              <a:t>Multiverse</a:t>
            </a:r>
            <a:endParaRPr sz="667">
              <a:solidFill>
                <a:schemeClr val="dk2"/>
              </a:solidFill>
              <a:latin typeface="Inter"/>
              <a:ea typeface="Inter"/>
              <a:cs typeface="Inter"/>
              <a:sym typeface="Inter"/>
            </a:endParaRPr>
          </a:p>
        </p:txBody>
      </p:sp>
      <p:sp>
        <p:nvSpPr>
          <p:cNvPr id="2271" name="Google Shape;2271;p62"/>
          <p:cNvSpPr/>
          <p:nvPr/>
        </p:nvSpPr>
        <p:spPr>
          <a:xfrm>
            <a:off x="481601" y="414630"/>
            <a:ext cx="349111" cy="305471"/>
          </a:xfrm>
          <a:custGeom>
            <a:avLst/>
            <a:gdLst/>
            <a:ahLst/>
            <a:cxnLst/>
            <a:rect l="l" t="t" r="r" b="b"/>
            <a:pathLst>
              <a:path w="1586865" h="1388506" extrusionOk="0">
                <a:moveTo>
                  <a:pt x="1083683" y="969931"/>
                </a:moveTo>
                <a:lnTo>
                  <a:pt x="1083683" y="579692"/>
                </a:lnTo>
                <a:lnTo>
                  <a:pt x="849297" y="969931"/>
                </a:lnTo>
                <a:lnTo>
                  <a:pt x="848892" y="969931"/>
                </a:lnTo>
                <a:cubicBezTo>
                  <a:pt x="848892" y="969931"/>
                  <a:pt x="848892" y="969931"/>
                  <a:pt x="848892" y="969931"/>
                </a:cubicBezTo>
                <a:lnTo>
                  <a:pt x="738783" y="969931"/>
                </a:lnTo>
                <a:lnTo>
                  <a:pt x="738783" y="577668"/>
                </a:lnTo>
                <a:lnTo>
                  <a:pt x="549735" y="892612"/>
                </a:lnTo>
                <a:cubicBezTo>
                  <a:pt x="527876" y="929449"/>
                  <a:pt x="510873" y="958191"/>
                  <a:pt x="503992" y="969931"/>
                </a:cubicBezTo>
                <a:lnTo>
                  <a:pt x="393073" y="969931"/>
                </a:lnTo>
                <a:lnTo>
                  <a:pt x="393073" y="418576"/>
                </a:lnTo>
                <a:lnTo>
                  <a:pt x="503992" y="418576"/>
                </a:lnTo>
                <a:lnTo>
                  <a:pt x="502777" y="760643"/>
                </a:lnTo>
                <a:lnTo>
                  <a:pt x="503587" y="782098"/>
                </a:lnTo>
                <a:lnTo>
                  <a:pt x="721781" y="418981"/>
                </a:lnTo>
                <a:lnTo>
                  <a:pt x="721781" y="418981"/>
                </a:lnTo>
                <a:lnTo>
                  <a:pt x="721781" y="418981"/>
                </a:lnTo>
                <a:lnTo>
                  <a:pt x="739188" y="418981"/>
                </a:lnTo>
                <a:lnTo>
                  <a:pt x="847678" y="418981"/>
                </a:lnTo>
                <a:cubicBezTo>
                  <a:pt x="847678" y="418981"/>
                  <a:pt x="848487" y="722995"/>
                  <a:pt x="848892" y="783717"/>
                </a:cubicBezTo>
                <a:lnTo>
                  <a:pt x="1067895" y="418981"/>
                </a:lnTo>
                <a:lnTo>
                  <a:pt x="1067895" y="418981"/>
                </a:lnTo>
                <a:lnTo>
                  <a:pt x="1067895" y="418981"/>
                </a:lnTo>
                <a:lnTo>
                  <a:pt x="1085302" y="418981"/>
                </a:lnTo>
                <a:lnTo>
                  <a:pt x="1193387" y="418981"/>
                </a:lnTo>
                <a:lnTo>
                  <a:pt x="1193387" y="970336"/>
                </a:lnTo>
                <a:lnTo>
                  <a:pt x="1083683" y="970336"/>
                </a:lnTo>
                <a:close/>
                <a:moveTo>
                  <a:pt x="1190149" y="0"/>
                </a:moveTo>
                <a:lnTo>
                  <a:pt x="396716" y="0"/>
                </a:lnTo>
                <a:lnTo>
                  <a:pt x="0" y="694253"/>
                </a:lnTo>
                <a:lnTo>
                  <a:pt x="396716" y="1388507"/>
                </a:lnTo>
                <a:lnTo>
                  <a:pt x="1190149" y="1388507"/>
                </a:lnTo>
                <a:lnTo>
                  <a:pt x="1586865" y="694253"/>
                </a:lnTo>
                <a:lnTo>
                  <a:pt x="1190149" y="0"/>
                </a:lnTo>
                <a:close/>
              </a:path>
            </a:pathLst>
          </a:custGeom>
          <a:solidFill>
            <a:schemeClr val="dk2"/>
          </a:solidFill>
          <a:ln>
            <a:noFill/>
          </a:ln>
        </p:spPr>
        <p:txBody>
          <a:bodyPr spcFirstLastPara="1" wrap="square" lIns="91433" tIns="45700" rIns="91433" bIns="45700"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272" name="Google Shape;2272;p62"/>
          <p:cNvSpPr txBox="1">
            <a:spLocks noGrp="1"/>
          </p:cNvSpPr>
          <p:nvPr>
            <p:ph type="subTitle" idx="1"/>
          </p:nvPr>
        </p:nvSpPr>
        <p:spPr>
          <a:xfrm>
            <a:off x="1159967" y="3823475"/>
            <a:ext cx="2046400" cy="470000"/>
          </a:xfrm>
          <a:prstGeom prst="rect">
            <a:avLst/>
          </a:prstGeom>
          <a:noFill/>
        </p:spPr>
        <p:txBody>
          <a:bodyPr spcFirstLastPara="1" wrap="square" lIns="0" tIns="34275" rIns="68575" bIns="34275" anchor="t" anchorCtr="0">
            <a:noAutofit/>
          </a:bodyPr>
          <a:lstStyle>
            <a:lvl1pPr lvl="0" rtl="0">
              <a:lnSpc>
                <a:spcPct val="100000"/>
              </a:lnSpc>
              <a:spcBef>
                <a:spcPts val="0"/>
              </a:spcBef>
              <a:spcAft>
                <a:spcPts val="0"/>
              </a:spcAft>
              <a:buClr>
                <a:schemeClr val="dk1"/>
              </a:buClr>
              <a:buSzPts val="900"/>
              <a:buFont typeface="Inter"/>
              <a:buNone/>
              <a:defRPr sz="1200" b="1">
                <a:solidFill>
                  <a:schemeClr val="dk1"/>
                </a:solidFill>
              </a:defRPr>
            </a:lvl1pPr>
            <a:lvl2pPr lvl="1" rtl="0">
              <a:lnSpc>
                <a:spcPct val="100000"/>
              </a:lnSpc>
              <a:spcBef>
                <a:spcPts val="0"/>
              </a:spcBef>
              <a:spcAft>
                <a:spcPts val="0"/>
              </a:spcAft>
              <a:buClr>
                <a:schemeClr val="dk1"/>
              </a:buClr>
              <a:buSzPts val="900"/>
              <a:buFont typeface="Inter"/>
              <a:buNone/>
              <a:defRPr sz="1200" b="1">
                <a:solidFill>
                  <a:schemeClr val="dk1"/>
                </a:solidFill>
              </a:defRPr>
            </a:lvl2pPr>
            <a:lvl3pPr lvl="2" rtl="0">
              <a:lnSpc>
                <a:spcPct val="100000"/>
              </a:lnSpc>
              <a:spcBef>
                <a:spcPts val="0"/>
              </a:spcBef>
              <a:spcAft>
                <a:spcPts val="0"/>
              </a:spcAft>
              <a:buClr>
                <a:schemeClr val="dk1"/>
              </a:buClr>
              <a:buSzPts val="900"/>
              <a:buFont typeface="Inter"/>
              <a:buNone/>
              <a:defRPr sz="1200" b="1">
                <a:solidFill>
                  <a:schemeClr val="dk1"/>
                </a:solidFill>
              </a:defRPr>
            </a:lvl3pPr>
            <a:lvl4pPr lvl="3" rtl="0">
              <a:lnSpc>
                <a:spcPct val="100000"/>
              </a:lnSpc>
              <a:spcBef>
                <a:spcPts val="0"/>
              </a:spcBef>
              <a:spcAft>
                <a:spcPts val="0"/>
              </a:spcAft>
              <a:buClr>
                <a:schemeClr val="dk1"/>
              </a:buClr>
              <a:buSzPts val="900"/>
              <a:buFont typeface="Inter"/>
              <a:buNone/>
              <a:defRPr sz="1200" b="1">
                <a:solidFill>
                  <a:schemeClr val="dk1"/>
                </a:solidFill>
              </a:defRPr>
            </a:lvl4pPr>
            <a:lvl5pPr lvl="4" rtl="0">
              <a:lnSpc>
                <a:spcPct val="100000"/>
              </a:lnSpc>
              <a:spcBef>
                <a:spcPts val="0"/>
              </a:spcBef>
              <a:spcAft>
                <a:spcPts val="0"/>
              </a:spcAft>
              <a:buClr>
                <a:schemeClr val="dk1"/>
              </a:buClr>
              <a:buSzPts val="900"/>
              <a:buFont typeface="Inter"/>
              <a:buNone/>
              <a:defRPr sz="1200" b="1">
                <a:solidFill>
                  <a:schemeClr val="dk1"/>
                </a:solidFill>
              </a:defRPr>
            </a:lvl5pPr>
            <a:lvl6pPr lvl="5" rtl="0">
              <a:lnSpc>
                <a:spcPct val="100000"/>
              </a:lnSpc>
              <a:spcBef>
                <a:spcPts val="0"/>
              </a:spcBef>
              <a:spcAft>
                <a:spcPts val="0"/>
              </a:spcAft>
              <a:buClr>
                <a:schemeClr val="dk1"/>
              </a:buClr>
              <a:buSzPts val="900"/>
              <a:buFont typeface="Inter"/>
              <a:buNone/>
              <a:defRPr sz="1200" b="1">
                <a:solidFill>
                  <a:schemeClr val="dk1"/>
                </a:solidFill>
                <a:latin typeface="Inter"/>
                <a:ea typeface="Inter"/>
                <a:cs typeface="Inter"/>
                <a:sym typeface="Inter"/>
              </a:defRPr>
            </a:lvl6pPr>
            <a:lvl7pPr lvl="6" rtl="0">
              <a:lnSpc>
                <a:spcPct val="100000"/>
              </a:lnSpc>
              <a:spcBef>
                <a:spcPts val="0"/>
              </a:spcBef>
              <a:spcAft>
                <a:spcPts val="0"/>
              </a:spcAft>
              <a:buClr>
                <a:schemeClr val="dk1"/>
              </a:buClr>
              <a:buSzPts val="900"/>
              <a:buFont typeface="Inter"/>
              <a:buNone/>
              <a:defRPr sz="1200" b="1">
                <a:solidFill>
                  <a:schemeClr val="dk1"/>
                </a:solidFill>
                <a:latin typeface="Inter"/>
                <a:ea typeface="Inter"/>
                <a:cs typeface="Inter"/>
                <a:sym typeface="Inter"/>
              </a:defRPr>
            </a:lvl7pPr>
            <a:lvl8pPr lvl="7" rtl="0">
              <a:lnSpc>
                <a:spcPct val="100000"/>
              </a:lnSpc>
              <a:spcBef>
                <a:spcPts val="0"/>
              </a:spcBef>
              <a:spcAft>
                <a:spcPts val="0"/>
              </a:spcAft>
              <a:buClr>
                <a:schemeClr val="dk1"/>
              </a:buClr>
              <a:buSzPts val="900"/>
              <a:buFont typeface="Inter"/>
              <a:buNone/>
              <a:defRPr sz="1200" b="1">
                <a:solidFill>
                  <a:schemeClr val="dk1"/>
                </a:solidFill>
                <a:latin typeface="Inter"/>
                <a:ea typeface="Inter"/>
                <a:cs typeface="Inter"/>
                <a:sym typeface="Inter"/>
              </a:defRPr>
            </a:lvl8pPr>
            <a:lvl9pPr lvl="8" rtl="0">
              <a:lnSpc>
                <a:spcPct val="100000"/>
              </a:lnSpc>
              <a:spcBef>
                <a:spcPts val="0"/>
              </a:spcBef>
              <a:spcAft>
                <a:spcPts val="0"/>
              </a:spcAft>
              <a:buClr>
                <a:schemeClr val="dk1"/>
              </a:buClr>
              <a:buSzPts val="900"/>
              <a:buFont typeface="Inter"/>
              <a:buNone/>
              <a:defRPr sz="1200" b="1">
                <a:solidFill>
                  <a:schemeClr val="dk1"/>
                </a:solidFill>
                <a:latin typeface="Inter"/>
                <a:ea typeface="Inter"/>
                <a:cs typeface="Inter"/>
                <a:sym typeface="Inter"/>
              </a:defRPr>
            </a:lvl9pPr>
          </a:lstStyle>
          <a:p>
            <a:endParaRPr/>
          </a:p>
        </p:txBody>
      </p:sp>
      <p:sp>
        <p:nvSpPr>
          <p:cNvPr id="2273" name="Google Shape;2273;p62"/>
          <p:cNvSpPr txBox="1">
            <a:spLocks noGrp="1"/>
          </p:cNvSpPr>
          <p:nvPr>
            <p:ph type="subTitle" idx="6"/>
          </p:nvPr>
        </p:nvSpPr>
        <p:spPr>
          <a:xfrm>
            <a:off x="3955905" y="3823475"/>
            <a:ext cx="2046400" cy="470000"/>
          </a:xfrm>
          <a:prstGeom prst="rect">
            <a:avLst/>
          </a:prstGeom>
          <a:noFill/>
        </p:spPr>
        <p:txBody>
          <a:bodyPr spcFirstLastPara="1" wrap="square" lIns="0" tIns="34275" rIns="68575" bIns="34275" anchor="t" anchorCtr="0">
            <a:noAutofit/>
          </a:bodyPr>
          <a:lstStyle>
            <a:lvl1pPr lvl="0" rtl="0">
              <a:lnSpc>
                <a:spcPct val="100000"/>
              </a:lnSpc>
              <a:spcBef>
                <a:spcPts val="0"/>
              </a:spcBef>
              <a:spcAft>
                <a:spcPts val="0"/>
              </a:spcAft>
              <a:buClr>
                <a:schemeClr val="dk1"/>
              </a:buClr>
              <a:buSzPts val="900"/>
              <a:buFont typeface="Inter"/>
              <a:buNone/>
              <a:defRPr sz="1200" b="1">
                <a:solidFill>
                  <a:schemeClr val="dk1"/>
                </a:solidFill>
              </a:defRPr>
            </a:lvl1pPr>
            <a:lvl2pPr lvl="1" rtl="0">
              <a:lnSpc>
                <a:spcPct val="100000"/>
              </a:lnSpc>
              <a:spcBef>
                <a:spcPts val="0"/>
              </a:spcBef>
              <a:spcAft>
                <a:spcPts val="0"/>
              </a:spcAft>
              <a:buClr>
                <a:schemeClr val="dk1"/>
              </a:buClr>
              <a:buSzPts val="900"/>
              <a:buFont typeface="Inter"/>
              <a:buNone/>
              <a:defRPr sz="1200" b="1">
                <a:solidFill>
                  <a:schemeClr val="dk1"/>
                </a:solidFill>
              </a:defRPr>
            </a:lvl2pPr>
            <a:lvl3pPr lvl="2" rtl="0">
              <a:lnSpc>
                <a:spcPct val="100000"/>
              </a:lnSpc>
              <a:spcBef>
                <a:spcPts val="0"/>
              </a:spcBef>
              <a:spcAft>
                <a:spcPts val="0"/>
              </a:spcAft>
              <a:buClr>
                <a:schemeClr val="dk1"/>
              </a:buClr>
              <a:buSzPts val="900"/>
              <a:buFont typeface="Inter"/>
              <a:buNone/>
              <a:defRPr sz="1200" b="1">
                <a:solidFill>
                  <a:schemeClr val="dk1"/>
                </a:solidFill>
              </a:defRPr>
            </a:lvl3pPr>
            <a:lvl4pPr lvl="3" rtl="0">
              <a:lnSpc>
                <a:spcPct val="100000"/>
              </a:lnSpc>
              <a:spcBef>
                <a:spcPts val="0"/>
              </a:spcBef>
              <a:spcAft>
                <a:spcPts val="0"/>
              </a:spcAft>
              <a:buClr>
                <a:schemeClr val="dk1"/>
              </a:buClr>
              <a:buSzPts val="900"/>
              <a:buFont typeface="Inter"/>
              <a:buNone/>
              <a:defRPr sz="1200" b="1">
                <a:solidFill>
                  <a:schemeClr val="dk1"/>
                </a:solidFill>
              </a:defRPr>
            </a:lvl4pPr>
            <a:lvl5pPr lvl="4" rtl="0">
              <a:lnSpc>
                <a:spcPct val="100000"/>
              </a:lnSpc>
              <a:spcBef>
                <a:spcPts val="0"/>
              </a:spcBef>
              <a:spcAft>
                <a:spcPts val="0"/>
              </a:spcAft>
              <a:buClr>
                <a:schemeClr val="dk1"/>
              </a:buClr>
              <a:buSzPts val="900"/>
              <a:buFont typeface="Inter"/>
              <a:buNone/>
              <a:defRPr sz="1200" b="1">
                <a:solidFill>
                  <a:schemeClr val="dk1"/>
                </a:solidFill>
              </a:defRPr>
            </a:lvl5pPr>
            <a:lvl6pPr lvl="5" rtl="0">
              <a:lnSpc>
                <a:spcPct val="100000"/>
              </a:lnSpc>
              <a:spcBef>
                <a:spcPts val="0"/>
              </a:spcBef>
              <a:spcAft>
                <a:spcPts val="0"/>
              </a:spcAft>
              <a:buClr>
                <a:schemeClr val="dk1"/>
              </a:buClr>
              <a:buSzPts val="900"/>
              <a:buFont typeface="Inter"/>
              <a:buNone/>
              <a:defRPr sz="1200" b="1">
                <a:solidFill>
                  <a:schemeClr val="dk1"/>
                </a:solidFill>
                <a:latin typeface="Inter"/>
                <a:ea typeface="Inter"/>
                <a:cs typeface="Inter"/>
                <a:sym typeface="Inter"/>
              </a:defRPr>
            </a:lvl6pPr>
            <a:lvl7pPr lvl="6" rtl="0">
              <a:lnSpc>
                <a:spcPct val="100000"/>
              </a:lnSpc>
              <a:spcBef>
                <a:spcPts val="0"/>
              </a:spcBef>
              <a:spcAft>
                <a:spcPts val="0"/>
              </a:spcAft>
              <a:buClr>
                <a:schemeClr val="dk1"/>
              </a:buClr>
              <a:buSzPts val="900"/>
              <a:buFont typeface="Inter"/>
              <a:buNone/>
              <a:defRPr sz="1200" b="1">
                <a:solidFill>
                  <a:schemeClr val="dk1"/>
                </a:solidFill>
                <a:latin typeface="Inter"/>
                <a:ea typeface="Inter"/>
                <a:cs typeface="Inter"/>
                <a:sym typeface="Inter"/>
              </a:defRPr>
            </a:lvl7pPr>
            <a:lvl8pPr lvl="7" rtl="0">
              <a:lnSpc>
                <a:spcPct val="100000"/>
              </a:lnSpc>
              <a:spcBef>
                <a:spcPts val="0"/>
              </a:spcBef>
              <a:spcAft>
                <a:spcPts val="0"/>
              </a:spcAft>
              <a:buClr>
                <a:schemeClr val="dk1"/>
              </a:buClr>
              <a:buSzPts val="900"/>
              <a:buFont typeface="Inter"/>
              <a:buNone/>
              <a:defRPr sz="1200" b="1">
                <a:solidFill>
                  <a:schemeClr val="dk1"/>
                </a:solidFill>
                <a:latin typeface="Inter"/>
                <a:ea typeface="Inter"/>
                <a:cs typeface="Inter"/>
                <a:sym typeface="Inter"/>
              </a:defRPr>
            </a:lvl8pPr>
            <a:lvl9pPr lvl="8" rtl="0">
              <a:lnSpc>
                <a:spcPct val="100000"/>
              </a:lnSpc>
              <a:spcBef>
                <a:spcPts val="0"/>
              </a:spcBef>
              <a:spcAft>
                <a:spcPts val="0"/>
              </a:spcAft>
              <a:buClr>
                <a:schemeClr val="dk1"/>
              </a:buClr>
              <a:buSzPts val="900"/>
              <a:buFont typeface="Inter"/>
              <a:buNone/>
              <a:defRPr sz="1200" b="1">
                <a:solidFill>
                  <a:schemeClr val="dk1"/>
                </a:solidFill>
                <a:latin typeface="Inter"/>
                <a:ea typeface="Inter"/>
                <a:cs typeface="Inter"/>
                <a:sym typeface="Inter"/>
              </a:defRPr>
            </a:lvl9pPr>
          </a:lstStyle>
          <a:p>
            <a:endParaRPr/>
          </a:p>
        </p:txBody>
      </p:sp>
      <p:sp>
        <p:nvSpPr>
          <p:cNvPr id="2274" name="Google Shape;2274;p62"/>
          <p:cNvSpPr txBox="1">
            <a:spLocks noGrp="1"/>
          </p:cNvSpPr>
          <p:nvPr>
            <p:ph type="subTitle" idx="7"/>
          </p:nvPr>
        </p:nvSpPr>
        <p:spPr>
          <a:xfrm>
            <a:off x="6751591" y="3823475"/>
            <a:ext cx="2046400" cy="470000"/>
          </a:xfrm>
          <a:prstGeom prst="rect">
            <a:avLst/>
          </a:prstGeom>
          <a:noFill/>
        </p:spPr>
        <p:txBody>
          <a:bodyPr spcFirstLastPara="1" wrap="square" lIns="0" tIns="34275" rIns="68575" bIns="34275" anchor="t" anchorCtr="0">
            <a:noAutofit/>
          </a:bodyPr>
          <a:lstStyle>
            <a:lvl1pPr lvl="0" rtl="0">
              <a:lnSpc>
                <a:spcPct val="100000"/>
              </a:lnSpc>
              <a:spcBef>
                <a:spcPts val="0"/>
              </a:spcBef>
              <a:spcAft>
                <a:spcPts val="0"/>
              </a:spcAft>
              <a:buClr>
                <a:schemeClr val="dk1"/>
              </a:buClr>
              <a:buSzPts val="900"/>
              <a:buFont typeface="Inter"/>
              <a:buNone/>
              <a:defRPr sz="1200" b="1">
                <a:solidFill>
                  <a:schemeClr val="dk1"/>
                </a:solidFill>
              </a:defRPr>
            </a:lvl1pPr>
            <a:lvl2pPr lvl="1" rtl="0">
              <a:lnSpc>
                <a:spcPct val="100000"/>
              </a:lnSpc>
              <a:spcBef>
                <a:spcPts val="0"/>
              </a:spcBef>
              <a:spcAft>
                <a:spcPts val="0"/>
              </a:spcAft>
              <a:buClr>
                <a:schemeClr val="dk1"/>
              </a:buClr>
              <a:buSzPts val="900"/>
              <a:buFont typeface="Inter"/>
              <a:buNone/>
              <a:defRPr sz="1200" b="1">
                <a:solidFill>
                  <a:schemeClr val="dk1"/>
                </a:solidFill>
              </a:defRPr>
            </a:lvl2pPr>
            <a:lvl3pPr lvl="2" rtl="0">
              <a:lnSpc>
                <a:spcPct val="100000"/>
              </a:lnSpc>
              <a:spcBef>
                <a:spcPts val="0"/>
              </a:spcBef>
              <a:spcAft>
                <a:spcPts val="0"/>
              </a:spcAft>
              <a:buClr>
                <a:schemeClr val="dk1"/>
              </a:buClr>
              <a:buSzPts val="900"/>
              <a:buFont typeface="Inter"/>
              <a:buNone/>
              <a:defRPr sz="1200" b="1">
                <a:solidFill>
                  <a:schemeClr val="dk1"/>
                </a:solidFill>
              </a:defRPr>
            </a:lvl3pPr>
            <a:lvl4pPr lvl="3" rtl="0">
              <a:lnSpc>
                <a:spcPct val="100000"/>
              </a:lnSpc>
              <a:spcBef>
                <a:spcPts val="0"/>
              </a:spcBef>
              <a:spcAft>
                <a:spcPts val="0"/>
              </a:spcAft>
              <a:buClr>
                <a:schemeClr val="dk1"/>
              </a:buClr>
              <a:buSzPts val="900"/>
              <a:buFont typeface="Inter"/>
              <a:buNone/>
              <a:defRPr sz="1200" b="1">
                <a:solidFill>
                  <a:schemeClr val="dk1"/>
                </a:solidFill>
              </a:defRPr>
            </a:lvl4pPr>
            <a:lvl5pPr lvl="4" rtl="0">
              <a:lnSpc>
                <a:spcPct val="100000"/>
              </a:lnSpc>
              <a:spcBef>
                <a:spcPts val="0"/>
              </a:spcBef>
              <a:spcAft>
                <a:spcPts val="0"/>
              </a:spcAft>
              <a:buClr>
                <a:schemeClr val="dk1"/>
              </a:buClr>
              <a:buSzPts val="900"/>
              <a:buFont typeface="Inter"/>
              <a:buNone/>
              <a:defRPr sz="1200" b="1">
                <a:solidFill>
                  <a:schemeClr val="dk1"/>
                </a:solidFill>
              </a:defRPr>
            </a:lvl5pPr>
            <a:lvl6pPr lvl="5" rtl="0">
              <a:lnSpc>
                <a:spcPct val="100000"/>
              </a:lnSpc>
              <a:spcBef>
                <a:spcPts val="0"/>
              </a:spcBef>
              <a:spcAft>
                <a:spcPts val="0"/>
              </a:spcAft>
              <a:buClr>
                <a:schemeClr val="dk1"/>
              </a:buClr>
              <a:buSzPts val="900"/>
              <a:buFont typeface="Inter"/>
              <a:buNone/>
              <a:defRPr sz="1200" b="1">
                <a:solidFill>
                  <a:schemeClr val="dk1"/>
                </a:solidFill>
                <a:latin typeface="Inter"/>
                <a:ea typeface="Inter"/>
                <a:cs typeface="Inter"/>
                <a:sym typeface="Inter"/>
              </a:defRPr>
            </a:lvl6pPr>
            <a:lvl7pPr lvl="6" rtl="0">
              <a:lnSpc>
                <a:spcPct val="100000"/>
              </a:lnSpc>
              <a:spcBef>
                <a:spcPts val="0"/>
              </a:spcBef>
              <a:spcAft>
                <a:spcPts val="0"/>
              </a:spcAft>
              <a:buClr>
                <a:schemeClr val="dk1"/>
              </a:buClr>
              <a:buSzPts val="900"/>
              <a:buFont typeface="Inter"/>
              <a:buNone/>
              <a:defRPr sz="1200" b="1">
                <a:solidFill>
                  <a:schemeClr val="dk1"/>
                </a:solidFill>
                <a:latin typeface="Inter"/>
                <a:ea typeface="Inter"/>
                <a:cs typeface="Inter"/>
                <a:sym typeface="Inter"/>
              </a:defRPr>
            </a:lvl7pPr>
            <a:lvl8pPr lvl="7" rtl="0">
              <a:lnSpc>
                <a:spcPct val="100000"/>
              </a:lnSpc>
              <a:spcBef>
                <a:spcPts val="0"/>
              </a:spcBef>
              <a:spcAft>
                <a:spcPts val="0"/>
              </a:spcAft>
              <a:buClr>
                <a:schemeClr val="dk1"/>
              </a:buClr>
              <a:buSzPts val="900"/>
              <a:buFont typeface="Inter"/>
              <a:buNone/>
              <a:defRPr sz="1200" b="1">
                <a:solidFill>
                  <a:schemeClr val="dk1"/>
                </a:solidFill>
                <a:latin typeface="Inter"/>
                <a:ea typeface="Inter"/>
                <a:cs typeface="Inter"/>
                <a:sym typeface="Inter"/>
              </a:defRPr>
            </a:lvl8pPr>
            <a:lvl9pPr lvl="8" rtl="0">
              <a:lnSpc>
                <a:spcPct val="100000"/>
              </a:lnSpc>
              <a:spcBef>
                <a:spcPts val="0"/>
              </a:spcBef>
              <a:spcAft>
                <a:spcPts val="0"/>
              </a:spcAft>
              <a:buClr>
                <a:schemeClr val="dk1"/>
              </a:buClr>
              <a:buSzPts val="900"/>
              <a:buFont typeface="Inter"/>
              <a:buNone/>
              <a:defRPr sz="1200" b="1">
                <a:solidFill>
                  <a:schemeClr val="dk1"/>
                </a:solidFill>
                <a:latin typeface="Inter"/>
                <a:ea typeface="Inter"/>
                <a:cs typeface="Inter"/>
                <a:sym typeface="Inter"/>
              </a:defRPr>
            </a:lvl9pPr>
          </a:lstStyle>
          <a:p>
            <a:endParaRPr/>
          </a:p>
        </p:txBody>
      </p:sp>
      <p:sp>
        <p:nvSpPr>
          <p:cNvPr id="2275" name="Google Shape;2275;p62"/>
          <p:cNvSpPr txBox="1">
            <a:spLocks noGrp="1"/>
          </p:cNvSpPr>
          <p:nvPr>
            <p:ph type="subTitle" idx="8"/>
          </p:nvPr>
        </p:nvSpPr>
        <p:spPr>
          <a:xfrm>
            <a:off x="9547267" y="3823475"/>
            <a:ext cx="2046400" cy="470000"/>
          </a:xfrm>
          <a:prstGeom prst="rect">
            <a:avLst/>
          </a:prstGeom>
          <a:noFill/>
        </p:spPr>
        <p:txBody>
          <a:bodyPr spcFirstLastPara="1" wrap="square" lIns="0" tIns="34275" rIns="68575" bIns="34275" anchor="t" anchorCtr="0">
            <a:noAutofit/>
          </a:bodyPr>
          <a:lstStyle>
            <a:lvl1pPr lvl="0" rtl="0">
              <a:lnSpc>
                <a:spcPct val="100000"/>
              </a:lnSpc>
              <a:spcBef>
                <a:spcPts val="0"/>
              </a:spcBef>
              <a:spcAft>
                <a:spcPts val="0"/>
              </a:spcAft>
              <a:buClr>
                <a:schemeClr val="dk1"/>
              </a:buClr>
              <a:buSzPts val="900"/>
              <a:buFont typeface="Inter"/>
              <a:buNone/>
              <a:defRPr sz="1200" b="1">
                <a:solidFill>
                  <a:schemeClr val="dk1"/>
                </a:solidFill>
              </a:defRPr>
            </a:lvl1pPr>
            <a:lvl2pPr lvl="1" rtl="0">
              <a:lnSpc>
                <a:spcPct val="100000"/>
              </a:lnSpc>
              <a:spcBef>
                <a:spcPts val="0"/>
              </a:spcBef>
              <a:spcAft>
                <a:spcPts val="0"/>
              </a:spcAft>
              <a:buClr>
                <a:schemeClr val="dk1"/>
              </a:buClr>
              <a:buSzPts val="900"/>
              <a:buFont typeface="Inter"/>
              <a:buNone/>
              <a:defRPr sz="1200" b="1">
                <a:solidFill>
                  <a:schemeClr val="dk1"/>
                </a:solidFill>
              </a:defRPr>
            </a:lvl2pPr>
            <a:lvl3pPr lvl="2" rtl="0">
              <a:lnSpc>
                <a:spcPct val="100000"/>
              </a:lnSpc>
              <a:spcBef>
                <a:spcPts val="0"/>
              </a:spcBef>
              <a:spcAft>
                <a:spcPts val="0"/>
              </a:spcAft>
              <a:buClr>
                <a:schemeClr val="dk1"/>
              </a:buClr>
              <a:buSzPts val="900"/>
              <a:buFont typeface="Inter"/>
              <a:buNone/>
              <a:defRPr sz="1200" b="1">
                <a:solidFill>
                  <a:schemeClr val="dk1"/>
                </a:solidFill>
              </a:defRPr>
            </a:lvl3pPr>
            <a:lvl4pPr lvl="3" rtl="0">
              <a:lnSpc>
                <a:spcPct val="100000"/>
              </a:lnSpc>
              <a:spcBef>
                <a:spcPts val="0"/>
              </a:spcBef>
              <a:spcAft>
                <a:spcPts val="0"/>
              </a:spcAft>
              <a:buClr>
                <a:schemeClr val="dk1"/>
              </a:buClr>
              <a:buSzPts val="900"/>
              <a:buFont typeface="Inter"/>
              <a:buNone/>
              <a:defRPr sz="1200" b="1">
                <a:solidFill>
                  <a:schemeClr val="dk1"/>
                </a:solidFill>
              </a:defRPr>
            </a:lvl4pPr>
            <a:lvl5pPr lvl="4" rtl="0">
              <a:lnSpc>
                <a:spcPct val="100000"/>
              </a:lnSpc>
              <a:spcBef>
                <a:spcPts val="0"/>
              </a:spcBef>
              <a:spcAft>
                <a:spcPts val="0"/>
              </a:spcAft>
              <a:buClr>
                <a:schemeClr val="dk1"/>
              </a:buClr>
              <a:buSzPts val="900"/>
              <a:buFont typeface="Inter"/>
              <a:buNone/>
              <a:defRPr sz="1200" b="1">
                <a:solidFill>
                  <a:schemeClr val="dk1"/>
                </a:solidFill>
              </a:defRPr>
            </a:lvl5pPr>
            <a:lvl6pPr lvl="5" rtl="0">
              <a:lnSpc>
                <a:spcPct val="100000"/>
              </a:lnSpc>
              <a:spcBef>
                <a:spcPts val="0"/>
              </a:spcBef>
              <a:spcAft>
                <a:spcPts val="0"/>
              </a:spcAft>
              <a:buClr>
                <a:schemeClr val="dk1"/>
              </a:buClr>
              <a:buSzPts val="900"/>
              <a:buFont typeface="Inter"/>
              <a:buNone/>
              <a:defRPr sz="1200" b="1">
                <a:solidFill>
                  <a:schemeClr val="dk1"/>
                </a:solidFill>
                <a:latin typeface="Inter"/>
                <a:ea typeface="Inter"/>
                <a:cs typeface="Inter"/>
                <a:sym typeface="Inter"/>
              </a:defRPr>
            </a:lvl6pPr>
            <a:lvl7pPr lvl="6" rtl="0">
              <a:lnSpc>
                <a:spcPct val="100000"/>
              </a:lnSpc>
              <a:spcBef>
                <a:spcPts val="0"/>
              </a:spcBef>
              <a:spcAft>
                <a:spcPts val="0"/>
              </a:spcAft>
              <a:buClr>
                <a:schemeClr val="dk1"/>
              </a:buClr>
              <a:buSzPts val="900"/>
              <a:buFont typeface="Inter"/>
              <a:buNone/>
              <a:defRPr sz="1200" b="1">
                <a:solidFill>
                  <a:schemeClr val="dk1"/>
                </a:solidFill>
                <a:latin typeface="Inter"/>
                <a:ea typeface="Inter"/>
                <a:cs typeface="Inter"/>
                <a:sym typeface="Inter"/>
              </a:defRPr>
            </a:lvl7pPr>
            <a:lvl8pPr lvl="7" rtl="0">
              <a:lnSpc>
                <a:spcPct val="100000"/>
              </a:lnSpc>
              <a:spcBef>
                <a:spcPts val="0"/>
              </a:spcBef>
              <a:spcAft>
                <a:spcPts val="0"/>
              </a:spcAft>
              <a:buClr>
                <a:schemeClr val="dk1"/>
              </a:buClr>
              <a:buSzPts val="900"/>
              <a:buFont typeface="Inter"/>
              <a:buNone/>
              <a:defRPr sz="1200" b="1">
                <a:solidFill>
                  <a:schemeClr val="dk1"/>
                </a:solidFill>
                <a:latin typeface="Inter"/>
                <a:ea typeface="Inter"/>
                <a:cs typeface="Inter"/>
                <a:sym typeface="Inter"/>
              </a:defRPr>
            </a:lvl8pPr>
            <a:lvl9pPr lvl="8" rtl="0">
              <a:lnSpc>
                <a:spcPct val="100000"/>
              </a:lnSpc>
              <a:spcBef>
                <a:spcPts val="0"/>
              </a:spcBef>
              <a:spcAft>
                <a:spcPts val="0"/>
              </a:spcAft>
              <a:buClr>
                <a:schemeClr val="dk1"/>
              </a:buClr>
              <a:buSzPts val="900"/>
              <a:buFont typeface="Inter"/>
              <a:buNone/>
              <a:defRPr sz="1200" b="1">
                <a:solidFill>
                  <a:schemeClr val="dk1"/>
                </a:solidFill>
                <a:latin typeface="Inter"/>
                <a:ea typeface="Inter"/>
                <a:cs typeface="Inter"/>
                <a:sym typeface="Inter"/>
              </a:defRPr>
            </a:lvl9pPr>
          </a:lstStyle>
          <a:p>
            <a:endParaRPr/>
          </a:p>
        </p:txBody>
      </p:sp>
    </p:spTree>
    <p:extLst>
      <p:ext uri="{BB962C8B-B14F-4D97-AF65-F5344CB8AC3E}">
        <p14:creationId xmlns:p14="http://schemas.microsoft.com/office/powerpoint/2010/main" val="212443125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CD3CEE-B280-26FF-67E1-9EF4902DE688}"/>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p>
        </p:txBody>
      </p:sp>
      <p:sp>
        <p:nvSpPr>
          <p:cNvPr id="3" name="Picture Placeholder 2">
            <a:extLst>
              <a:ext uri="{FF2B5EF4-FFF2-40B4-BE49-F238E27FC236}">
                <a16:creationId xmlns:a16="http://schemas.microsoft.com/office/drawing/2014/main" id="{1A1B0506-1B93-0D2F-4058-143EF159811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214897EA-7DC4-09EA-098C-4D456E0B253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38066AE4-0CC2-04ED-456E-CEBA81702376}"/>
              </a:ext>
            </a:extLst>
          </p:cNvPr>
          <p:cNvSpPr>
            <a:spLocks noGrp="1"/>
          </p:cNvSpPr>
          <p:nvPr>
            <p:ph type="dt" sz="half" idx="10"/>
          </p:nvPr>
        </p:nvSpPr>
        <p:spPr/>
        <p:txBody>
          <a:bodyPr/>
          <a:lstStyle/>
          <a:p>
            <a:fld id="{923CFB00-16CD-4A5D-8353-B2F2FFED28E8}" type="datetimeFigureOut">
              <a:rPr lang="en-GB" smtClean="0"/>
              <a:t>23/06/2024</a:t>
            </a:fld>
            <a:endParaRPr lang="en-GB"/>
          </a:p>
        </p:txBody>
      </p:sp>
      <p:sp>
        <p:nvSpPr>
          <p:cNvPr id="6" name="Footer Placeholder 5">
            <a:extLst>
              <a:ext uri="{FF2B5EF4-FFF2-40B4-BE49-F238E27FC236}">
                <a16:creationId xmlns:a16="http://schemas.microsoft.com/office/drawing/2014/main" id="{5D334CBE-A12A-8B64-2206-9E9525380C2C}"/>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D3E8A4CE-1DCA-4EDB-85B6-5501CD4F6A2E}"/>
              </a:ext>
            </a:extLst>
          </p:cNvPr>
          <p:cNvSpPr>
            <a:spLocks noGrp="1"/>
          </p:cNvSpPr>
          <p:nvPr>
            <p:ph type="sldNum" sz="quarter" idx="12"/>
          </p:nvPr>
        </p:nvSpPr>
        <p:spPr/>
        <p:txBody>
          <a:bodyPr/>
          <a:lstStyle/>
          <a:p>
            <a:fld id="{140D1FED-518D-4FB4-BCAB-05C56058F68A}" type="slidenum">
              <a:rPr lang="en-GB" smtClean="0"/>
              <a:t>‹#›</a:t>
            </a:fld>
            <a:endParaRPr lang="en-GB"/>
          </a:p>
        </p:txBody>
      </p:sp>
    </p:spTree>
    <p:extLst>
      <p:ext uri="{BB962C8B-B14F-4D97-AF65-F5344CB8AC3E}">
        <p14:creationId xmlns:p14="http://schemas.microsoft.com/office/powerpoint/2010/main" val="273231180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matchingName="6 Shapes - Lunar">
  <p:cSld name="6 Shapes - Lunar">
    <p:bg>
      <p:bgPr>
        <a:solidFill>
          <a:schemeClr val="lt2"/>
        </a:solidFill>
        <a:effectLst/>
      </p:bgPr>
    </p:bg>
    <p:spTree>
      <p:nvGrpSpPr>
        <p:cNvPr id="1" name="Shape 2276"/>
        <p:cNvGrpSpPr/>
        <p:nvPr/>
      </p:nvGrpSpPr>
      <p:grpSpPr>
        <a:xfrm>
          <a:off x="0" y="0"/>
          <a:ext cx="0" cy="0"/>
          <a:chOff x="0" y="0"/>
          <a:chExt cx="0" cy="0"/>
        </a:xfrm>
      </p:grpSpPr>
      <p:sp>
        <p:nvSpPr>
          <p:cNvPr id="2277" name="Google Shape;2277;p63"/>
          <p:cNvSpPr txBox="1">
            <a:spLocks noGrp="1"/>
          </p:cNvSpPr>
          <p:nvPr>
            <p:ph type="sldNum" idx="12"/>
          </p:nvPr>
        </p:nvSpPr>
        <p:spPr>
          <a:xfrm>
            <a:off x="10978812" y="5993647"/>
            <a:ext cx="731600" cy="524800"/>
          </a:xfrm>
          <a:prstGeom prst="rect">
            <a:avLst/>
          </a:prstGeom>
        </p:spPr>
        <p:txBody>
          <a:bodyPr spcFirstLastPara="1" wrap="square" lIns="91425" tIns="91425" rIns="0" bIns="0" anchor="b" anchorCtr="0">
            <a:noAutofit/>
          </a:bodyPr>
          <a:lstStyle>
            <a:lvl1pPr lvl="0" algn="r" rtl="0">
              <a:buNone/>
              <a:defRPr sz="667">
                <a:solidFill>
                  <a:schemeClr val="dk2"/>
                </a:solidFill>
                <a:latin typeface="Inter"/>
                <a:ea typeface="Inter"/>
                <a:cs typeface="Inter"/>
                <a:sym typeface="Inter"/>
              </a:defRPr>
            </a:lvl1pPr>
            <a:lvl2pPr lvl="1" algn="r" rtl="0">
              <a:buNone/>
              <a:defRPr sz="667">
                <a:solidFill>
                  <a:schemeClr val="dk2"/>
                </a:solidFill>
                <a:latin typeface="Inter"/>
                <a:ea typeface="Inter"/>
                <a:cs typeface="Inter"/>
                <a:sym typeface="Inter"/>
              </a:defRPr>
            </a:lvl2pPr>
            <a:lvl3pPr lvl="2" algn="r" rtl="0">
              <a:buNone/>
              <a:defRPr sz="667">
                <a:solidFill>
                  <a:schemeClr val="dk2"/>
                </a:solidFill>
                <a:latin typeface="Inter"/>
                <a:ea typeface="Inter"/>
                <a:cs typeface="Inter"/>
                <a:sym typeface="Inter"/>
              </a:defRPr>
            </a:lvl3pPr>
            <a:lvl4pPr lvl="3" algn="r" rtl="0">
              <a:buNone/>
              <a:defRPr sz="667">
                <a:solidFill>
                  <a:schemeClr val="dk2"/>
                </a:solidFill>
                <a:latin typeface="Inter"/>
                <a:ea typeface="Inter"/>
                <a:cs typeface="Inter"/>
                <a:sym typeface="Inter"/>
              </a:defRPr>
            </a:lvl4pPr>
            <a:lvl5pPr lvl="4" algn="r" rtl="0">
              <a:buNone/>
              <a:defRPr sz="667">
                <a:solidFill>
                  <a:schemeClr val="dk2"/>
                </a:solidFill>
                <a:latin typeface="Inter"/>
                <a:ea typeface="Inter"/>
                <a:cs typeface="Inter"/>
                <a:sym typeface="Inter"/>
              </a:defRPr>
            </a:lvl5pPr>
            <a:lvl6pPr lvl="5" algn="r" rtl="0">
              <a:buNone/>
              <a:defRPr sz="667">
                <a:solidFill>
                  <a:schemeClr val="dk2"/>
                </a:solidFill>
                <a:latin typeface="Inter"/>
                <a:ea typeface="Inter"/>
                <a:cs typeface="Inter"/>
                <a:sym typeface="Inter"/>
              </a:defRPr>
            </a:lvl6pPr>
            <a:lvl7pPr lvl="6" algn="r" rtl="0">
              <a:buNone/>
              <a:defRPr sz="667">
                <a:solidFill>
                  <a:schemeClr val="dk2"/>
                </a:solidFill>
                <a:latin typeface="Inter"/>
                <a:ea typeface="Inter"/>
                <a:cs typeface="Inter"/>
                <a:sym typeface="Inter"/>
              </a:defRPr>
            </a:lvl7pPr>
            <a:lvl8pPr lvl="7" algn="r" rtl="0">
              <a:buNone/>
              <a:defRPr sz="667">
                <a:solidFill>
                  <a:schemeClr val="dk2"/>
                </a:solidFill>
                <a:latin typeface="Inter"/>
                <a:ea typeface="Inter"/>
                <a:cs typeface="Inter"/>
                <a:sym typeface="Inter"/>
              </a:defRPr>
            </a:lvl8pPr>
            <a:lvl9pPr lvl="8" algn="r" rtl="0">
              <a:buNone/>
              <a:defRPr sz="667">
                <a:solidFill>
                  <a:schemeClr val="dk2"/>
                </a:solidFill>
                <a:latin typeface="Inter"/>
                <a:ea typeface="Inter"/>
                <a:cs typeface="Inter"/>
                <a:sym typeface="Inter"/>
              </a:defRPr>
            </a:lvl9pPr>
          </a:lstStyle>
          <a:p>
            <a:fld id="{00000000-1234-1234-1234-123412341234}" type="slidenum">
              <a:rPr lang="en-GB" smtClean="0"/>
              <a:pPr/>
              <a:t>‹#›</a:t>
            </a:fld>
            <a:endParaRPr lang="en-GB"/>
          </a:p>
        </p:txBody>
      </p:sp>
      <p:sp>
        <p:nvSpPr>
          <p:cNvPr id="2278" name="Google Shape;2278;p63"/>
          <p:cNvSpPr/>
          <p:nvPr/>
        </p:nvSpPr>
        <p:spPr>
          <a:xfrm>
            <a:off x="481601" y="414630"/>
            <a:ext cx="349111" cy="305471"/>
          </a:xfrm>
          <a:custGeom>
            <a:avLst/>
            <a:gdLst/>
            <a:ahLst/>
            <a:cxnLst/>
            <a:rect l="l" t="t" r="r" b="b"/>
            <a:pathLst>
              <a:path w="1586865" h="1388506" extrusionOk="0">
                <a:moveTo>
                  <a:pt x="1083683" y="969931"/>
                </a:moveTo>
                <a:lnTo>
                  <a:pt x="1083683" y="579692"/>
                </a:lnTo>
                <a:lnTo>
                  <a:pt x="849297" y="969931"/>
                </a:lnTo>
                <a:lnTo>
                  <a:pt x="848892" y="969931"/>
                </a:lnTo>
                <a:cubicBezTo>
                  <a:pt x="848892" y="969931"/>
                  <a:pt x="848892" y="969931"/>
                  <a:pt x="848892" y="969931"/>
                </a:cubicBezTo>
                <a:lnTo>
                  <a:pt x="738783" y="969931"/>
                </a:lnTo>
                <a:lnTo>
                  <a:pt x="738783" y="577668"/>
                </a:lnTo>
                <a:lnTo>
                  <a:pt x="549735" y="892612"/>
                </a:lnTo>
                <a:cubicBezTo>
                  <a:pt x="527876" y="929449"/>
                  <a:pt x="510873" y="958191"/>
                  <a:pt x="503992" y="969931"/>
                </a:cubicBezTo>
                <a:lnTo>
                  <a:pt x="393073" y="969931"/>
                </a:lnTo>
                <a:lnTo>
                  <a:pt x="393073" y="418576"/>
                </a:lnTo>
                <a:lnTo>
                  <a:pt x="503992" y="418576"/>
                </a:lnTo>
                <a:lnTo>
                  <a:pt x="502777" y="760643"/>
                </a:lnTo>
                <a:lnTo>
                  <a:pt x="503587" y="782098"/>
                </a:lnTo>
                <a:lnTo>
                  <a:pt x="721781" y="418981"/>
                </a:lnTo>
                <a:lnTo>
                  <a:pt x="721781" y="418981"/>
                </a:lnTo>
                <a:lnTo>
                  <a:pt x="721781" y="418981"/>
                </a:lnTo>
                <a:lnTo>
                  <a:pt x="739188" y="418981"/>
                </a:lnTo>
                <a:lnTo>
                  <a:pt x="847678" y="418981"/>
                </a:lnTo>
                <a:cubicBezTo>
                  <a:pt x="847678" y="418981"/>
                  <a:pt x="848487" y="722995"/>
                  <a:pt x="848892" y="783717"/>
                </a:cubicBezTo>
                <a:lnTo>
                  <a:pt x="1067895" y="418981"/>
                </a:lnTo>
                <a:lnTo>
                  <a:pt x="1067895" y="418981"/>
                </a:lnTo>
                <a:lnTo>
                  <a:pt x="1067895" y="418981"/>
                </a:lnTo>
                <a:lnTo>
                  <a:pt x="1085302" y="418981"/>
                </a:lnTo>
                <a:lnTo>
                  <a:pt x="1193387" y="418981"/>
                </a:lnTo>
                <a:lnTo>
                  <a:pt x="1193387" y="970336"/>
                </a:lnTo>
                <a:lnTo>
                  <a:pt x="1083683" y="970336"/>
                </a:lnTo>
                <a:close/>
                <a:moveTo>
                  <a:pt x="1190149" y="0"/>
                </a:moveTo>
                <a:lnTo>
                  <a:pt x="396716" y="0"/>
                </a:lnTo>
                <a:lnTo>
                  <a:pt x="0" y="694253"/>
                </a:lnTo>
                <a:lnTo>
                  <a:pt x="396716" y="1388507"/>
                </a:lnTo>
                <a:lnTo>
                  <a:pt x="1190149" y="1388507"/>
                </a:lnTo>
                <a:lnTo>
                  <a:pt x="1586865" y="694253"/>
                </a:lnTo>
                <a:lnTo>
                  <a:pt x="1190149" y="0"/>
                </a:lnTo>
                <a:close/>
              </a:path>
            </a:pathLst>
          </a:custGeom>
          <a:solidFill>
            <a:schemeClr val="dk2"/>
          </a:solidFill>
          <a:ln>
            <a:noFill/>
          </a:ln>
        </p:spPr>
        <p:txBody>
          <a:bodyPr spcFirstLastPara="1" wrap="square" lIns="91433" tIns="45700" rIns="91433" bIns="45700"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279" name="Google Shape;2279;p63"/>
          <p:cNvSpPr txBox="1"/>
          <p:nvPr/>
        </p:nvSpPr>
        <p:spPr>
          <a:xfrm>
            <a:off x="481600" y="6245247"/>
            <a:ext cx="1288400" cy="273200"/>
          </a:xfrm>
          <a:prstGeom prst="rect">
            <a:avLst/>
          </a:prstGeom>
          <a:noFill/>
          <a:ln>
            <a:noFill/>
          </a:ln>
        </p:spPr>
        <p:txBody>
          <a:bodyPr spcFirstLastPara="1" wrap="square" lIns="0" tIns="0" rIns="0" bIns="0" anchor="b" anchorCtr="0">
            <a:noAutofit/>
          </a:bodyPr>
          <a:lstStyle/>
          <a:p>
            <a:pPr marL="0" lvl="0" indent="0" algn="l" rtl="0">
              <a:spcBef>
                <a:spcPts val="0"/>
              </a:spcBef>
              <a:spcAft>
                <a:spcPts val="0"/>
              </a:spcAft>
              <a:buNone/>
            </a:pPr>
            <a:r>
              <a:rPr lang="en-GB" sz="667">
                <a:solidFill>
                  <a:schemeClr val="dk2"/>
                </a:solidFill>
                <a:latin typeface="Inter"/>
                <a:ea typeface="Inter"/>
                <a:cs typeface="Inter"/>
                <a:sym typeface="Inter"/>
              </a:rPr>
              <a:t>Multiverse</a:t>
            </a:r>
            <a:endParaRPr sz="667">
              <a:solidFill>
                <a:schemeClr val="dk2"/>
              </a:solidFill>
              <a:latin typeface="Inter"/>
              <a:ea typeface="Inter"/>
              <a:cs typeface="Inter"/>
              <a:sym typeface="Inter"/>
            </a:endParaRPr>
          </a:p>
        </p:txBody>
      </p:sp>
      <p:grpSp>
        <p:nvGrpSpPr>
          <p:cNvPr id="2280" name="Google Shape;2280;p63"/>
          <p:cNvGrpSpPr/>
          <p:nvPr/>
        </p:nvGrpSpPr>
        <p:grpSpPr>
          <a:xfrm>
            <a:off x="4383563" y="1048400"/>
            <a:ext cx="3527200" cy="2506800"/>
            <a:chOff x="361200" y="538650"/>
            <a:chExt cx="2645400" cy="1880100"/>
          </a:xfrm>
        </p:grpSpPr>
        <p:sp>
          <p:nvSpPr>
            <p:cNvPr id="2281" name="Google Shape;2281;p63"/>
            <p:cNvSpPr/>
            <p:nvPr/>
          </p:nvSpPr>
          <p:spPr>
            <a:xfrm>
              <a:off x="376975" y="590650"/>
              <a:ext cx="2614575" cy="1780025"/>
            </a:xfrm>
            <a:custGeom>
              <a:avLst/>
              <a:gdLst/>
              <a:ahLst/>
              <a:cxnLst/>
              <a:rect l="l" t="t" r="r" b="b"/>
              <a:pathLst>
                <a:path w="104583" h="71201" extrusionOk="0">
                  <a:moveTo>
                    <a:pt x="9676" y="71201"/>
                  </a:moveTo>
                  <a:lnTo>
                    <a:pt x="0" y="56485"/>
                  </a:lnTo>
                  <a:lnTo>
                    <a:pt x="94947" y="0"/>
                  </a:lnTo>
                  <a:lnTo>
                    <a:pt x="104583" y="14474"/>
                  </a:lnTo>
                  <a:close/>
                </a:path>
              </a:pathLst>
            </a:custGeom>
            <a:solidFill>
              <a:schemeClr val="accent4"/>
            </a:solidFill>
            <a:ln w="9525" cap="flat" cmpd="sng">
              <a:solidFill>
                <a:schemeClr val="accent4"/>
              </a:solidFill>
              <a:prstDash val="solid"/>
              <a:round/>
              <a:headEnd type="none" w="med" len="med"/>
              <a:tailEnd type="none" w="med" len="med"/>
            </a:ln>
          </p:spPr>
        </p:sp>
        <p:sp>
          <p:nvSpPr>
            <p:cNvPr id="2282" name="Google Shape;2282;p63"/>
            <p:cNvSpPr/>
            <p:nvPr/>
          </p:nvSpPr>
          <p:spPr>
            <a:xfrm>
              <a:off x="589800" y="882150"/>
              <a:ext cx="2416800" cy="1536600"/>
            </a:xfrm>
            <a:prstGeom prst="roundRect">
              <a:avLst>
                <a:gd name="adj" fmla="val 7455"/>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sp>
          <p:nvSpPr>
            <p:cNvPr id="2283" name="Google Shape;2283;p63"/>
            <p:cNvSpPr/>
            <p:nvPr/>
          </p:nvSpPr>
          <p:spPr>
            <a:xfrm>
              <a:off x="361200" y="538650"/>
              <a:ext cx="2416800" cy="1536600"/>
            </a:xfrm>
            <a:prstGeom prst="roundRect">
              <a:avLst>
                <a:gd name="adj" fmla="val 7455"/>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grpSp>
      <p:grpSp>
        <p:nvGrpSpPr>
          <p:cNvPr id="2284" name="Google Shape;2284;p63"/>
          <p:cNvGrpSpPr/>
          <p:nvPr/>
        </p:nvGrpSpPr>
        <p:grpSpPr>
          <a:xfrm>
            <a:off x="8347896" y="1048400"/>
            <a:ext cx="3527200" cy="2506800"/>
            <a:chOff x="361200" y="538650"/>
            <a:chExt cx="2645400" cy="1880100"/>
          </a:xfrm>
        </p:grpSpPr>
        <p:sp>
          <p:nvSpPr>
            <p:cNvPr id="2285" name="Google Shape;2285;p63"/>
            <p:cNvSpPr/>
            <p:nvPr/>
          </p:nvSpPr>
          <p:spPr>
            <a:xfrm>
              <a:off x="376975" y="590650"/>
              <a:ext cx="2614575" cy="1780025"/>
            </a:xfrm>
            <a:custGeom>
              <a:avLst/>
              <a:gdLst/>
              <a:ahLst/>
              <a:cxnLst/>
              <a:rect l="l" t="t" r="r" b="b"/>
              <a:pathLst>
                <a:path w="104583" h="71201" extrusionOk="0">
                  <a:moveTo>
                    <a:pt x="9676" y="71201"/>
                  </a:moveTo>
                  <a:lnTo>
                    <a:pt x="0" y="56485"/>
                  </a:lnTo>
                  <a:lnTo>
                    <a:pt x="94947" y="0"/>
                  </a:lnTo>
                  <a:lnTo>
                    <a:pt x="104583" y="14474"/>
                  </a:lnTo>
                  <a:close/>
                </a:path>
              </a:pathLst>
            </a:custGeom>
            <a:solidFill>
              <a:schemeClr val="accent4"/>
            </a:solidFill>
            <a:ln w="9525" cap="flat" cmpd="sng">
              <a:solidFill>
                <a:schemeClr val="accent4"/>
              </a:solidFill>
              <a:prstDash val="solid"/>
              <a:round/>
              <a:headEnd type="none" w="med" len="med"/>
              <a:tailEnd type="none" w="med" len="med"/>
            </a:ln>
          </p:spPr>
        </p:sp>
        <p:sp>
          <p:nvSpPr>
            <p:cNvPr id="2286" name="Google Shape;2286;p63"/>
            <p:cNvSpPr/>
            <p:nvPr/>
          </p:nvSpPr>
          <p:spPr>
            <a:xfrm>
              <a:off x="589800" y="882150"/>
              <a:ext cx="2416800" cy="1536600"/>
            </a:xfrm>
            <a:prstGeom prst="roundRect">
              <a:avLst>
                <a:gd name="adj" fmla="val 7455"/>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sp>
          <p:nvSpPr>
            <p:cNvPr id="2287" name="Google Shape;2287;p63"/>
            <p:cNvSpPr/>
            <p:nvPr/>
          </p:nvSpPr>
          <p:spPr>
            <a:xfrm>
              <a:off x="361200" y="538650"/>
              <a:ext cx="2416800" cy="1536600"/>
            </a:xfrm>
            <a:prstGeom prst="roundRect">
              <a:avLst>
                <a:gd name="adj" fmla="val 7455"/>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grpSp>
      <p:grpSp>
        <p:nvGrpSpPr>
          <p:cNvPr id="2288" name="Google Shape;2288;p63"/>
          <p:cNvGrpSpPr/>
          <p:nvPr/>
        </p:nvGrpSpPr>
        <p:grpSpPr>
          <a:xfrm>
            <a:off x="4383563" y="3804533"/>
            <a:ext cx="3527200" cy="2506800"/>
            <a:chOff x="361200" y="538650"/>
            <a:chExt cx="2645400" cy="1880100"/>
          </a:xfrm>
        </p:grpSpPr>
        <p:sp>
          <p:nvSpPr>
            <p:cNvPr id="2289" name="Google Shape;2289;p63"/>
            <p:cNvSpPr/>
            <p:nvPr/>
          </p:nvSpPr>
          <p:spPr>
            <a:xfrm>
              <a:off x="376975" y="590650"/>
              <a:ext cx="2614575" cy="1780025"/>
            </a:xfrm>
            <a:custGeom>
              <a:avLst/>
              <a:gdLst/>
              <a:ahLst/>
              <a:cxnLst/>
              <a:rect l="l" t="t" r="r" b="b"/>
              <a:pathLst>
                <a:path w="104583" h="71201" extrusionOk="0">
                  <a:moveTo>
                    <a:pt x="9676" y="71201"/>
                  </a:moveTo>
                  <a:lnTo>
                    <a:pt x="0" y="56485"/>
                  </a:lnTo>
                  <a:lnTo>
                    <a:pt x="94947" y="0"/>
                  </a:lnTo>
                  <a:lnTo>
                    <a:pt x="104583" y="14474"/>
                  </a:lnTo>
                  <a:close/>
                </a:path>
              </a:pathLst>
            </a:custGeom>
            <a:solidFill>
              <a:schemeClr val="accent4"/>
            </a:solidFill>
            <a:ln w="9525" cap="flat" cmpd="sng">
              <a:solidFill>
                <a:schemeClr val="accent4"/>
              </a:solidFill>
              <a:prstDash val="solid"/>
              <a:round/>
              <a:headEnd type="none" w="med" len="med"/>
              <a:tailEnd type="none" w="med" len="med"/>
            </a:ln>
          </p:spPr>
        </p:sp>
        <p:sp>
          <p:nvSpPr>
            <p:cNvPr id="2290" name="Google Shape;2290;p63"/>
            <p:cNvSpPr/>
            <p:nvPr/>
          </p:nvSpPr>
          <p:spPr>
            <a:xfrm>
              <a:off x="589800" y="882150"/>
              <a:ext cx="2416800" cy="1536600"/>
            </a:xfrm>
            <a:prstGeom prst="roundRect">
              <a:avLst>
                <a:gd name="adj" fmla="val 7455"/>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sp>
          <p:nvSpPr>
            <p:cNvPr id="2291" name="Google Shape;2291;p63"/>
            <p:cNvSpPr/>
            <p:nvPr/>
          </p:nvSpPr>
          <p:spPr>
            <a:xfrm>
              <a:off x="361200" y="538650"/>
              <a:ext cx="2416800" cy="1536600"/>
            </a:xfrm>
            <a:prstGeom prst="roundRect">
              <a:avLst>
                <a:gd name="adj" fmla="val 7455"/>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grpSp>
      <p:grpSp>
        <p:nvGrpSpPr>
          <p:cNvPr id="2292" name="Google Shape;2292;p63"/>
          <p:cNvGrpSpPr/>
          <p:nvPr/>
        </p:nvGrpSpPr>
        <p:grpSpPr>
          <a:xfrm>
            <a:off x="337396" y="3804533"/>
            <a:ext cx="3527200" cy="2506800"/>
            <a:chOff x="361200" y="538650"/>
            <a:chExt cx="2645400" cy="1880100"/>
          </a:xfrm>
        </p:grpSpPr>
        <p:sp>
          <p:nvSpPr>
            <p:cNvPr id="2293" name="Google Shape;2293;p63"/>
            <p:cNvSpPr/>
            <p:nvPr/>
          </p:nvSpPr>
          <p:spPr>
            <a:xfrm>
              <a:off x="376975" y="590650"/>
              <a:ext cx="2614575" cy="1780025"/>
            </a:xfrm>
            <a:custGeom>
              <a:avLst/>
              <a:gdLst/>
              <a:ahLst/>
              <a:cxnLst/>
              <a:rect l="l" t="t" r="r" b="b"/>
              <a:pathLst>
                <a:path w="104583" h="71201" extrusionOk="0">
                  <a:moveTo>
                    <a:pt x="9676" y="71201"/>
                  </a:moveTo>
                  <a:lnTo>
                    <a:pt x="0" y="56485"/>
                  </a:lnTo>
                  <a:lnTo>
                    <a:pt x="94947" y="0"/>
                  </a:lnTo>
                  <a:lnTo>
                    <a:pt x="104583" y="14474"/>
                  </a:lnTo>
                  <a:close/>
                </a:path>
              </a:pathLst>
            </a:custGeom>
            <a:solidFill>
              <a:schemeClr val="accent4"/>
            </a:solidFill>
            <a:ln w="9525" cap="flat" cmpd="sng">
              <a:solidFill>
                <a:schemeClr val="accent4"/>
              </a:solidFill>
              <a:prstDash val="solid"/>
              <a:round/>
              <a:headEnd type="none" w="med" len="med"/>
              <a:tailEnd type="none" w="med" len="med"/>
            </a:ln>
          </p:spPr>
        </p:sp>
        <p:sp>
          <p:nvSpPr>
            <p:cNvPr id="2294" name="Google Shape;2294;p63"/>
            <p:cNvSpPr/>
            <p:nvPr/>
          </p:nvSpPr>
          <p:spPr>
            <a:xfrm>
              <a:off x="589800" y="882150"/>
              <a:ext cx="2416800" cy="1536600"/>
            </a:xfrm>
            <a:prstGeom prst="roundRect">
              <a:avLst>
                <a:gd name="adj" fmla="val 7455"/>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sp>
          <p:nvSpPr>
            <p:cNvPr id="2295" name="Google Shape;2295;p63"/>
            <p:cNvSpPr/>
            <p:nvPr/>
          </p:nvSpPr>
          <p:spPr>
            <a:xfrm>
              <a:off x="361200" y="538650"/>
              <a:ext cx="2416800" cy="1536600"/>
            </a:xfrm>
            <a:prstGeom prst="roundRect">
              <a:avLst>
                <a:gd name="adj" fmla="val 7455"/>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grpSp>
      <p:grpSp>
        <p:nvGrpSpPr>
          <p:cNvPr id="2296" name="Google Shape;2296;p63"/>
          <p:cNvGrpSpPr/>
          <p:nvPr/>
        </p:nvGrpSpPr>
        <p:grpSpPr>
          <a:xfrm>
            <a:off x="8347896" y="3804533"/>
            <a:ext cx="3527200" cy="2506800"/>
            <a:chOff x="361200" y="538650"/>
            <a:chExt cx="2645400" cy="1880100"/>
          </a:xfrm>
        </p:grpSpPr>
        <p:sp>
          <p:nvSpPr>
            <p:cNvPr id="2297" name="Google Shape;2297;p63"/>
            <p:cNvSpPr/>
            <p:nvPr/>
          </p:nvSpPr>
          <p:spPr>
            <a:xfrm>
              <a:off x="376975" y="590650"/>
              <a:ext cx="2614575" cy="1780025"/>
            </a:xfrm>
            <a:custGeom>
              <a:avLst/>
              <a:gdLst/>
              <a:ahLst/>
              <a:cxnLst/>
              <a:rect l="l" t="t" r="r" b="b"/>
              <a:pathLst>
                <a:path w="104583" h="71201" extrusionOk="0">
                  <a:moveTo>
                    <a:pt x="9676" y="71201"/>
                  </a:moveTo>
                  <a:lnTo>
                    <a:pt x="0" y="56485"/>
                  </a:lnTo>
                  <a:lnTo>
                    <a:pt x="94947" y="0"/>
                  </a:lnTo>
                  <a:lnTo>
                    <a:pt x="104583" y="14474"/>
                  </a:lnTo>
                  <a:close/>
                </a:path>
              </a:pathLst>
            </a:custGeom>
            <a:solidFill>
              <a:schemeClr val="accent4"/>
            </a:solidFill>
            <a:ln w="9525" cap="flat" cmpd="sng">
              <a:solidFill>
                <a:schemeClr val="accent4"/>
              </a:solidFill>
              <a:prstDash val="solid"/>
              <a:round/>
              <a:headEnd type="none" w="med" len="med"/>
              <a:tailEnd type="none" w="med" len="med"/>
            </a:ln>
          </p:spPr>
        </p:sp>
        <p:sp>
          <p:nvSpPr>
            <p:cNvPr id="2298" name="Google Shape;2298;p63"/>
            <p:cNvSpPr/>
            <p:nvPr/>
          </p:nvSpPr>
          <p:spPr>
            <a:xfrm>
              <a:off x="589800" y="882150"/>
              <a:ext cx="2416800" cy="1536600"/>
            </a:xfrm>
            <a:prstGeom prst="roundRect">
              <a:avLst>
                <a:gd name="adj" fmla="val 7455"/>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sp>
          <p:nvSpPr>
            <p:cNvPr id="2299" name="Google Shape;2299;p63"/>
            <p:cNvSpPr/>
            <p:nvPr/>
          </p:nvSpPr>
          <p:spPr>
            <a:xfrm>
              <a:off x="361200" y="538650"/>
              <a:ext cx="2416800" cy="1536600"/>
            </a:xfrm>
            <a:prstGeom prst="roundRect">
              <a:avLst>
                <a:gd name="adj" fmla="val 7455"/>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grpSp>
      <p:grpSp>
        <p:nvGrpSpPr>
          <p:cNvPr id="2300" name="Google Shape;2300;p63"/>
          <p:cNvGrpSpPr/>
          <p:nvPr/>
        </p:nvGrpSpPr>
        <p:grpSpPr>
          <a:xfrm>
            <a:off x="337412" y="1048400"/>
            <a:ext cx="3527200" cy="2506800"/>
            <a:chOff x="361200" y="538650"/>
            <a:chExt cx="2645400" cy="1880100"/>
          </a:xfrm>
        </p:grpSpPr>
        <p:sp>
          <p:nvSpPr>
            <p:cNvPr id="2301" name="Google Shape;2301;p63"/>
            <p:cNvSpPr/>
            <p:nvPr/>
          </p:nvSpPr>
          <p:spPr>
            <a:xfrm>
              <a:off x="376975" y="590650"/>
              <a:ext cx="2614575" cy="1780025"/>
            </a:xfrm>
            <a:custGeom>
              <a:avLst/>
              <a:gdLst/>
              <a:ahLst/>
              <a:cxnLst/>
              <a:rect l="l" t="t" r="r" b="b"/>
              <a:pathLst>
                <a:path w="104583" h="71201" extrusionOk="0">
                  <a:moveTo>
                    <a:pt x="9676" y="71201"/>
                  </a:moveTo>
                  <a:lnTo>
                    <a:pt x="0" y="56485"/>
                  </a:lnTo>
                  <a:lnTo>
                    <a:pt x="94947" y="0"/>
                  </a:lnTo>
                  <a:lnTo>
                    <a:pt x="104583" y="14474"/>
                  </a:lnTo>
                  <a:close/>
                </a:path>
              </a:pathLst>
            </a:custGeom>
            <a:solidFill>
              <a:schemeClr val="accent4"/>
            </a:solidFill>
            <a:ln w="9525" cap="flat" cmpd="sng">
              <a:solidFill>
                <a:schemeClr val="accent4"/>
              </a:solidFill>
              <a:prstDash val="solid"/>
              <a:round/>
              <a:headEnd type="none" w="med" len="med"/>
              <a:tailEnd type="none" w="med" len="med"/>
            </a:ln>
          </p:spPr>
        </p:sp>
        <p:sp>
          <p:nvSpPr>
            <p:cNvPr id="2302" name="Google Shape;2302;p63"/>
            <p:cNvSpPr/>
            <p:nvPr/>
          </p:nvSpPr>
          <p:spPr>
            <a:xfrm>
              <a:off x="589800" y="882150"/>
              <a:ext cx="2416800" cy="1536600"/>
            </a:xfrm>
            <a:prstGeom prst="roundRect">
              <a:avLst>
                <a:gd name="adj" fmla="val 7455"/>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sp>
          <p:nvSpPr>
            <p:cNvPr id="2303" name="Google Shape;2303;p63"/>
            <p:cNvSpPr/>
            <p:nvPr/>
          </p:nvSpPr>
          <p:spPr>
            <a:xfrm>
              <a:off x="361200" y="538650"/>
              <a:ext cx="2416800" cy="1536600"/>
            </a:xfrm>
            <a:prstGeom prst="roundRect">
              <a:avLst>
                <a:gd name="adj" fmla="val 7455"/>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grpSp>
      <p:sp>
        <p:nvSpPr>
          <p:cNvPr id="2304" name="Google Shape;2304;p63"/>
          <p:cNvSpPr txBox="1">
            <a:spLocks noGrp="1"/>
          </p:cNvSpPr>
          <p:nvPr>
            <p:ph type="title"/>
          </p:nvPr>
        </p:nvSpPr>
        <p:spPr>
          <a:xfrm>
            <a:off x="951700" y="359999"/>
            <a:ext cx="10515600" cy="592400"/>
          </a:xfrm>
          <a:prstGeom prst="rect">
            <a:avLst/>
          </a:prstGeom>
          <a:noFill/>
          <a:ln>
            <a:noFill/>
          </a:ln>
        </p:spPr>
        <p:txBody>
          <a:bodyPr spcFirstLastPara="1" wrap="square" lIns="0" tIns="0" rIns="68575" bIns="34275" anchor="t" anchorCtr="0">
            <a:noAutofit/>
          </a:bodyPr>
          <a:lstStyle>
            <a:lvl1pPr lvl="0" algn="l" rtl="0">
              <a:lnSpc>
                <a:spcPct val="90000"/>
              </a:lnSpc>
              <a:spcBef>
                <a:spcPts val="0"/>
              </a:spcBef>
              <a:spcAft>
                <a:spcPts val="0"/>
              </a:spcAft>
              <a:buClr>
                <a:schemeClr val="dk1"/>
              </a:buClr>
              <a:buSzPts val="2400"/>
              <a:buFont typeface="Inter Medium"/>
              <a:buNone/>
              <a:defRPr sz="3200">
                <a:latin typeface="Inter Medium"/>
                <a:ea typeface="Inter Medium"/>
                <a:cs typeface="Inter Medium"/>
                <a:sym typeface="Inter Medium"/>
              </a:defRPr>
            </a:lvl1pPr>
            <a:lvl2pPr lvl="1" rtl="0">
              <a:spcBef>
                <a:spcPts val="0"/>
              </a:spcBef>
              <a:spcAft>
                <a:spcPts val="0"/>
              </a:spcAft>
              <a:buSzPts val="1100"/>
              <a:buNone/>
              <a:defRPr b="1"/>
            </a:lvl2pPr>
            <a:lvl3pPr lvl="2" rtl="0">
              <a:spcBef>
                <a:spcPts val="0"/>
              </a:spcBef>
              <a:spcAft>
                <a:spcPts val="0"/>
              </a:spcAft>
              <a:buSzPts val="1100"/>
              <a:buNone/>
              <a:defRPr b="1"/>
            </a:lvl3pPr>
            <a:lvl4pPr lvl="3" rtl="0">
              <a:spcBef>
                <a:spcPts val="0"/>
              </a:spcBef>
              <a:spcAft>
                <a:spcPts val="0"/>
              </a:spcAft>
              <a:buSzPts val="1100"/>
              <a:buNone/>
              <a:defRPr b="1"/>
            </a:lvl4pPr>
            <a:lvl5pPr lvl="4" rtl="0">
              <a:spcBef>
                <a:spcPts val="0"/>
              </a:spcBef>
              <a:spcAft>
                <a:spcPts val="0"/>
              </a:spcAft>
              <a:buSzPts val="1100"/>
              <a:buNone/>
              <a:defRPr b="1"/>
            </a:lvl5pPr>
            <a:lvl6pPr lvl="5" rtl="0">
              <a:spcBef>
                <a:spcPts val="0"/>
              </a:spcBef>
              <a:spcAft>
                <a:spcPts val="0"/>
              </a:spcAft>
              <a:buSzPts val="1100"/>
              <a:buNone/>
              <a:defRPr b="1"/>
            </a:lvl6pPr>
            <a:lvl7pPr lvl="6" rtl="0">
              <a:spcBef>
                <a:spcPts val="0"/>
              </a:spcBef>
              <a:spcAft>
                <a:spcPts val="0"/>
              </a:spcAft>
              <a:buSzPts val="1100"/>
              <a:buNone/>
              <a:defRPr b="1"/>
            </a:lvl7pPr>
            <a:lvl8pPr lvl="7" rtl="0">
              <a:spcBef>
                <a:spcPts val="0"/>
              </a:spcBef>
              <a:spcAft>
                <a:spcPts val="0"/>
              </a:spcAft>
              <a:buSzPts val="1100"/>
              <a:buNone/>
              <a:defRPr b="1"/>
            </a:lvl8pPr>
            <a:lvl9pPr lvl="8" rtl="0">
              <a:spcBef>
                <a:spcPts val="0"/>
              </a:spcBef>
              <a:spcAft>
                <a:spcPts val="0"/>
              </a:spcAft>
              <a:buSzPts val="1100"/>
              <a:buNone/>
              <a:defRPr b="1"/>
            </a:lvl9pPr>
          </a:lstStyle>
          <a:p>
            <a:endParaRPr/>
          </a:p>
        </p:txBody>
      </p:sp>
      <p:sp>
        <p:nvSpPr>
          <p:cNvPr id="2305" name="Google Shape;2305;p63"/>
          <p:cNvSpPr txBox="1">
            <a:spLocks noGrp="1"/>
          </p:cNvSpPr>
          <p:nvPr>
            <p:ph type="subTitle" idx="1"/>
          </p:nvPr>
        </p:nvSpPr>
        <p:spPr>
          <a:xfrm>
            <a:off x="642200" y="1506400"/>
            <a:ext cx="2745600" cy="1376400"/>
          </a:xfrm>
          <a:prstGeom prst="rect">
            <a:avLst/>
          </a:prstGeom>
        </p:spPr>
        <p:txBody>
          <a:bodyPr spcFirstLastPara="1" wrap="square" lIns="0" tIns="34275" rIns="68575" bIns="34275" anchor="t" anchorCtr="0">
            <a:noAutofit/>
          </a:bodyPr>
          <a:lstStyle>
            <a:lvl1pPr lvl="0" rtl="0">
              <a:spcBef>
                <a:spcPts val="1067"/>
              </a:spcBef>
              <a:spcAft>
                <a:spcPts val="0"/>
              </a:spcAft>
              <a:buSzPts val="900"/>
              <a:buFont typeface="Inter Medium"/>
              <a:buNone/>
              <a:defRPr sz="2133">
                <a:latin typeface="Inter Medium"/>
                <a:ea typeface="Inter Medium"/>
                <a:cs typeface="Inter Medium"/>
                <a:sym typeface="Inter Medium"/>
              </a:defRPr>
            </a:lvl1pPr>
            <a:lvl2pPr lvl="1" rtl="0">
              <a:spcBef>
                <a:spcPts val="533"/>
              </a:spcBef>
              <a:spcAft>
                <a:spcPts val="0"/>
              </a:spcAft>
              <a:buSzPts val="1200"/>
              <a:buNone/>
              <a:defRPr/>
            </a:lvl2pPr>
            <a:lvl3pPr lvl="2" rtl="0">
              <a:spcBef>
                <a:spcPts val="533"/>
              </a:spcBef>
              <a:spcAft>
                <a:spcPts val="0"/>
              </a:spcAft>
              <a:buSzPts val="1200"/>
              <a:buNone/>
              <a:defRPr/>
            </a:lvl3pPr>
            <a:lvl4pPr lvl="3" rtl="0">
              <a:spcBef>
                <a:spcPts val="533"/>
              </a:spcBef>
              <a:spcAft>
                <a:spcPts val="0"/>
              </a:spcAft>
              <a:buSzPts val="1200"/>
              <a:buNone/>
              <a:defRPr/>
            </a:lvl4pPr>
            <a:lvl5pPr lvl="4" rtl="0">
              <a:spcBef>
                <a:spcPts val="533"/>
              </a:spcBef>
              <a:spcAft>
                <a:spcPts val="0"/>
              </a:spcAft>
              <a:buSzPts val="1200"/>
              <a:buNone/>
              <a:defRPr/>
            </a:lvl5pPr>
            <a:lvl6pPr lvl="5" rtl="0">
              <a:spcBef>
                <a:spcPts val="533"/>
              </a:spcBef>
              <a:spcAft>
                <a:spcPts val="0"/>
              </a:spcAft>
              <a:buSzPts val="1200"/>
              <a:buNone/>
              <a:defRPr/>
            </a:lvl6pPr>
            <a:lvl7pPr lvl="6" rtl="0">
              <a:spcBef>
                <a:spcPts val="533"/>
              </a:spcBef>
              <a:spcAft>
                <a:spcPts val="0"/>
              </a:spcAft>
              <a:buSzPts val="1200"/>
              <a:buNone/>
              <a:defRPr/>
            </a:lvl7pPr>
            <a:lvl8pPr lvl="7" rtl="0">
              <a:spcBef>
                <a:spcPts val="533"/>
              </a:spcBef>
              <a:spcAft>
                <a:spcPts val="0"/>
              </a:spcAft>
              <a:buSzPts val="1200"/>
              <a:buNone/>
              <a:defRPr/>
            </a:lvl8pPr>
            <a:lvl9pPr lvl="8" rtl="0">
              <a:spcBef>
                <a:spcPts val="533"/>
              </a:spcBef>
              <a:spcAft>
                <a:spcPts val="0"/>
              </a:spcAft>
              <a:buSzPts val="1200"/>
              <a:buNone/>
              <a:defRPr/>
            </a:lvl9pPr>
          </a:lstStyle>
          <a:p>
            <a:endParaRPr/>
          </a:p>
        </p:txBody>
      </p:sp>
      <p:sp>
        <p:nvSpPr>
          <p:cNvPr id="2306" name="Google Shape;2306;p63"/>
          <p:cNvSpPr txBox="1">
            <a:spLocks noGrp="1"/>
          </p:cNvSpPr>
          <p:nvPr>
            <p:ph type="subTitle" idx="2"/>
          </p:nvPr>
        </p:nvSpPr>
        <p:spPr>
          <a:xfrm>
            <a:off x="4712651" y="1506400"/>
            <a:ext cx="2745600" cy="1376400"/>
          </a:xfrm>
          <a:prstGeom prst="rect">
            <a:avLst/>
          </a:prstGeom>
        </p:spPr>
        <p:txBody>
          <a:bodyPr spcFirstLastPara="1" wrap="square" lIns="0" tIns="34275" rIns="68575" bIns="34275" anchor="t" anchorCtr="0">
            <a:noAutofit/>
          </a:bodyPr>
          <a:lstStyle>
            <a:lvl1pPr lvl="0" rtl="0">
              <a:spcBef>
                <a:spcPts val="1067"/>
              </a:spcBef>
              <a:spcAft>
                <a:spcPts val="0"/>
              </a:spcAft>
              <a:buSzPts val="900"/>
              <a:buFont typeface="Inter Medium"/>
              <a:buNone/>
              <a:defRPr sz="2133">
                <a:latin typeface="Inter Medium"/>
                <a:ea typeface="Inter Medium"/>
                <a:cs typeface="Inter Medium"/>
                <a:sym typeface="Inter Medium"/>
              </a:defRPr>
            </a:lvl1pPr>
            <a:lvl2pPr lvl="1" rtl="0">
              <a:spcBef>
                <a:spcPts val="533"/>
              </a:spcBef>
              <a:spcAft>
                <a:spcPts val="0"/>
              </a:spcAft>
              <a:buSzPts val="1200"/>
              <a:buNone/>
              <a:defRPr/>
            </a:lvl2pPr>
            <a:lvl3pPr lvl="2" rtl="0">
              <a:spcBef>
                <a:spcPts val="533"/>
              </a:spcBef>
              <a:spcAft>
                <a:spcPts val="0"/>
              </a:spcAft>
              <a:buSzPts val="1200"/>
              <a:buNone/>
              <a:defRPr/>
            </a:lvl3pPr>
            <a:lvl4pPr lvl="3" rtl="0">
              <a:spcBef>
                <a:spcPts val="533"/>
              </a:spcBef>
              <a:spcAft>
                <a:spcPts val="0"/>
              </a:spcAft>
              <a:buSzPts val="1200"/>
              <a:buNone/>
              <a:defRPr/>
            </a:lvl4pPr>
            <a:lvl5pPr lvl="4" rtl="0">
              <a:spcBef>
                <a:spcPts val="533"/>
              </a:spcBef>
              <a:spcAft>
                <a:spcPts val="0"/>
              </a:spcAft>
              <a:buSzPts val="1200"/>
              <a:buNone/>
              <a:defRPr/>
            </a:lvl5pPr>
            <a:lvl6pPr lvl="5" rtl="0">
              <a:spcBef>
                <a:spcPts val="533"/>
              </a:spcBef>
              <a:spcAft>
                <a:spcPts val="0"/>
              </a:spcAft>
              <a:buSzPts val="1200"/>
              <a:buNone/>
              <a:defRPr/>
            </a:lvl6pPr>
            <a:lvl7pPr lvl="6" rtl="0">
              <a:spcBef>
                <a:spcPts val="533"/>
              </a:spcBef>
              <a:spcAft>
                <a:spcPts val="0"/>
              </a:spcAft>
              <a:buSzPts val="1200"/>
              <a:buNone/>
              <a:defRPr/>
            </a:lvl7pPr>
            <a:lvl8pPr lvl="7" rtl="0">
              <a:spcBef>
                <a:spcPts val="533"/>
              </a:spcBef>
              <a:spcAft>
                <a:spcPts val="0"/>
              </a:spcAft>
              <a:buSzPts val="1200"/>
              <a:buNone/>
              <a:defRPr/>
            </a:lvl8pPr>
            <a:lvl9pPr lvl="8" rtl="0">
              <a:spcBef>
                <a:spcPts val="533"/>
              </a:spcBef>
              <a:spcAft>
                <a:spcPts val="0"/>
              </a:spcAft>
              <a:buSzPts val="1200"/>
              <a:buNone/>
              <a:defRPr/>
            </a:lvl9pPr>
          </a:lstStyle>
          <a:p>
            <a:endParaRPr/>
          </a:p>
        </p:txBody>
      </p:sp>
      <p:sp>
        <p:nvSpPr>
          <p:cNvPr id="2307" name="Google Shape;2307;p63"/>
          <p:cNvSpPr txBox="1">
            <a:spLocks noGrp="1"/>
          </p:cNvSpPr>
          <p:nvPr>
            <p:ph type="subTitle" idx="3"/>
          </p:nvPr>
        </p:nvSpPr>
        <p:spPr>
          <a:xfrm>
            <a:off x="8672217" y="1506400"/>
            <a:ext cx="2745600" cy="1376400"/>
          </a:xfrm>
          <a:prstGeom prst="rect">
            <a:avLst/>
          </a:prstGeom>
        </p:spPr>
        <p:txBody>
          <a:bodyPr spcFirstLastPara="1" wrap="square" lIns="0" tIns="34275" rIns="68575" bIns="34275" anchor="t" anchorCtr="0">
            <a:noAutofit/>
          </a:bodyPr>
          <a:lstStyle>
            <a:lvl1pPr lvl="0" rtl="0">
              <a:spcBef>
                <a:spcPts val="1067"/>
              </a:spcBef>
              <a:spcAft>
                <a:spcPts val="0"/>
              </a:spcAft>
              <a:buSzPts val="900"/>
              <a:buFont typeface="Inter Medium"/>
              <a:buNone/>
              <a:defRPr sz="2133">
                <a:latin typeface="Inter Medium"/>
                <a:ea typeface="Inter Medium"/>
                <a:cs typeface="Inter Medium"/>
                <a:sym typeface="Inter Medium"/>
              </a:defRPr>
            </a:lvl1pPr>
            <a:lvl2pPr lvl="1" rtl="0">
              <a:spcBef>
                <a:spcPts val="533"/>
              </a:spcBef>
              <a:spcAft>
                <a:spcPts val="0"/>
              </a:spcAft>
              <a:buSzPts val="1200"/>
              <a:buNone/>
              <a:defRPr/>
            </a:lvl2pPr>
            <a:lvl3pPr lvl="2" rtl="0">
              <a:spcBef>
                <a:spcPts val="533"/>
              </a:spcBef>
              <a:spcAft>
                <a:spcPts val="0"/>
              </a:spcAft>
              <a:buSzPts val="1200"/>
              <a:buNone/>
              <a:defRPr/>
            </a:lvl3pPr>
            <a:lvl4pPr lvl="3" rtl="0">
              <a:spcBef>
                <a:spcPts val="533"/>
              </a:spcBef>
              <a:spcAft>
                <a:spcPts val="0"/>
              </a:spcAft>
              <a:buSzPts val="1200"/>
              <a:buNone/>
              <a:defRPr/>
            </a:lvl4pPr>
            <a:lvl5pPr lvl="4" rtl="0">
              <a:spcBef>
                <a:spcPts val="533"/>
              </a:spcBef>
              <a:spcAft>
                <a:spcPts val="0"/>
              </a:spcAft>
              <a:buSzPts val="1200"/>
              <a:buNone/>
              <a:defRPr/>
            </a:lvl5pPr>
            <a:lvl6pPr lvl="5" rtl="0">
              <a:spcBef>
                <a:spcPts val="533"/>
              </a:spcBef>
              <a:spcAft>
                <a:spcPts val="0"/>
              </a:spcAft>
              <a:buSzPts val="1200"/>
              <a:buNone/>
              <a:defRPr/>
            </a:lvl6pPr>
            <a:lvl7pPr lvl="6" rtl="0">
              <a:spcBef>
                <a:spcPts val="533"/>
              </a:spcBef>
              <a:spcAft>
                <a:spcPts val="0"/>
              </a:spcAft>
              <a:buSzPts val="1200"/>
              <a:buNone/>
              <a:defRPr/>
            </a:lvl7pPr>
            <a:lvl8pPr lvl="7" rtl="0">
              <a:spcBef>
                <a:spcPts val="533"/>
              </a:spcBef>
              <a:spcAft>
                <a:spcPts val="0"/>
              </a:spcAft>
              <a:buSzPts val="1200"/>
              <a:buNone/>
              <a:defRPr/>
            </a:lvl8pPr>
            <a:lvl9pPr lvl="8" rtl="0">
              <a:spcBef>
                <a:spcPts val="533"/>
              </a:spcBef>
              <a:spcAft>
                <a:spcPts val="0"/>
              </a:spcAft>
              <a:buSzPts val="1200"/>
              <a:buNone/>
              <a:defRPr/>
            </a:lvl9pPr>
          </a:lstStyle>
          <a:p>
            <a:endParaRPr/>
          </a:p>
        </p:txBody>
      </p:sp>
      <p:sp>
        <p:nvSpPr>
          <p:cNvPr id="2308" name="Google Shape;2308;p63"/>
          <p:cNvSpPr txBox="1">
            <a:spLocks noGrp="1"/>
          </p:cNvSpPr>
          <p:nvPr>
            <p:ph type="subTitle" idx="4"/>
          </p:nvPr>
        </p:nvSpPr>
        <p:spPr>
          <a:xfrm>
            <a:off x="642200" y="4369733"/>
            <a:ext cx="2745600" cy="1376400"/>
          </a:xfrm>
          <a:prstGeom prst="rect">
            <a:avLst/>
          </a:prstGeom>
        </p:spPr>
        <p:txBody>
          <a:bodyPr spcFirstLastPara="1" wrap="square" lIns="0" tIns="34275" rIns="68575" bIns="34275" anchor="t" anchorCtr="0">
            <a:noAutofit/>
          </a:bodyPr>
          <a:lstStyle>
            <a:lvl1pPr lvl="0" rtl="0">
              <a:spcBef>
                <a:spcPts val="1067"/>
              </a:spcBef>
              <a:spcAft>
                <a:spcPts val="0"/>
              </a:spcAft>
              <a:buSzPts val="900"/>
              <a:buFont typeface="Inter Medium"/>
              <a:buNone/>
              <a:defRPr sz="2133">
                <a:latin typeface="Inter Medium"/>
                <a:ea typeface="Inter Medium"/>
                <a:cs typeface="Inter Medium"/>
                <a:sym typeface="Inter Medium"/>
              </a:defRPr>
            </a:lvl1pPr>
            <a:lvl2pPr lvl="1" rtl="0">
              <a:spcBef>
                <a:spcPts val="533"/>
              </a:spcBef>
              <a:spcAft>
                <a:spcPts val="0"/>
              </a:spcAft>
              <a:buSzPts val="1200"/>
              <a:buNone/>
              <a:defRPr/>
            </a:lvl2pPr>
            <a:lvl3pPr lvl="2" rtl="0">
              <a:spcBef>
                <a:spcPts val="533"/>
              </a:spcBef>
              <a:spcAft>
                <a:spcPts val="0"/>
              </a:spcAft>
              <a:buSzPts val="1200"/>
              <a:buNone/>
              <a:defRPr/>
            </a:lvl3pPr>
            <a:lvl4pPr lvl="3" rtl="0">
              <a:spcBef>
                <a:spcPts val="533"/>
              </a:spcBef>
              <a:spcAft>
                <a:spcPts val="0"/>
              </a:spcAft>
              <a:buSzPts val="1200"/>
              <a:buNone/>
              <a:defRPr/>
            </a:lvl4pPr>
            <a:lvl5pPr lvl="4" rtl="0">
              <a:spcBef>
                <a:spcPts val="533"/>
              </a:spcBef>
              <a:spcAft>
                <a:spcPts val="0"/>
              </a:spcAft>
              <a:buSzPts val="1200"/>
              <a:buNone/>
              <a:defRPr/>
            </a:lvl5pPr>
            <a:lvl6pPr lvl="5" rtl="0">
              <a:spcBef>
                <a:spcPts val="533"/>
              </a:spcBef>
              <a:spcAft>
                <a:spcPts val="0"/>
              </a:spcAft>
              <a:buSzPts val="1200"/>
              <a:buNone/>
              <a:defRPr/>
            </a:lvl6pPr>
            <a:lvl7pPr lvl="6" rtl="0">
              <a:spcBef>
                <a:spcPts val="533"/>
              </a:spcBef>
              <a:spcAft>
                <a:spcPts val="0"/>
              </a:spcAft>
              <a:buSzPts val="1200"/>
              <a:buNone/>
              <a:defRPr/>
            </a:lvl7pPr>
            <a:lvl8pPr lvl="7" rtl="0">
              <a:spcBef>
                <a:spcPts val="533"/>
              </a:spcBef>
              <a:spcAft>
                <a:spcPts val="0"/>
              </a:spcAft>
              <a:buSzPts val="1200"/>
              <a:buNone/>
              <a:defRPr/>
            </a:lvl8pPr>
            <a:lvl9pPr lvl="8" rtl="0">
              <a:spcBef>
                <a:spcPts val="533"/>
              </a:spcBef>
              <a:spcAft>
                <a:spcPts val="0"/>
              </a:spcAft>
              <a:buSzPts val="1200"/>
              <a:buNone/>
              <a:defRPr/>
            </a:lvl9pPr>
          </a:lstStyle>
          <a:p>
            <a:endParaRPr/>
          </a:p>
        </p:txBody>
      </p:sp>
      <p:sp>
        <p:nvSpPr>
          <p:cNvPr id="2309" name="Google Shape;2309;p63"/>
          <p:cNvSpPr txBox="1">
            <a:spLocks noGrp="1"/>
          </p:cNvSpPr>
          <p:nvPr>
            <p:ph type="subTitle" idx="5"/>
          </p:nvPr>
        </p:nvSpPr>
        <p:spPr>
          <a:xfrm>
            <a:off x="4712651" y="4369733"/>
            <a:ext cx="2745600" cy="1376400"/>
          </a:xfrm>
          <a:prstGeom prst="rect">
            <a:avLst/>
          </a:prstGeom>
        </p:spPr>
        <p:txBody>
          <a:bodyPr spcFirstLastPara="1" wrap="square" lIns="0" tIns="34275" rIns="68575" bIns="34275" anchor="t" anchorCtr="0">
            <a:noAutofit/>
          </a:bodyPr>
          <a:lstStyle>
            <a:lvl1pPr lvl="0" rtl="0">
              <a:spcBef>
                <a:spcPts val="1067"/>
              </a:spcBef>
              <a:spcAft>
                <a:spcPts val="0"/>
              </a:spcAft>
              <a:buSzPts val="900"/>
              <a:buFont typeface="Inter Medium"/>
              <a:buNone/>
              <a:defRPr sz="2133">
                <a:latin typeface="Inter Medium"/>
                <a:ea typeface="Inter Medium"/>
                <a:cs typeface="Inter Medium"/>
                <a:sym typeface="Inter Medium"/>
              </a:defRPr>
            </a:lvl1pPr>
            <a:lvl2pPr lvl="1" rtl="0">
              <a:spcBef>
                <a:spcPts val="533"/>
              </a:spcBef>
              <a:spcAft>
                <a:spcPts val="0"/>
              </a:spcAft>
              <a:buSzPts val="1200"/>
              <a:buNone/>
              <a:defRPr/>
            </a:lvl2pPr>
            <a:lvl3pPr lvl="2" rtl="0">
              <a:spcBef>
                <a:spcPts val="533"/>
              </a:spcBef>
              <a:spcAft>
                <a:spcPts val="0"/>
              </a:spcAft>
              <a:buSzPts val="1200"/>
              <a:buNone/>
              <a:defRPr/>
            </a:lvl3pPr>
            <a:lvl4pPr lvl="3" rtl="0">
              <a:spcBef>
                <a:spcPts val="533"/>
              </a:spcBef>
              <a:spcAft>
                <a:spcPts val="0"/>
              </a:spcAft>
              <a:buSzPts val="1200"/>
              <a:buNone/>
              <a:defRPr/>
            </a:lvl4pPr>
            <a:lvl5pPr lvl="4" rtl="0">
              <a:spcBef>
                <a:spcPts val="533"/>
              </a:spcBef>
              <a:spcAft>
                <a:spcPts val="0"/>
              </a:spcAft>
              <a:buSzPts val="1200"/>
              <a:buNone/>
              <a:defRPr/>
            </a:lvl5pPr>
            <a:lvl6pPr lvl="5" rtl="0">
              <a:spcBef>
                <a:spcPts val="533"/>
              </a:spcBef>
              <a:spcAft>
                <a:spcPts val="0"/>
              </a:spcAft>
              <a:buSzPts val="1200"/>
              <a:buNone/>
              <a:defRPr/>
            </a:lvl6pPr>
            <a:lvl7pPr lvl="6" rtl="0">
              <a:spcBef>
                <a:spcPts val="533"/>
              </a:spcBef>
              <a:spcAft>
                <a:spcPts val="0"/>
              </a:spcAft>
              <a:buSzPts val="1200"/>
              <a:buNone/>
              <a:defRPr/>
            </a:lvl7pPr>
            <a:lvl8pPr lvl="7" rtl="0">
              <a:spcBef>
                <a:spcPts val="533"/>
              </a:spcBef>
              <a:spcAft>
                <a:spcPts val="0"/>
              </a:spcAft>
              <a:buSzPts val="1200"/>
              <a:buNone/>
              <a:defRPr/>
            </a:lvl8pPr>
            <a:lvl9pPr lvl="8" rtl="0">
              <a:spcBef>
                <a:spcPts val="533"/>
              </a:spcBef>
              <a:spcAft>
                <a:spcPts val="0"/>
              </a:spcAft>
              <a:buSzPts val="1200"/>
              <a:buNone/>
              <a:defRPr/>
            </a:lvl9pPr>
          </a:lstStyle>
          <a:p>
            <a:endParaRPr/>
          </a:p>
        </p:txBody>
      </p:sp>
      <p:sp>
        <p:nvSpPr>
          <p:cNvPr id="2310" name="Google Shape;2310;p63"/>
          <p:cNvSpPr txBox="1">
            <a:spLocks noGrp="1"/>
          </p:cNvSpPr>
          <p:nvPr>
            <p:ph type="subTitle" idx="6"/>
          </p:nvPr>
        </p:nvSpPr>
        <p:spPr>
          <a:xfrm>
            <a:off x="8672217" y="4369733"/>
            <a:ext cx="2745600" cy="1376400"/>
          </a:xfrm>
          <a:prstGeom prst="rect">
            <a:avLst/>
          </a:prstGeom>
        </p:spPr>
        <p:txBody>
          <a:bodyPr spcFirstLastPara="1" wrap="square" lIns="0" tIns="34275" rIns="68575" bIns="34275" anchor="t" anchorCtr="0">
            <a:noAutofit/>
          </a:bodyPr>
          <a:lstStyle>
            <a:lvl1pPr lvl="0" rtl="0">
              <a:spcBef>
                <a:spcPts val="1067"/>
              </a:spcBef>
              <a:spcAft>
                <a:spcPts val="0"/>
              </a:spcAft>
              <a:buSzPts val="900"/>
              <a:buFont typeface="Inter Medium"/>
              <a:buNone/>
              <a:defRPr sz="2133">
                <a:latin typeface="Inter Medium"/>
                <a:ea typeface="Inter Medium"/>
                <a:cs typeface="Inter Medium"/>
                <a:sym typeface="Inter Medium"/>
              </a:defRPr>
            </a:lvl1pPr>
            <a:lvl2pPr lvl="1" rtl="0">
              <a:spcBef>
                <a:spcPts val="533"/>
              </a:spcBef>
              <a:spcAft>
                <a:spcPts val="0"/>
              </a:spcAft>
              <a:buSzPts val="1200"/>
              <a:buNone/>
              <a:defRPr/>
            </a:lvl2pPr>
            <a:lvl3pPr lvl="2" rtl="0">
              <a:spcBef>
                <a:spcPts val="533"/>
              </a:spcBef>
              <a:spcAft>
                <a:spcPts val="0"/>
              </a:spcAft>
              <a:buSzPts val="1200"/>
              <a:buNone/>
              <a:defRPr/>
            </a:lvl3pPr>
            <a:lvl4pPr lvl="3" rtl="0">
              <a:spcBef>
                <a:spcPts val="533"/>
              </a:spcBef>
              <a:spcAft>
                <a:spcPts val="0"/>
              </a:spcAft>
              <a:buSzPts val="1200"/>
              <a:buNone/>
              <a:defRPr/>
            </a:lvl4pPr>
            <a:lvl5pPr lvl="4" rtl="0">
              <a:spcBef>
                <a:spcPts val="533"/>
              </a:spcBef>
              <a:spcAft>
                <a:spcPts val="0"/>
              </a:spcAft>
              <a:buSzPts val="1200"/>
              <a:buNone/>
              <a:defRPr/>
            </a:lvl5pPr>
            <a:lvl6pPr lvl="5" rtl="0">
              <a:spcBef>
                <a:spcPts val="533"/>
              </a:spcBef>
              <a:spcAft>
                <a:spcPts val="0"/>
              </a:spcAft>
              <a:buSzPts val="1200"/>
              <a:buNone/>
              <a:defRPr/>
            </a:lvl6pPr>
            <a:lvl7pPr lvl="6" rtl="0">
              <a:spcBef>
                <a:spcPts val="533"/>
              </a:spcBef>
              <a:spcAft>
                <a:spcPts val="0"/>
              </a:spcAft>
              <a:buSzPts val="1200"/>
              <a:buNone/>
              <a:defRPr/>
            </a:lvl7pPr>
            <a:lvl8pPr lvl="7" rtl="0">
              <a:spcBef>
                <a:spcPts val="533"/>
              </a:spcBef>
              <a:spcAft>
                <a:spcPts val="0"/>
              </a:spcAft>
              <a:buSzPts val="1200"/>
              <a:buNone/>
              <a:defRPr/>
            </a:lvl8pPr>
            <a:lvl9pPr lvl="8" rtl="0">
              <a:spcBef>
                <a:spcPts val="533"/>
              </a:spcBef>
              <a:spcAft>
                <a:spcPts val="0"/>
              </a:spcAft>
              <a:buSzPts val="1200"/>
              <a:buNone/>
              <a:defRPr/>
            </a:lvl9pPr>
          </a:lstStyle>
          <a:p>
            <a:endParaRPr/>
          </a:p>
        </p:txBody>
      </p:sp>
    </p:spTree>
    <p:extLst>
      <p:ext uri="{BB962C8B-B14F-4D97-AF65-F5344CB8AC3E}">
        <p14:creationId xmlns:p14="http://schemas.microsoft.com/office/powerpoint/2010/main" val="37199229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matchingName="3 Shapes - Lunar">
  <p:cSld name="3 Shapes - Lunar">
    <p:bg>
      <p:bgPr>
        <a:solidFill>
          <a:schemeClr val="lt2"/>
        </a:solidFill>
        <a:effectLst/>
      </p:bgPr>
    </p:bg>
    <p:spTree>
      <p:nvGrpSpPr>
        <p:cNvPr id="1" name="Shape 2311"/>
        <p:cNvGrpSpPr/>
        <p:nvPr/>
      </p:nvGrpSpPr>
      <p:grpSpPr>
        <a:xfrm>
          <a:off x="0" y="0"/>
          <a:ext cx="0" cy="0"/>
          <a:chOff x="0" y="0"/>
          <a:chExt cx="0" cy="0"/>
        </a:xfrm>
      </p:grpSpPr>
      <p:sp>
        <p:nvSpPr>
          <p:cNvPr id="2312" name="Google Shape;2312;p64"/>
          <p:cNvSpPr txBox="1">
            <a:spLocks noGrp="1"/>
          </p:cNvSpPr>
          <p:nvPr>
            <p:ph type="sldNum" idx="12"/>
          </p:nvPr>
        </p:nvSpPr>
        <p:spPr>
          <a:xfrm>
            <a:off x="10978812" y="5993647"/>
            <a:ext cx="731600" cy="524800"/>
          </a:xfrm>
          <a:prstGeom prst="rect">
            <a:avLst/>
          </a:prstGeom>
        </p:spPr>
        <p:txBody>
          <a:bodyPr spcFirstLastPara="1" wrap="square" lIns="91425" tIns="91425" rIns="0" bIns="0" anchor="b" anchorCtr="0">
            <a:noAutofit/>
          </a:bodyPr>
          <a:lstStyle>
            <a:lvl1pPr lvl="0" algn="r" rtl="0">
              <a:buNone/>
              <a:defRPr sz="667">
                <a:solidFill>
                  <a:schemeClr val="dk2"/>
                </a:solidFill>
                <a:latin typeface="Inter"/>
                <a:ea typeface="Inter"/>
                <a:cs typeface="Inter"/>
                <a:sym typeface="Inter"/>
              </a:defRPr>
            </a:lvl1pPr>
            <a:lvl2pPr lvl="1" algn="r" rtl="0">
              <a:buNone/>
              <a:defRPr sz="667">
                <a:solidFill>
                  <a:schemeClr val="dk2"/>
                </a:solidFill>
                <a:latin typeface="Inter"/>
                <a:ea typeface="Inter"/>
                <a:cs typeface="Inter"/>
                <a:sym typeface="Inter"/>
              </a:defRPr>
            </a:lvl2pPr>
            <a:lvl3pPr lvl="2" algn="r" rtl="0">
              <a:buNone/>
              <a:defRPr sz="667">
                <a:solidFill>
                  <a:schemeClr val="dk2"/>
                </a:solidFill>
                <a:latin typeface="Inter"/>
                <a:ea typeface="Inter"/>
                <a:cs typeface="Inter"/>
                <a:sym typeface="Inter"/>
              </a:defRPr>
            </a:lvl3pPr>
            <a:lvl4pPr lvl="3" algn="r" rtl="0">
              <a:buNone/>
              <a:defRPr sz="667">
                <a:solidFill>
                  <a:schemeClr val="dk2"/>
                </a:solidFill>
                <a:latin typeface="Inter"/>
                <a:ea typeface="Inter"/>
                <a:cs typeface="Inter"/>
                <a:sym typeface="Inter"/>
              </a:defRPr>
            </a:lvl4pPr>
            <a:lvl5pPr lvl="4" algn="r" rtl="0">
              <a:buNone/>
              <a:defRPr sz="667">
                <a:solidFill>
                  <a:schemeClr val="dk2"/>
                </a:solidFill>
                <a:latin typeface="Inter"/>
                <a:ea typeface="Inter"/>
                <a:cs typeface="Inter"/>
                <a:sym typeface="Inter"/>
              </a:defRPr>
            </a:lvl5pPr>
            <a:lvl6pPr lvl="5" algn="r" rtl="0">
              <a:buNone/>
              <a:defRPr sz="667">
                <a:solidFill>
                  <a:schemeClr val="dk2"/>
                </a:solidFill>
                <a:latin typeface="Inter"/>
                <a:ea typeface="Inter"/>
                <a:cs typeface="Inter"/>
                <a:sym typeface="Inter"/>
              </a:defRPr>
            </a:lvl6pPr>
            <a:lvl7pPr lvl="6" algn="r" rtl="0">
              <a:buNone/>
              <a:defRPr sz="667">
                <a:solidFill>
                  <a:schemeClr val="dk2"/>
                </a:solidFill>
                <a:latin typeface="Inter"/>
                <a:ea typeface="Inter"/>
                <a:cs typeface="Inter"/>
                <a:sym typeface="Inter"/>
              </a:defRPr>
            </a:lvl7pPr>
            <a:lvl8pPr lvl="7" algn="r" rtl="0">
              <a:buNone/>
              <a:defRPr sz="667">
                <a:solidFill>
                  <a:schemeClr val="dk2"/>
                </a:solidFill>
                <a:latin typeface="Inter"/>
                <a:ea typeface="Inter"/>
                <a:cs typeface="Inter"/>
                <a:sym typeface="Inter"/>
              </a:defRPr>
            </a:lvl8pPr>
            <a:lvl9pPr lvl="8" algn="r" rtl="0">
              <a:buNone/>
              <a:defRPr sz="667">
                <a:solidFill>
                  <a:schemeClr val="dk2"/>
                </a:solidFill>
                <a:latin typeface="Inter"/>
                <a:ea typeface="Inter"/>
                <a:cs typeface="Inter"/>
                <a:sym typeface="Inter"/>
              </a:defRPr>
            </a:lvl9pPr>
          </a:lstStyle>
          <a:p>
            <a:fld id="{00000000-1234-1234-1234-123412341234}" type="slidenum">
              <a:rPr lang="en-GB" smtClean="0"/>
              <a:pPr/>
              <a:t>‹#›</a:t>
            </a:fld>
            <a:endParaRPr lang="en-GB"/>
          </a:p>
        </p:txBody>
      </p:sp>
      <p:sp>
        <p:nvSpPr>
          <p:cNvPr id="2313" name="Google Shape;2313;p64"/>
          <p:cNvSpPr/>
          <p:nvPr/>
        </p:nvSpPr>
        <p:spPr>
          <a:xfrm>
            <a:off x="481601" y="414630"/>
            <a:ext cx="349111" cy="305471"/>
          </a:xfrm>
          <a:custGeom>
            <a:avLst/>
            <a:gdLst/>
            <a:ahLst/>
            <a:cxnLst/>
            <a:rect l="l" t="t" r="r" b="b"/>
            <a:pathLst>
              <a:path w="1586865" h="1388506" extrusionOk="0">
                <a:moveTo>
                  <a:pt x="1083683" y="969931"/>
                </a:moveTo>
                <a:lnTo>
                  <a:pt x="1083683" y="579692"/>
                </a:lnTo>
                <a:lnTo>
                  <a:pt x="849297" y="969931"/>
                </a:lnTo>
                <a:lnTo>
                  <a:pt x="848892" y="969931"/>
                </a:lnTo>
                <a:cubicBezTo>
                  <a:pt x="848892" y="969931"/>
                  <a:pt x="848892" y="969931"/>
                  <a:pt x="848892" y="969931"/>
                </a:cubicBezTo>
                <a:lnTo>
                  <a:pt x="738783" y="969931"/>
                </a:lnTo>
                <a:lnTo>
                  <a:pt x="738783" y="577668"/>
                </a:lnTo>
                <a:lnTo>
                  <a:pt x="549735" y="892612"/>
                </a:lnTo>
                <a:cubicBezTo>
                  <a:pt x="527876" y="929449"/>
                  <a:pt x="510873" y="958191"/>
                  <a:pt x="503992" y="969931"/>
                </a:cubicBezTo>
                <a:lnTo>
                  <a:pt x="393073" y="969931"/>
                </a:lnTo>
                <a:lnTo>
                  <a:pt x="393073" y="418576"/>
                </a:lnTo>
                <a:lnTo>
                  <a:pt x="503992" y="418576"/>
                </a:lnTo>
                <a:lnTo>
                  <a:pt x="502777" y="760643"/>
                </a:lnTo>
                <a:lnTo>
                  <a:pt x="503587" y="782098"/>
                </a:lnTo>
                <a:lnTo>
                  <a:pt x="721781" y="418981"/>
                </a:lnTo>
                <a:lnTo>
                  <a:pt x="721781" y="418981"/>
                </a:lnTo>
                <a:lnTo>
                  <a:pt x="721781" y="418981"/>
                </a:lnTo>
                <a:lnTo>
                  <a:pt x="739188" y="418981"/>
                </a:lnTo>
                <a:lnTo>
                  <a:pt x="847678" y="418981"/>
                </a:lnTo>
                <a:cubicBezTo>
                  <a:pt x="847678" y="418981"/>
                  <a:pt x="848487" y="722995"/>
                  <a:pt x="848892" y="783717"/>
                </a:cubicBezTo>
                <a:lnTo>
                  <a:pt x="1067895" y="418981"/>
                </a:lnTo>
                <a:lnTo>
                  <a:pt x="1067895" y="418981"/>
                </a:lnTo>
                <a:lnTo>
                  <a:pt x="1067895" y="418981"/>
                </a:lnTo>
                <a:lnTo>
                  <a:pt x="1085302" y="418981"/>
                </a:lnTo>
                <a:lnTo>
                  <a:pt x="1193387" y="418981"/>
                </a:lnTo>
                <a:lnTo>
                  <a:pt x="1193387" y="970336"/>
                </a:lnTo>
                <a:lnTo>
                  <a:pt x="1083683" y="970336"/>
                </a:lnTo>
                <a:close/>
                <a:moveTo>
                  <a:pt x="1190149" y="0"/>
                </a:moveTo>
                <a:lnTo>
                  <a:pt x="396716" y="0"/>
                </a:lnTo>
                <a:lnTo>
                  <a:pt x="0" y="694253"/>
                </a:lnTo>
                <a:lnTo>
                  <a:pt x="396716" y="1388507"/>
                </a:lnTo>
                <a:lnTo>
                  <a:pt x="1190149" y="1388507"/>
                </a:lnTo>
                <a:lnTo>
                  <a:pt x="1586865" y="694253"/>
                </a:lnTo>
                <a:lnTo>
                  <a:pt x="1190149" y="0"/>
                </a:lnTo>
                <a:close/>
              </a:path>
            </a:pathLst>
          </a:custGeom>
          <a:solidFill>
            <a:schemeClr val="dk2"/>
          </a:solidFill>
          <a:ln>
            <a:noFill/>
          </a:ln>
        </p:spPr>
        <p:txBody>
          <a:bodyPr spcFirstLastPara="1" wrap="square" lIns="91433" tIns="45700" rIns="91433" bIns="45700"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314" name="Google Shape;2314;p64"/>
          <p:cNvSpPr txBox="1"/>
          <p:nvPr/>
        </p:nvSpPr>
        <p:spPr>
          <a:xfrm>
            <a:off x="481600" y="6245247"/>
            <a:ext cx="1288400" cy="273200"/>
          </a:xfrm>
          <a:prstGeom prst="rect">
            <a:avLst/>
          </a:prstGeom>
          <a:noFill/>
          <a:ln>
            <a:noFill/>
          </a:ln>
        </p:spPr>
        <p:txBody>
          <a:bodyPr spcFirstLastPara="1" wrap="square" lIns="0" tIns="0" rIns="0" bIns="0" anchor="b" anchorCtr="0">
            <a:noAutofit/>
          </a:bodyPr>
          <a:lstStyle/>
          <a:p>
            <a:pPr marL="0" lvl="0" indent="0" algn="l" rtl="0">
              <a:spcBef>
                <a:spcPts val="0"/>
              </a:spcBef>
              <a:spcAft>
                <a:spcPts val="0"/>
              </a:spcAft>
              <a:buNone/>
            </a:pPr>
            <a:r>
              <a:rPr lang="en-GB" sz="667">
                <a:solidFill>
                  <a:schemeClr val="dk2"/>
                </a:solidFill>
                <a:latin typeface="Inter"/>
                <a:ea typeface="Inter"/>
                <a:cs typeface="Inter"/>
                <a:sym typeface="Inter"/>
              </a:rPr>
              <a:t>Multiverse</a:t>
            </a:r>
            <a:endParaRPr sz="667">
              <a:solidFill>
                <a:schemeClr val="dk2"/>
              </a:solidFill>
              <a:latin typeface="Inter"/>
              <a:ea typeface="Inter"/>
              <a:cs typeface="Inter"/>
              <a:sym typeface="Inter"/>
            </a:endParaRPr>
          </a:p>
        </p:txBody>
      </p:sp>
      <p:grpSp>
        <p:nvGrpSpPr>
          <p:cNvPr id="2315" name="Google Shape;2315;p64"/>
          <p:cNvGrpSpPr/>
          <p:nvPr/>
        </p:nvGrpSpPr>
        <p:grpSpPr>
          <a:xfrm>
            <a:off x="4383563" y="2103451"/>
            <a:ext cx="3527200" cy="2506800"/>
            <a:chOff x="361200" y="538650"/>
            <a:chExt cx="2645400" cy="1880100"/>
          </a:xfrm>
        </p:grpSpPr>
        <p:sp>
          <p:nvSpPr>
            <p:cNvPr id="2316" name="Google Shape;2316;p64"/>
            <p:cNvSpPr/>
            <p:nvPr/>
          </p:nvSpPr>
          <p:spPr>
            <a:xfrm>
              <a:off x="376975" y="590650"/>
              <a:ext cx="2614575" cy="1780025"/>
            </a:xfrm>
            <a:custGeom>
              <a:avLst/>
              <a:gdLst/>
              <a:ahLst/>
              <a:cxnLst/>
              <a:rect l="l" t="t" r="r" b="b"/>
              <a:pathLst>
                <a:path w="104583" h="71201" extrusionOk="0">
                  <a:moveTo>
                    <a:pt x="9676" y="71201"/>
                  </a:moveTo>
                  <a:lnTo>
                    <a:pt x="0" y="56485"/>
                  </a:lnTo>
                  <a:lnTo>
                    <a:pt x="94947" y="0"/>
                  </a:lnTo>
                  <a:lnTo>
                    <a:pt x="104583" y="14474"/>
                  </a:lnTo>
                  <a:close/>
                </a:path>
              </a:pathLst>
            </a:custGeom>
            <a:solidFill>
              <a:schemeClr val="accent4"/>
            </a:solidFill>
            <a:ln w="9525" cap="flat" cmpd="sng">
              <a:solidFill>
                <a:schemeClr val="accent4"/>
              </a:solidFill>
              <a:prstDash val="solid"/>
              <a:round/>
              <a:headEnd type="none" w="med" len="med"/>
              <a:tailEnd type="none" w="med" len="med"/>
            </a:ln>
          </p:spPr>
        </p:sp>
        <p:sp>
          <p:nvSpPr>
            <p:cNvPr id="2317" name="Google Shape;2317;p64"/>
            <p:cNvSpPr/>
            <p:nvPr/>
          </p:nvSpPr>
          <p:spPr>
            <a:xfrm>
              <a:off x="589800" y="882150"/>
              <a:ext cx="2416800" cy="1536600"/>
            </a:xfrm>
            <a:prstGeom prst="roundRect">
              <a:avLst>
                <a:gd name="adj" fmla="val 7455"/>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sp>
          <p:nvSpPr>
            <p:cNvPr id="2318" name="Google Shape;2318;p64"/>
            <p:cNvSpPr/>
            <p:nvPr/>
          </p:nvSpPr>
          <p:spPr>
            <a:xfrm>
              <a:off x="361200" y="538650"/>
              <a:ext cx="2416800" cy="1536600"/>
            </a:xfrm>
            <a:prstGeom prst="roundRect">
              <a:avLst>
                <a:gd name="adj" fmla="val 7455"/>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grpSp>
      <p:grpSp>
        <p:nvGrpSpPr>
          <p:cNvPr id="2319" name="Google Shape;2319;p64"/>
          <p:cNvGrpSpPr/>
          <p:nvPr/>
        </p:nvGrpSpPr>
        <p:grpSpPr>
          <a:xfrm>
            <a:off x="8347896" y="2103451"/>
            <a:ext cx="3527200" cy="2506800"/>
            <a:chOff x="361200" y="538650"/>
            <a:chExt cx="2645400" cy="1880100"/>
          </a:xfrm>
        </p:grpSpPr>
        <p:sp>
          <p:nvSpPr>
            <p:cNvPr id="2320" name="Google Shape;2320;p64"/>
            <p:cNvSpPr/>
            <p:nvPr/>
          </p:nvSpPr>
          <p:spPr>
            <a:xfrm>
              <a:off x="376975" y="590650"/>
              <a:ext cx="2614575" cy="1780025"/>
            </a:xfrm>
            <a:custGeom>
              <a:avLst/>
              <a:gdLst/>
              <a:ahLst/>
              <a:cxnLst/>
              <a:rect l="l" t="t" r="r" b="b"/>
              <a:pathLst>
                <a:path w="104583" h="71201" extrusionOk="0">
                  <a:moveTo>
                    <a:pt x="9676" y="71201"/>
                  </a:moveTo>
                  <a:lnTo>
                    <a:pt x="0" y="56485"/>
                  </a:lnTo>
                  <a:lnTo>
                    <a:pt x="94947" y="0"/>
                  </a:lnTo>
                  <a:lnTo>
                    <a:pt x="104583" y="14474"/>
                  </a:lnTo>
                  <a:close/>
                </a:path>
              </a:pathLst>
            </a:custGeom>
            <a:solidFill>
              <a:schemeClr val="accent4"/>
            </a:solidFill>
            <a:ln w="9525" cap="flat" cmpd="sng">
              <a:solidFill>
                <a:schemeClr val="accent4"/>
              </a:solidFill>
              <a:prstDash val="solid"/>
              <a:round/>
              <a:headEnd type="none" w="med" len="med"/>
              <a:tailEnd type="none" w="med" len="med"/>
            </a:ln>
          </p:spPr>
        </p:sp>
        <p:sp>
          <p:nvSpPr>
            <p:cNvPr id="2321" name="Google Shape;2321;p64"/>
            <p:cNvSpPr/>
            <p:nvPr/>
          </p:nvSpPr>
          <p:spPr>
            <a:xfrm>
              <a:off x="589800" y="882150"/>
              <a:ext cx="2416800" cy="1536600"/>
            </a:xfrm>
            <a:prstGeom prst="roundRect">
              <a:avLst>
                <a:gd name="adj" fmla="val 7455"/>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sp>
          <p:nvSpPr>
            <p:cNvPr id="2322" name="Google Shape;2322;p64"/>
            <p:cNvSpPr/>
            <p:nvPr/>
          </p:nvSpPr>
          <p:spPr>
            <a:xfrm>
              <a:off x="361200" y="538650"/>
              <a:ext cx="2416800" cy="1536600"/>
            </a:xfrm>
            <a:prstGeom prst="roundRect">
              <a:avLst>
                <a:gd name="adj" fmla="val 7455"/>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grpSp>
      <p:grpSp>
        <p:nvGrpSpPr>
          <p:cNvPr id="2323" name="Google Shape;2323;p64"/>
          <p:cNvGrpSpPr/>
          <p:nvPr/>
        </p:nvGrpSpPr>
        <p:grpSpPr>
          <a:xfrm>
            <a:off x="337412" y="2103451"/>
            <a:ext cx="3527200" cy="2506800"/>
            <a:chOff x="361200" y="538650"/>
            <a:chExt cx="2645400" cy="1880100"/>
          </a:xfrm>
        </p:grpSpPr>
        <p:sp>
          <p:nvSpPr>
            <p:cNvPr id="2324" name="Google Shape;2324;p64"/>
            <p:cNvSpPr/>
            <p:nvPr/>
          </p:nvSpPr>
          <p:spPr>
            <a:xfrm>
              <a:off x="376975" y="590650"/>
              <a:ext cx="2614575" cy="1780025"/>
            </a:xfrm>
            <a:custGeom>
              <a:avLst/>
              <a:gdLst/>
              <a:ahLst/>
              <a:cxnLst/>
              <a:rect l="l" t="t" r="r" b="b"/>
              <a:pathLst>
                <a:path w="104583" h="71201" extrusionOk="0">
                  <a:moveTo>
                    <a:pt x="9676" y="71201"/>
                  </a:moveTo>
                  <a:lnTo>
                    <a:pt x="0" y="56485"/>
                  </a:lnTo>
                  <a:lnTo>
                    <a:pt x="94947" y="0"/>
                  </a:lnTo>
                  <a:lnTo>
                    <a:pt x="104583" y="14474"/>
                  </a:lnTo>
                  <a:close/>
                </a:path>
              </a:pathLst>
            </a:custGeom>
            <a:solidFill>
              <a:schemeClr val="accent4"/>
            </a:solidFill>
            <a:ln w="9525" cap="flat" cmpd="sng">
              <a:solidFill>
                <a:schemeClr val="accent4"/>
              </a:solidFill>
              <a:prstDash val="solid"/>
              <a:round/>
              <a:headEnd type="none" w="med" len="med"/>
              <a:tailEnd type="none" w="med" len="med"/>
            </a:ln>
          </p:spPr>
        </p:sp>
        <p:sp>
          <p:nvSpPr>
            <p:cNvPr id="2325" name="Google Shape;2325;p64"/>
            <p:cNvSpPr/>
            <p:nvPr/>
          </p:nvSpPr>
          <p:spPr>
            <a:xfrm>
              <a:off x="589800" y="882150"/>
              <a:ext cx="2416800" cy="1536600"/>
            </a:xfrm>
            <a:prstGeom prst="roundRect">
              <a:avLst>
                <a:gd name="adj" fmla="val 7455"/>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sp>
          <p:nvSpPr>
            <p:cNvPr id="2326" name="Google Shape;2326;p64"/>
            <p:cNvSpPr/>
            <p:nvPr/>
          </p:nvSpPr>
          <p:spPr>
            <a:xfrm>
              <a:off x="361200" y="538650"/>
              <a:ext cx="2416800" cy="1536600"/>
            </a:xfrm>
            <a:prstGeom prst="roundRect">
              <a:avLst>
                <a:gd name="adj" fmla="val 7455"/>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grpSp>
      <p:sp>
        <p:nvSpPr>
          <p:cNvPr id="2327" name="Google Shape;2327;p64"/>
          <p:cNvSpPr txBox="1">
            <a:spLocks noGrp="1"/>
          </p:cNvSpPr>
          <p:nvPr>
            <p:ph type="title"/>
          </p:nvPr>
        </p:nvSpPr>
        <p:spPr>
          <a:xfrm>
            <a:off x="951700" y="359999"/>
            <a:ext cx="10515600" cy="592400"/>
          </a:xfrm>
          <a:prstGeom prst="rect">
            <a:avLst/>
          </a:prstGeom>
          <a:noFill/>
          <a:ln>
            <a:noFill/>
          </a:ln>
        </p:spPr>
        <p:txBody>
          <a:bodyPr spcFirstLastPara="1" wrap="square" lIns="0" tIns="0" rIns="68575" bIns="34275" anchor="t" anchorCtr="0">
            <a:noAutofit/>
          </a:bodyPr>
          <a:lstStyle>
            <a:lvl1pPr lvl="0" algn="l" rtl="0">
              <a:lnSpc>
                <a:spcPct val="90000"/>
              </a:lnSpc>
              <a:spcBef>
                <a:spcPts val="0"/>
              </a:spcBef>
              <a:spcAft>
                <a:spcPts val="0"/>
              </a:spcAft>
              <a:buClr>
                <a:schemeClr val="dk1"/>
              </a:buClr>
              <a:buSzPts val="2400"/>
              <a:buFont typeface="Inter Medium"/>
              <a:buNone/>
              <a:defRPr sz="3200">
                <a:latin typeface="Inter Medium"/>
                <a:ea typeface="Inter Medium"/>
                <a:cs typeface="Inter Medium"/>
                <a:sym typeface="Inter Medium"/>
              </a:defRPr>
            </a:lvl1pPr>
            <a:lvl2pPr lvl="1" rtl="0">
              <a:spcBef>
                <a:spcPts val="0"/>
              </a:spcBef>
              <a:spcAft>
                <a:spcPts val="0"/>
              </a:spcAft>
              <a:buSzPts val="1100"/>
              <a:buNone/>
              <a:defRPr b="1"/>
            </a:lvl2pPr>
            <a:lvl3pPr lvl="2" rtl="0">
              <a:spcBef>
                <a:spcPts val="0"/>
              </a:spcBef>
              <a:spcAft>
                <a:spcPts val="0"/>
              </a:spcAft>
              <a:buSzPts val="1100"/>
              <a:buNone/>
              <a:defRPr b="1"/>
            </a:lvl3pPr>
            <a:lvl4pPr lvl="3" rtl="0">
              <a:spcBef>
                <a:spcPts val="0"/>
              </a:spcBef>
              <a:spcAft>
                <a:spcPts val="0"/>
              </a:spcAft>
              <a:buSzPts val="1100"/>
              <a:buNone/>
              <a:defRPr b="1"/>
            </a:lvl4pPr>
            <a:lvl5pPr lvl="4" rtl="0">
              <a:spcBef>
                <a:spcPts val="0"/>
              </a:spcBef>
              <a:spcAft>
                <a:spcPts val="0"/>
              </a:spcAft>
              <a:buSzPts val="1100"/>
              <a:buNone/>
              <a:defRPr b="1"/>
            </a:lvl5pPr>
            <a:lvl6pPr lvl="5" rtl="0">
              <a:spcBef>
                <a:spcPts val="0"/>
              </a:spcBef>
              <a:spcAft>
                <a:spcPts val="0"/>
              </a:spcAft>
              <a:buSzPts val="1100"/>
              <a:buNone/>
              <a:defRPr b="1"/>
            </a:lvl6pPr>
            <a:lvl7pPr lvl="6" rtl="0">
              <a:spcBef>
                <a:spcPts val="0"/>
              </a:spcBef>
              <a:spcAft>
                <a:spcPts val="0"/>
              </a:spcAft>
              <a:buSzPts val="1100"/>
              <a:buNone/>
              <a:defRPr b="1"/>
            </a:lvl7pPr>
            <a:lvl8pPr lvl="7" rtl="0">
              <a:spcBef>
                <a:spcPts val="0"/>
              </a:spcBef>
              <a:spcAft>
                <a:spcPts val="0"/>
              </a:spcAft>
              <a:buSzPts val="1100"/>
              <a:buNone/>
              <a:defRPr b="1"/>
            </a:lvl8pPr>
            <a:lvl9pPr lvl="8" rtl="0">
              <a:spcBef>
                <a:spcPts val="0"/>
              </a:spcBef>
              <a:spcAft>
                <a:spcPts val="0"/>
              </a:spcAft>
              <a:buSzPts val="1100"/>
              <a:buNone/>
              <a:defRPr b="1"/>
            </a:lvl9pPr>
          </a:lstStyle>
          <a:p>
            <a:endParaRPr/>
          </a:p>
        </p:txBody>
      </p:sp>
      <p:sp>
        <p:nvSpPr>
          <p:cNvPr id="2328" name="Google Shape;2328;p64"/>
          <p:cNvSpPr txBox="1">
            <a:spLocks noGrp="1"/>
          </p:cNvSpPr>
          <p:nvPr>
            <p:ph type="subTitle" idx="1"/>
          </p:nvPr>
        </p:nvSpPr>
        <p:spPr>
          <a:xfrm>
            <a:off x="642200" y="2561451"/>
            <a:ext cx="2745600" cy="1376400"/>
          </a:xfrm>
          <a:prstGeom prst="rect">
            <a:avLst/>
          </a:prstGeom>
        </p:spPr>
        <p:txBody>
          <a:bodyPr spcFirstLastPara="1" wrap="square" lIns="0" tIns="34275" rIns="68575" bIns="34275" anchor="t" anchorCtr="0">
            <a:noAutofit/>
          </a:bodyPr>
          <a:lstStyle>
            <a:lvl1pPr lvl="0" rtl="0">
              <a:spcBef>
                <a:spcPts val="1067"/>
              </a:spcBef>
              <a:spcAft>
                <a:spcPts val="0"/>
              </a:spcAft>
              <a:buSzPts val="900"/>
              <a:buFont typeface="Inter Medium"/>
              <a:buNone/>
              <a:defRPr sz="2133">
                <a:latin typeface="Inter Medium"/>
                <a:ea typeface="Inter Medium"/>
                <a:cs typeface="Inter Medium"/>
                <a:sym typeface="Inter Medium"/>
              </a:defRPr>
            </a:lvl1pPr>
            <a:lvl2pPr lvl="1" rtl="0">
              <a:spcBef>
                <a:spcPts val="533"/>
              </a:spcBef>
              <a:spcAft>
                <a:spcPts val="0"/>
              </a:spcAft>
              <a:buSzPts val="1200"/>
              <a:buNone/>
              <a:defRPr/>
            </a:lvl2pPr>
            <a:lvl3pPr lvl="2" rtl="0">
              <a:spcBef>
                <a:spcPts val="533"/>
              </a:spcBef>
              <a:spcAft>
                <a:spcPts val="0"/>
              </a:spcAft>
              <a:buSzPts val="1200"/>
              <a:buNone/>
              <a:defRPr/>
            </a:lvl3pPr>
            <a:lvl4pPr lvl="3" rtl="0">
              <a:spcBef>
                <a:spcPts val="533"/>
              </a:spcBef>
              <a:spcAft>
                <a:spcPts val="0"/>
              </a:spcAft>
              <a:buSzPts val="1200"/>
              <a:buNone/>
              <a:defRPr/>
            </a:lvl4pPr>
            <a:lvl5pPr lvl="4" rtl="0">
              <a:spcBef>
                <a:spcPts val="533"/>
              </a:spcBef>
              <a:spcAft>
                <a:spcPts val="0"/>
              </a:spcAft>
              <a:buSzPts val="1200"/>
              <a:buNone/>
              <a:defRPr/>
            </a:lvl5pPr>
            <a:lvl6pPr lvl="5" rtl="0">
              <a:spcBef>
                <a:spcPts val="533"/>
              </a:spcBef>
              <a:spcAft>
                <a:spcPts val="0"/>
              </a:spcAft>
              <a:buSzPts val="1200"/>
              <a:buNone/>
              <a:defRPr/>
            </a:lvl6pPr>
            <a:lvl7pPr lvl="6" rtl="0">
              <a:spcBef>
                <a:spcPts val="533"/>
              </a:spcBef>
              <a:spcAft>
                <a:spcPts val="0"/>
              </a:spcAft>
              <a:buSzPts val="1200"/>
              <a:buNone/>
              <a:defRPr/>
            </a:lvl7pPr>
            <a:lvl8pPr lvl="7" rtl="0">
              <a:spcBef>
                <a:spcPts val="533"/>
              </a:spcBef>
              <a:spcAft>
                <a:spcPts val="0"/>
              </a:spcAft>
              <a:buSzPts val="1200"/>
              <a:buNone/>
              <a:defRPr/>
            </a:lvl8pPr>
            <a:lvl9pPr lvl="8" rtl="0">
              <a:spcBef>
                <a:spcPts val="533"/>
              </a:spcBef>
              <a:spcAft>
                <a:spcPts val="0"/>
              </a:spcAft>
              <a:buSzPts val="1200"/>
              <a:buNone/>
              <a:defRPr/>
            </a:lvl9pPr>
          </a:lstStyle>
          <a:p>
            <a:endParaRPr/>
          </a:p>
        </p:txBody>
      </p:sp>
      <p:sp>
        <p:nvSpPr>
          <p:cNvPr id="2329" name="Google Shape;2329;p64"/>
          <p:cNvSpPr txBox="1">
            <a:spLocks noGrp="1"/>
          </p:cNvSpPr>
          <p:nvPr>
            <p:ph type="subTitle" idx="2"/>
          </p:nvPr>
        </p:nvSpPr>
        <p:spPr>
          <a:xfrm>
            <a:off x="4712651" y="2561451"/>
            <a:ext cx="2745600" cy="1376400"/>
          </a:xfrm>
          <a:prstGeom prst="rect">
            <a:avLst/>
          </a:prstGeom>
        </p:spPr>
        <p:txBody>
          <a:bodyPr spcFirstLastPara="1" wrap="square" lIns="0" tIns="34275" rIns="68575" bIns="34275" anchor="t" anchorCtr="0">
            <a:noAutofit/>
          </a:bodyPr>
          <a:lstStyle>
            <a:lvl1pPr lvl="0" rtl="0">
              <a:spcBef>
                <a:spcPts val="1067"/>
              </a:spcBef>
              <a:spcAft>
                <a:spcPts val="0"/>
              </a:spcAft>
              <a:buSzPts val="900"/>
              <a:buFont typeface="Inter Medium"/>
              <a:buNone/>
              <a:defRPr sz="2133">
                <a:latin typeface="Inter Medium"/>
                <a:ea typeface="Inter Medium"/>
                <a:cs typeface="Inter Medium"/>
                <a:sym typeface="Inter Medium"/>
              </a:defRPr>
            </a:lvl1pPr>
            <a:lvl2pPr lvl="1" rtl="0">
              <a:spcBef>
                <a:spcPts val="533"/>
              </a:spcBef>
              <a:spcAft>
                <a:spcPts val="0"/>
              </a:spcAft>
              <a:buSzPts val="1200"/>
              <a:buNone/>
              <a:defRPr/>
            </a:lvl2pPr>
            <a:lvl3pPr lvl="2" rtl="0">
              <a:spcBef>
                <a:spcPts val="533"/>
              </a:spcBef>
              <a:spcAft>
                <a:spcPts val="0"/>
              </a:spcAft>
              <a:buSzPts val="1200"/>
              <a:buNone/>
              <a:defRPr/>
            </a:lvl3pPr>
            <a:lvl4pPr lvl="3" rtl="0">
              <a:spcBef>
                <a:spcPts val="533"/>
              </a:spcBef>
              <a:spcAft>
                <a:spcPts val="0"/>
              </a:spcAft>
              <a:buSzPts val="1200"/>
              <a:buNone/>
              <a:defRPr/>
            </a:lvl4pPr>
            <a:lvl5pPr lvl="4" rtl="0">
              <a:spcBef>
                <a:spcPts val="533"/>
              </a:spcBef>
              <a:spcAft>
                <a:spcPts val="0"/>
              </a:spcAft>
              <a:buSzPts val="1200"/>
              <a:buNone/>
              <a:defRPr/>
            </a:lvl5pPr>
            <a:lvl6pPr lvl="5" rtl="0">
              <a:spcBef>
                <a:spcPts val="533"/>
              </a:spcBef>
              <a:spcAft>
                <a:spcPts val="0"/>
              </a:spcAft>
              <a:buSzPts val="1200"/>
              <a:buNone/>
              <a:defRPr/>
            </a:lvl6pPr>
            <a:lvl7pPr lvl="6" rtl="0">
              <a:spcBef>
                <a:spcPts val="533"/>
              </a:spcBef>
              <a:spcAft>
                <a:spcPts val="0"/>
              </a:spcAft>
              <a:buSzPts val="1200"/>
              <a:buNone/>
              <a:defRPr/>
            </a:lvl7pPr>
            <a:lvl8pPr lvl="7" rtl="0">
              <a:spcBef>
                <a:spcPts val="533"/>
              </a:spcBef>
              <a:spcAft>
                <a:spcPts val="0"/>
              </a:spcAft>
              <a:buSzPts val="1200"/>
              <a:buNone/>
              <a:defRPr/>
            </a:lvl8pPr>
            <a:lvl9pPr lvl="8" rtl="0">
              <a:spcBef>
                <a:spcPts val="533"/>
              </a:spcBef>
              <a:spcAft>
                <a:spcPts val="0"/>
              </a:spcAft>
              <a:buSzPts val="1200"/>
              <a:buNone/>
              <a:defRPr/>
            </a:lvl9pPr>
          </a:lstStyle>
          <a:p>
            <a:endParaRPr/>
          </a:p>
        </p:txBody>
      </p:sp>
      <p:sp>
        <p:nvSpPr>
          <p:cNvPr id="2330" name="Google Shape;2330;p64"/>
          <p:cNvSpPr txBox="1">
            <a:spLocks noGrp="1"/>
          </p:cNvSpPr>
          <p:nvPr>
            <p:ph type="subTitle" idx="3"/>
          </p:nvPr>
        </p:nvSpPr>
        <p:spPr>
          <a:xfrm>
            <a:off x="8672217" y="2561451"/>
            <a:ext cx="2745600" cy="1376400"/>
          </a:xfrm>
          <a:prstGeom prst="rect">
            <a:avLst/>
          </a:prstGeom>
        </p:spPr>
        <p:txBody>
          <a:bodyPr spcFirstLastPara="1" wrap="square" lIns="0" tIns="34275" rIns="68575" bIns="34275" anchor="t" anchorCtr="0">
            <a:noAutofit/>
          </a:bodyPr>
          <a:lstStyle>
            <a:lvl1pPr lvl="0" rtl="0">
              <a:spcBef>
                <a:spcPts val="1067"/>
              </a:spcBef>
              <a:spcAft>
                <a:spcPts val="0"/>
              </a:spcAft>
              <a:buSzPts val="900"/>
              <a:buFont typeface="Inter Medium"/>
              <a:buNone/>
              <a:defRPr sz="2133">
                <a:latin typeface="Inter Medium"/>
                <a:ea typeface="Inter Medium"/>
                <a:cs typeface="Inter Medium"/>
                <a:sym typeface="Inter Medium"/>
              </a:defRPr>
            </a:lvl1pPr>
            <a:lvl2pPr lvl="1" rtl="0">
              <a:spcBef>
                <a:spcPts val="533"/>
              </a:spcBef>
              <a:spcAft>
                <a:spcPts val="0"/>
              </a:spcAft>
              <a:buSzPts val="1200"/>
              <a:buNone/>
              <a:defRPr/>
            </a:lvl2pPr>
            <a:lvl3pPr lvl="2" rtl="0">
              <a:spcBef>
                <a:spcPts val="533"/>
              </a:spcBef>
              <a:spcAft>
                <a:spcPts val="0"/>
              </a:spcAft>
              <a:buSzPts val="1200"/>
              <a:buNone/>
              <a:defRPr/>
            </a:lvl3pPr>
            <a:lvl4pPr lvl="3" rtl="0">
              <a:spcBef>
                <a:spcPts val="533"/>
              </a:spcBef>
              <a:spcAft>
                <a:spcPts val="0"/>
              </a:spcAft>
              <a:buSzPts val="1200"/>
              <a:buNone/>
              <a:defRPr/>
            </a:lvl4pPr>
            <a:lvl5pPr lvl="4" rtl="0">
              <a:spcBef>
                <a:spcPts val="533"/>
              </a:spcBef>
              <a:spcAft>
                <a:spcPts val="0"/>
              </a:spcAft>
              <a:buSzPts val="1200"/>
              <a:buNone/>
              <a:defRPr/>
            </a:lvl5pPr>
            <a:lvl6pPr lvl="5" rtl="0">
              <a:spcBef>
                <a:spcPts val="533"/>
              </a:spcBef>
              <a:spcAft>
                <a:spcPts val="0"/>
              </a:spcAft>
              <a:buSzPts val="1200"/>
              <a:buNone/>
              <a:defRPr/>
            </a:lvl6pPr>
            <a:lvl7pPr lvl="6" rtl="0">
              <a:spcBef>
                <a:spcPts val="533"/>
              </a:spcBef>
              <a:spcAft>
                <a:spcPts val="0"/>
              </a:spcAft>
              <a:buSzPts val="1200"/>
              <a:buNone/>
              <a:defRPr/>
            </a:lvl7pPr>
            <a:lvl8pPr lvl="7" rtl="0">
              <a:spcBef>
                <a:spcPts val="533"/>
              </a:spcBef>
              <a:spcAft>
                <a:spcPts val="0"/>
              </a:spcAft>
              <a:buSzPts val="1200"/>
              <a:buNone/>
              <a:defRPr/>
            </a:lvl8pPr>
            <a:lvl9pPr lvl="8" rtl="0">
              <a:spcBef>
                <a:spcPts val="533"/>
              </a:spcBef>
              <a:spcAft>
                <a:spcPts val="0"/>
              </a:spcAft>
              <a:buSzPts val="1200"/>
              <a:buNone/>
              <a:defRPr/>
            </a:lvl9pPr>
          </a:lstStyle>
          <a:p>
            <a:endParaRPr/>
          </a:p>
        </p:txBody>
      </p:sp>
    </p:spTree>
    <p:extLst>
      <p:ext uri="{BB962C8B-B14F-4D97-AF65-F5344CB8AC3E}">
        <p14:creationId xmlns:p14="http://schemas.microsoft.com/office/powerpoint/2010/main" val="97363733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matchingName="3 Shapes Long - Lunar">
  <p:cSld name="3 Shapes Long - Lunar">
    <p:bg>
      <p:bgPr>
        <a:solidFill>
          <a:schemeClr val="lt2"/>
        </a:solidFill>
        <a:effectLst/>
      </p:bgPr>
    </p:bg>
    <p:spTree>
      <p:nvGrpSpPr>
        <p:cNvPr id="1" name="Shape 2331"/>
        <p:cNvGrpSpPr/>
        <p:nvPr/>
      </p:nvGrpSpPr>
      <p:grpSpPr>
        <a:xfrm>
          <a:off x="0" y="0"/>
          <a:ext cx="0" cy="0"/>
          <a:chOff x="0" y="0"/>
          <a:chExt cx="0" cy="0"/>
        </a:xfrm>
      </p:grpSpPr>
      <p:grpSp>
        <p:nvGrpSpPr>
          <p:cNvPr id="2332" name="Google Shape;2332;p65"/>
          <p:cNvGrpSpPr/>
          <p:nvPr/>
        </p:nvGrpSpPr>
        <p:grpSpPr>
          <a:xfrm>
            <a:off x="4383563" y="3037084"/>
            <a:ext cx="3527200" cy="2506800"/>
            <a:chOff x="361200" y="538650"/>
            <a:chExt cx="2645400" cy="1880100"/>
          </a:xfrm>
        </p:grpSpPr>
        <p:sp>
          <p:nvSpPr>
            <p:cNvPr id="2333" name="Google Shape;2333;p65"/>
            <p:cNvSpPr/>
            <p:nvPr/>
          </p:nvSpPr>
          <p:spPr>
            <a:xfrm>
              <a:off x="376975" y="590650"/>
              <a:ext cx="2614575" cy="1780025"/>
            </a:xfrm>
            <a:custGeom>
              <a:avLst/>
              <a:gdLst/>
              <a:ahLst/>
              <a:cxnLst/>
              <a:rect l="l" t="t" r="r" b="b"/>
              <a:pathLst>
                <a:path w="104583" h="71201" extrusionOk="0">
                  <a:moveTo>
                    <a:pt x="9676" y="71201"/>
                  </a:moveTo>
                  <a:lnTo>
                    <a:pt x="0" y="56485"/>
                  </a:lnTo>
                  <a:lnTo>
                    <a:pt x="94947" y="0"/>
                  </a:lnTo>
                  <a:lnTo>
                    <a:pt x="104583" y="14474"/>
                  </a:lnTo>
                  <a:close/>
                </a:path>
              </a:pathLst>
            </a:custGeom>
            <a:solidFill>
              <a:schemeClr val="accent4"/>
            </a:solidFill>
            <a:ln w="9525" cap="flat" cmpd="sng">
              <a:solidFill>
                <a:schemeClr val="accent4"/>
              </a:solidFill>
              <a:prstDash val="solid"/>
              <a:round/>
              <a:headEnd type="none" w="med" len="med"/>
              <a:tailEnd type="none" w="med" len="med"/>
            </a:ln>
          </p:spPr>
        </p:sp>
        <p:sp>
          <p:nvSpPr>
            <p:cNvPr id="2334" name="Google Shape;2334;p65"/>
            <p:cNvSpPr/>
            <p:nvPr/>
          </p:nvSpPr>
          <p:spPr>
            <a:xfrm>
              <a:off x="589800" y="882150"/>
              <a:ext cx="2416800" cy="1536600"/>
            </a:xfrm>
            <a:prstGeom prst="roundRect">
              <a:avLst>
                <a:gd name="adj" fmla="val 7455"/>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sp>
          <p:nvSpPr>
            <p:cNvPr id="2335" name="Google Shape;2335;p65"/>
            <p:cNvSpPr/>
            <p:nvPr/>
          </p:nvSpPr>
          <p:spPr>
            <a:xfrm>
              <a:off x="361200" y="538650"/>
              <a:ext cx="2416800" cy="1536600"/>
            </a:xfrm>
            <a:prstGeom prst="roundRect">
              <a:avLst>
                <a:gd name="adj" fmla="val 7455"/>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grpSp>
      <p:grpSp>
        <p:nvGrpSpPr>
          <p:cNvPr id="2336" name="Google Shape;2336;p65"/>
          <p:cNvGrpSpPr/>
          <p:nvPr/>
        </p:nvGrpSpPr>
        <p:grpSpPr>
          <a:xfrm>
            <a:off x="8347896" y="3037084"/>
            <a:ext cx="3527200" cy="2506800"/>
            <a:chOff x="361200" y="538650"/>
            <a:chExt cx="2645400" cy="1880100"/>
          </a:xfrm>
        </p:grpSpPr>
        <p:sp>
          <p:nvSpPr>
            <p:cNvPr id="2337" name="Google Shape;2337;p65"/>
            <p:cNvSpPr/>
            <p:nvPr/>
          </p:nvSpPr>
          <p:spPr>
            <a:xfrm>
              <a:off x="376975" y="590650"/>
              <a:ext cx="2614575" cy="1780025"/>
            </a:xfrm>
            <a:custGeom>
              <a:avLst/>
              <a:gdLst/>
              <a:ahLst/>
              <a:cxnLst/>
              <a:rect l="l" t="t" r="r" b="b"/>
              <a:pathLst>
                <a:path w="104583" h="71201" extrusionOk="0">
                  <a:moveTo>
                    <a:pt x="9676" y="71201"/>
                  </a:moveTo>
                  <a:lnTo>
                    <a:pt x="0" y="56485"/>
                  </a:lnTo>
                  <a:lnTo>
                    <a:pt x="94947" y="0"/>
                  </a:lnTo>
                  <a:lnTo>
                    <a:pt x="104583" y="14474"/>
                  </a:lnTo>
                  <a:close/>
                </a:path>
              </a:pathLst>
            </a:custGeom>
            <a:solidFill>
              <a:schemeClr val="accent4"/>
            </a:solidFill>
            <a:ln w="9525" cap="flat" cmpd="sng">
              <a:solidFill>
                <a:schemeClr val="accent4"/>
              </a:solidFill>
              <a:prstDash val="solid"/>
              <a:round/>
              <a:headEnd type="none" w="med" len="med"/>
              <a:tailEnd type="none" w="med" len="med"/>
            </a:ln>
          </p:spPr>
        </p:sp>
        <p:sp>
          <p:nvSpPr>
            <p:cNvPr id="2338" name="Google Shape;2338;p65"/>
            <p:cNvSpPr/>
            <p:nvPr/>
          </p:nvSpPr>
          <p:spPr>
            <a:xfrm>
              <a:off x="589800" y="882150"/>
              <a:ext cx="2416800" cy="1536600"/>
            </a:xfrm>
            <a:prstGeom prst="roundRect">
              <a:avLst>
                <a:gd name="adj" fmla="val 7455"/>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sp>
          <p:nvSpPr>
            <p:cNvPr id="2339" name="Google Shape;2339;p65"/>
            <p:cNvSpPr/>
            <p:nvPr/>
          </p:nvSpPr>
          <p:spPr>
            <a:xfrm>
              <a:off x="361200" y="538650"/>
              <a:ext cx="2416800" cy="1536600"/>
            </a:xfrm>
            <a:prstGeom prst="roundRect">
              <a:avLst>
                <a:gd name="adj" fmla="val 7455"/>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grpSp>
      <p:grpSp>
        <p:nvGrpSpPr>
          <p:cNvPr id="2340" name="Google Shape;2340;p65"/>
          <p:cNvGrpSpPr/>
          <p:nvPr/>
        </p:nvGrpSpPr>
        <p:grpSpPr>
          <a:xfrm>
            <a:off x="337412" y="3037084"/>
            <a:ext cx="3527200" cy="2506800"/>
            <a:chOff x="361200" y="538650"/>
            <a:chExt cx="2645400" cy="1880100"/>
          </a:xfrm>
        </p:grpSpPr>
        <p:sp>
          <p:nvSpPr>
            <p:cNvPr id="2341" name="Google Shape;2341;p65"/>
            <p:cNvSpPr/>
            <p:nvPr/>
          </p:nvSpPr>
          <p:spPr>
            <a:xfrm>
              <a:off x="376975" y="590650"/>
              <a:ext cx="2614575" cy="1780025"/>
            </a:xfrm>
            <a:custGeom>
              <a:avLst/>
              <a:gdLst/>
              <a:ahLst/>
              <a:cxnLst/>
              <a:rect l="l" t="t" r="r" b="b"/>
              <a:pathLst>
                <a:path w="104583" h="71201" extrusionOk="0">
                  <a:moveTo>
                    <a:pt x="9676" y="71201"/>
                  </a:moveTo>
                  <a:lnTo>
                    <a:pt x="0" y="56485"/>
                  </a:lnTo>
                  <a:lnTo>
                    <a:pt x="94947" y="0"/>
                  </a:lnTo>
                  <a:lnTo>
                    <a:pt x="104583" y="14474"/>
                  </a:lnTo>
                  <a:close/>
                </a:path>
              </a:pathLst>
            </a:custGeom>
            <a:solidFill>
              <a:schemeClr val="accent4"/>
            </a:solidFill>
            <a:ln w="9525" cap="flat" cmpd="sng">
              <a:solidFill>
                <a:schemeClr val="accent4"/>
              </a:solidFill>
              <a:prstDash val="solid"/>
              <a:round/>
              <a:headEnd type="none" w="med" len="med"/>
              <a:tailEnd type="none" w="med" len="med"/>
            </a:ln>
          </p:spPr>
        </p:sp>
        <p:sp>
          <p:nvSpPr>
            <p:cNvPr id="2342" name="Google Shape;2342;p65"/>
            <p:cNvSpPr/>
            <p:nvPr/>
          </p:nvSpPr>
          <p:spPr>
            <a:xfrm>
              <a:off x="589800" y="882150"/>
              <a:ext cx="2416800" cy="1536600"/>
            </a:xfrm>
            <a:prstGeom prst="roundRect">
              <a:avLst>
                <a:gd name="adj" fmla="val 7455"/>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sp>
          <p:nvSpPr>
            <p:cNvPr id="2343" name="Google Shape;2343;p65"/>
            <p:cNvSpPr/>
            <p:nvPr/>
          </p:nvSpPr>
          <p:spPr>
            <a:xfrm>
              <a:off x="361200" y="538650"/>
              <a:ext cx="2416800" cy="1536600"/>
            </a:xfrm>
            <a:prstGeom prst="roundRect">
              <a:avLst>
                <a:gd name="adj" fmla="val 7455"/>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grpSp>
      <p:sp>
        <p:nvSpPr>
          <p:cNvPr id="2344" name="Google Shape;2344;p65"/>
          <p:cNvSpPr txBox="1">
            <a:spLocks noGrp="1"/>
          </p:cNvSpPr>
          <p:nvPr>
            <p:ph type="sldNum" idx="12"/>
          </p:nvPr>
        </p:nvSpPr>
        <p:spPr>
          <a:xfrm>
            <a:off x="10978812" y="5993647"/>
            <a:ext cx="731600" cy="524800"/>
          </a:xfrm>
          <a:prstGeom prst="rect">
            <a:avLst/>
          </a:prstGeom>
        </p:spPr>
        <p:txBody>
          <a:bodyPr spcFirstLastPara="1" wrap="square" lIns="91425" tIns="91425" rIns="0" bIns="0" anchor="b" anchorCtr="0">
            <a:noAutofit/>
          </a:bodyPr>
          <a:lstStyle>
            <a:lvl1pPr lvl="0" algn="r" rtl="0">
              <a:buNone/>
              <a:defRPr sz="667">
                <a:solidFill>
                  <a:schemeClr val="dk2"/>
                </a:solidFill>
                <a:latin typeface="Inter"/>
                <a:ea typeface="Inter"/>
                <a:cs typeface="Inter"/>
                <a:sym typeface="Inter"/>
              </a:defRPr>
            </a:lvl1pPr>
            <a:lvl2pPr lvl="1" algn="r" rtl="0">
              <a:buNone/>
              <a:defRPr sz="667">
                <a:solidFill>
                  <a:schemeClr val="dk2"/>
                </a:solidFill>
                <a:latin typeface="Inter"/>
                <a:ea typeface="Inter"/>
                <a:cs typeface="Inter"/>
                <a:sym typeface="Inter"/>
              </a:defRPr>
            </a:lvl2pPr>
            <a:lvl3pPr lvl="2" algn="r" rtl="0">
              <a:buNone/>
              <a:defRPr sz="667">
                <a:solidFill>
                  <a:schemeClr val="dk2"/>
                </a:solidFill>
                <a:latin typeface="Inter"/>
                <a:ea typeface="Inter"/>
                <a:cs typeface="Inter"/>
                <a:sym typeface="Inter"/>
              </a:defRPr>
            </a:lvl3pPr>
            <a:lvl4pPr lvl="3" algn="r" rtl="0">
              <a:buNone/>
              <a:defRPr sz="667">
                <a:solidFill>
                  <a:schemeClr val="dk2"/>
                </a:solidFill>
                <a:latin typeface="Inter"/>
                <a:ea typeface="Inter"/>
                <a:cs typeface="Inter"/>
                <a:sym typeface="Inter"/>
              </a:defRPr>
            </a:lvl4pPr>
            <a:lvl5pPr lvl="4" algn="r" rtl="0">
              <a:buNone/>
              <a:defRPr sz="667">
                <a:solidFill>
                  <a:schemeClr val="dk2"/>
                </a:solidFill>
                <a:latin typeface="Inter"/>
                <a:ea typeface="Inter"/>
                <a:cs typeface="Inter"/>
                <a:sym typeface="Inter"/>
              </a:defRPr>
            </a:lvl5pPr>
            <a:lvl6pPr lvl="5" algn="r" rtl="0">
              <a:buNone/>
              <a:defRPr sz="667">
                <a:solidFill>
                  <a:schemeClr val="dk2"/>
                </a:solidFill>
                <a:latin typeface="Inter"/>
                <a:ea typeface="Inter"/>
                <a:cs typeface="Inter"/>
                <a:sym typeface="Inter"/>
              </a:defRPr>
            </a:lvl6pPr>
            <a:lvl7pPr lvl="6" algn="r" rtl="0">
              <a:buNone/>
              <a:defRPr sz="667">
                <a:solidFill>
                  <a:schemeClr val="dk2"/>
                </a:solidFill>
                <a:latin typeface="Inter"/>
                <a:ea typeface="Inter"/>
                <a:cs typeface="Inter"/>
                <a:sym typeface="Inter"/>
              </a:defRPr>
            </a:lvl7pPr>
            <a:lvl8pPr lvl="7" algn="r" rtl="0">
              <a:buNone/>
              <a:defRPr sz="667">
                <a:solidFill>
                  <a:schemeClr val="dk2"/>
                </a:solidFill>
                <a:latin typeface="Inter"/>
                <a:ea typeface="Inter"/>
                <a:cs typeface="Inter"/>
                <a:sym typeface="Inter"/>
              </a:defRPr>
            </a:lvl8pPr>
            <a:lvl9pPr lvl="8" algn="r" rtl="0">
              <a:buNone/>
              <a:defRPr sz="667">
                <a:solidFill>
                  <a:schemeClr val="dk2"/>
                </a:solidFill>
                <a:latin typeface="Inter"/>
                <a:ea typeface="Inter"/>
                <a:cs typeface="Inter"/>
                <a:sym typeface="Inter"/>
              </a:defRPr>
            </a:lvl9pPr>
          </a:lstStyle>
          <a:p>
            <a:fld id="{00000000-1234-1234-1234-123412341234}" type="slidenum">
              <a:rPr lang="en-GB" smtClean="0"/>
              <a:pPr/>
              <a:t>‹#›</a:t>
            </a:fld>
            <a:endParaRPr lang="en-GB"/>
          </a:p>
        </p:txBody>
      </p:sp>
      <p:sp>
        <p:nvSpPr>
          <p:cNvPr id="2345" name="Google Shape;2345;p65"/>
          <p:cNvSpPr/>
          <p:nvPr/>
        </p:nvSpPr>
        <p:spPr>
          <a:xfrm>
            <a:off x="481601" y="414630"/>
            <a:ext cx="349111" cy="305471"/>
          </a:xfrm>
          <a:custGeom>
            <a:avLst/>
            <a:gdLst/>
            <a:ahLst/>
            <a:cxnLst/>
            <a:rect l="l" t="t" r="r" b="b"/>
            <a:pathLst>
              <a:path w="1586865" h="1388506" extrusionOk="0">
                <a:moveTo>
                  <a:pt x="1083683" y="969931"/>
                </a:moveTo>
                <a:lnTo>
                  <a:pt x="1083683" y="579692"/>
                </a:lnTo>
                <a:lnTo>
                  <a:pt x="849297" y="969931"/>
                </a:lnTo>
                <a:lnTo>
                  <a:pt x="848892" y="969931"/>
                </a:lnTo>
                <a:cubicBezTo>
                  <a:pt x="848892" y="969931"/>
                  <a:pt x="848892" y="969931"/>
                  <a:pt x="848892" y="969931"/>
                </a:cubicBezTo>
                <a:lnTo>
                  <a:pt x="738783" y="969931"/>
                </a:lnTo>
                <a:lnTo>
                  <a:pt x="738783" y="577668"/>
                </a:lnTo>
                <a:lnTo>
                  <a:pt x="549735" y="892612"/>
                </a:lnTo>
                <a:cubicBezTo>
                  <a:pt x="527876" y="929449"/>
                  <a:pt x="510873" y="958191"/>
                  <a:pt x="503992" y="969931"/>
                </a:cubicBezTo>
                <a:lnTo>
                  <a:pt x="393073" y="969931"/>
                </a:lnTo>
                <a:lnTo>
                  <a:pt x="393073" y="418576"/>
                </a:lnTo>
                <a:lnTo>
                  <a:pt x="503992" y="418576"/>
                </a:lnTo>
                <a:lnTo>
                  <a:pt x="502777" y="760643"/>
                </a:lnTo>
                <a:lnTo>
                  <a:pt x="503587" y="782098"/>
                </a:lnTo>
                <a:lnTo>
                  <a:pt x="721781" y="418981"/>
                </a:lnTo>
                <a:lnTo>
                  <a:pt x="721781" y="418981"/>
                </a:lnTo>
                <a:lnTo>
                  <a:pt x="721781" y="418981"/>
                </a:lnTo>
                <a:lnTo>
                  <a:pt x="739188" y="418981"/>
                </a:lnTo>
                <a:lnTo>
                  <a:pt x="847678" y="418981"/>
                </a:lnTo>
                <a:cubicBezTo>
                  <a:pt x="847678" y="418981"/>
                  <a:pt x="848487" y="722995"/>
                  <a:pt x="848892" y="783717"/>
                </a:cubicBezTo>
                <a:lnTo>
                  <a:pt x="1067895" y="418981"/>
                </a:lnTo>
                <a:lnTo>
                  <a:pt x="1067895" y="418981"/>
                </a:lnTo>
                <a:lnTo>
                  <a:pt x="1067895" y="418981"/>
                </a:lnTo>
                <a:lnTo>
                  <a:pt x="1085302" y="418981"/>
                </a:lnTo>
                <a:lnTo>
                  <a:pt x="1193387" y="418981"/>
                </a:lnTo>
                <a:lnTo>
                  <a:pt x="1193387" y="970336"/>
                </a:lnTo>
                <a:lnTo>
                  <a:pt x="1083683" y="970336"/>
                </a:lnTo>
                <a:close/>
                <a:moveTo>
                  <a:pt x="1190149" y="0"/>
                </a:moveTo>
                <a:lnTo>
                  <a:pt x="396716" y="0"/>
                </a:lnTo>
                <a:lnTo>
                  <a:pt x="0" y="694253"/>
                </a:lnTo>
                <a:lnTo>
                  <a:pt x="396716" y="1388507"/>
                </a:lnTo>
                <a:lnTo>
                  <a:pt x="1190149" y="1388507"/>
                </a:lnTo>
                <a:lnTo>
                  <a:pt x="1586865" y="694253"/>
                </a:lnTo>
                <a:lnTo>
                  <a:pt x="1190149" y="0"/>
                </a:lnTo>
                <a:close/>
              </a:path>
            </a:pathLst>
          </a:custGeom>
          <a:solidFill>
            <a:schemeClr val="dk2"/>
          </a:solidFill>
          <a:ln>
            <a:noFill/>
          </a:ln>
        </p:spPr>
        <p:txBody>
          <a:bodyPr spcFirstLastPara="1" wrap="square" lIns="91433" tIns="45700" rIns="91433" bIns="45700"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346" name="Google Shape;2346;p65"/>
          <p:cNvSpPr txBox="1"/>
          <p:nvPr/>
        </p:nvSpPr>
        <p:spPr>
          <a:xfrm>
            <a:off x="481600" y="6245247"/>
            <a:ext cx="1288400" cy="273200"/>
          </a:xfrm>
          <a:prstGeom prst="rect">
            <a:avLst/>
          </a:prstGeom>
          <a:noFill/>
          <a:ln>
            <a:noFill/>
          </a:ln>
        </p:spPr>
        <p:txBody>
          <a:bodyPr spcFirstLastPara="1" wrap="square" lIns="0" tIns="0" rIns="0" bIns="0" anchor="b" anchorCtr="0">
            <a:noAutofit/>
          </a:bodyPr>
          <a:lstStyle/>
          <a:p>
            <a:pPr marL="0" lvl="0" indent="0" algn="l" rtl="0">
              <a:spcBef>
                <a:spcPts val="0"/>
              </a:spcBef>
              <a:spcAft>
                <a:spcPts val="0"/>
              </a:spcAft>
              <a:buNone/>
            </a:pPr>
            <a:r>
              <a:rPr lang="en-GB" sz="667">
                <a:solidFill>
                  <a:schemeClr val="dk2"/>
                </a:solidFill>
                <a:latin typeface="Inter"/>
                <a:ea typeface="Inter"/>
                <a:cs typeface="Inter"/>
                <a:sym typeface="Inter"/>
              </a:rPr>
              <a:t>Multiverse</a:t>
            </a:r>
            <a:endParaRPr sz="667">
              <a:solidFill>
                <a:schemeClr val="dk2"/>
              </a:solidFill>
              <a:latin typeface="Inter"/>
              <a:ea typeface="Inter"/>
              <a:cs typeface="Inter"/>
              <a:sym typeface="Inter"/>
            </a:endParaRPr>
          </a:p>
        </p:txBody>
      </p:sp>
      <p:grpSp>
        <p:nvGrpSpPr>
          <p:cNvPr id="2347" name="Google Shape;2347;p65"/>
          <p:cNvGrpSpPr/>
          <p:nvPr/>
        </p:nvGrpSpPr>
        <p:grpSpPr>
          <a:xfrm>
            <a:off x="4383563" y="1653717"/>
            <a:ext cx="3527200" cy="2506800"/>
            <a:chOff x="361200" y="538650"/>
            <a:chExt cx="2645400" cy="1880100"/>
          </a:xfrm>
        </p:grpSpPr>
        <p:sp>
          <p:nvSpPr>
            <p:cNvPr id="2348" name="Google Shape;2348;p65"/>
            <p:cNvSpPr/>
            <p:nvPr/>
          </p:nvSpPr>
          <p:spPr>
            <a:xfrm>
              <a:off x="376975" y="590650"/>
              <a:ext cx="2614575" cy="1780025"/>
            </a:xfrm>
            <a:custGeom>
              <a:avLst/>
              <a:gdLst/>
              <a:ahLst/>
              <a:cxnLst/>
              <a:rect l="l" t="t" r="r" b="b"/>
              <a:pathLst>
                <a:path w="104583" h="71201" extrusionOk="0">
                  <a:moveTo>
                    <a:pt x="9676" y="71201"/>
                  </a:moveTo>
                  <a:lnTo>
                    <a:pt x="0" y="56485"/>
                  </a:lnTo>
                  <a:lnTo>
                    <a:pt x="94947" y="0"/>
                  </a:lnTo>
                  <a:lnTo>
                    <a:pt x="104583" y="14474"/>
                  </a:lnTo>
                  <a:close/>
                </a:path>
              </a:pathLst>
            </a:custGeom>
            <a:solidFill>
              <a:schemeClr val="accent4"/>
            </a:solidFill>
            <a:ln w="9525" cap="flat" cmpd="sng">
              <a:solidFill>
                <a:schemeClr val="accent4"/>
              </a:solidFill>
              <a:prstDash val="solid"/>
              <a:round/>
              <a:headEnd type="none" w="med" len="med"/>
              <a:tailEnd type="none" w="med" len="med"/>
            </a:ln>
          </p:spPr>
        </p:sp>
        <p:sp>
          <p:nvSpPr>
            <p:cNvPr id="2349" name="Google Shape;2349;p65"/>
            <p:cNvSpPr/>
            <p:nvPr/>
          </p:nvSpPr>
          <p:spPr>
            <a:xfrm>
              <a:off x="589800" y="882150"/>
              <a:ext cx="2416800" cy="1536600"/>
            </a:xfrm>
            <a:prstGeom prst="roundRect">
              <a:avLst>
                <a:gd name="adj" fmla="val 7455"/>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sp>
          <p:nvSpPr>
            <p:cNvPr id="2350" name="Google Shape;2350;p65"/>
            <p:cNvSpPr/>
            <p:nvPr/>
          </p:nvSpPr>
          <p:spPr>
            <a:xfrm>
              <a:off x="361200" y="538650"/>
              <a:ext cx="2416800" cy="1536600"/>
            </a:xfrm>
            <a:prstGeom prst="roundRect">
              <a:avLst>
                <a:gd name="adj" fmla="val 7455"/>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grpSp>
      <p:grpSp>
        <p:nvGrpSpPr>
          <p:cNvPr id="2351" name="Google Shape;2351;p65"/>
          <p:cNvGrpSpPr/>
          <p:nvPr/>
        </p:nvGrpSpPr>
        <p:grpSpPr>
          <a:xfrm>
            <a:off x="8347896" y="1653717"/>
            <a:ext cx="3527200" cy="2506800"/>
            <a:chOff x="361200" y="538650"/>
            <a:chExt cx="2645400" cy="1880100"/>
          </a:xfrm>
        </p:grpSpPr>
        <p:sp>
          <p:nvSpPr>
            <p:cNvPr id="2352" name="Google Shape;2352;p65"/>
            <p:cNvSpPr/>
            <p:nvPr/>
          </p:nvSpPr>
          <p:spPr>
            <a:xfrm>
              <a:off x="376975" y="590650"/>
              <a:ext cx="2614575" cy="1780025"/>
            </a:xfrm>
            <a:custGeom>
              <a:avLst/>
              <a:gdLst/>
              <a:ahLst/>
              <a:cxnLst/>
              <a:rect l="l" t="t" r="r" b="b"/>
              <a:pathLst>
                <a:path w="104583" h="71201" extrusionOk="0">
                  <a:moveTo>
                    <a:pt x="9676" y="71201"/>
                  </a:moveTo>
                  <a:lnTo>
                    <a:pt x="0" y="56485"/>
                  </a:lnTo>
                  <a:lnTo>
                    <a:pt x="94947" y="0"/>
                  </a:lnTo>
                  <a:lnTo>
                    <a:pt x="104583" y="14474"/>
                  </a:lnTo>
                  <a:close/>
                </a:path>
              </a:pathLst>
            </a:custGeom>
            <a:solidFill>
              <a:schemeClr val="accent4"/>
            </a:solidFill>
            <a:ln w="9525" cap="flat" cmpd="sng">
              <a:solidFill>
                <a:schemeClr val="accent4"/>
              </a:solidFill>
              <a:prstDash val="solid"/>
              <a:round/>
              <a:headEnd type="none" w="med" len="med"/>
              <a:tailEnd type="none" w="med" len="med"/>
            </a:ln>
          </p:spPr>
        </p:sp>
        <p:sp>
          <p:nvSpPr>
            <p:cNvPr id="2353" name="Google Shape;2353;p65"/>
            <p:cNvSpPr/>
            <p:nvPr/>
          </p:nvSpPr>
          <p:spPr>
            <a:xfrm>
              <a:off x="589800" y="882150"/>
              <a:ext cx="2416800" cy="1536600"/>
            </a:xfrm>
            <a:prstGeom prst="roundRect">
              <a:avLst>
                <a:gd name="adj" fmla="val 7455"/>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sp>
          <p:nvSpPr>
            <p:cNvPr id="2354" name="Google Shape;2354;p65"/>
            <p:cNvSpPr/>
            <p:nvPr/>
          </p:nvSpPr>
          <p:spPr>
            <a:xfrm>
              <a:off x="361200" y="538650"/>
              <a:ext cx="2416800" cy="1536600"/>
            </a:xfrm>
            <a:prstGeom prst="roundRect">
              <a:avLst>
                <a:gd name="adj" fmla="val 7455"/>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grpSp>
      <p:grpSp>
        <p:nvGrpSpPr>
          <p:cNvPr id="2355" name="Google Shape;2355;p65"/>
          <p:cNvGrpSpPr/>
          <p:nvPr/>
        </p:nvGrpSpPr>
        <p:grpSpPr>
          <a:xfrm>
            <a:off x="337412" y="1653717"/>
            <a:ext cx="3527200" cy="2506800"/>
            <a:chOff x="361200" y="538650"/>
            <a:chExt cx="2645400" cy="1880100"/>
          </a:xfrm>
        </p:grpSpPr>
        <p:sp>
          <p:nvSpPr>
            <p:cNvPr id="2356" name="Google Shape;2356;p65"/>
            <p:cNvSpPr/>
            <p:nvPr/>
          </p:nvSpPr>
          <p:spPr>
            <a:xfrm>
              <a:off x="376975" y="590650"/>
              <a:ext cx="2614575" cy="1780025"/>
            </a:xfrm>
            <a:custGeom>
              <a:avLst/>
              <a:gdLst/>
              <a:ahLst/>
              <a:cxnLst/>
              <a:rect l="l" t="t" r="r" b="b"/>
              <a:pathLst>
                <a:path w="104583" h="71201" extrusionOk="0">
                  <a:moveTo>
                    <a:pt x="9676" y="71201"/>
                  </a:moveTo>
                  <a:lnTo>
                    <a:pt x="0" y="56485"/>
                  </a:lnTo>
                  <a:lnTo>
                    <a:pt x="94947" y="0"/>
                  </a:lnTo>
                  <a:lnTo>
                    <a:pt x="104583" y="14474"/>
                  </a:lnTo>
                  <a:close/>
                </a:path>
              </a:pathLst>
            </a:custGeom>
            <a:solidFill>
              <a:schemeClr val="accent4"/>
            </a:solidFill>
            <a:ln w="9525" cap="flat" cmpd="sng">
              <a:solidFill>
                <a:schemeClr val="accent4"/>
              </a:solidFill>
              <a:prstDash val="solid"/>
              <a:round/>
              <a:headEnd type="none" w="med" len="med"/>
              <a:tailEnd type="none" w="med" len="med"/>
            </a:ln>
          </p:spPr>
        </p:sp>
        <p:sp>
          <p:nvSpPr>
            <p:cNvPr id="2357" name="Google Shape;2357;p65"/>
            <p:cNvSpPr/>
            <p:nvPr/>
          </p:nvSpPr>
          <p:spPr>
            <a:xfrm>
              <a:off x="589800" y="882150"/>
              <a:ext cx="2416800" cy="1536600"/>
            </a:xfrm>
            <a:prstGeom prst="roundRect">
              <a:avLst>
                <a:gd name="adj" fmla="val 7455"/>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sp>
          <p:nvSpPr>
            <p:cNvPr id="2358" name="Google Shape;2358;p65"/>
            <p:cNvSpPr/>
            <p:nvPr/>
          </p:nvSpPr>
          <p:spPr>
            <a:xfrm>
              <a:off x="361200" y="538650"/>
              <a:ext cx="2416800" cy="1536600"/>
            </a:xfrm>
            <a:prstGeom prst="roundRect">
              <a:avLst>
                <a:gd name="adj" fmla="val 7455"/>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grpSp>
      <p:sp>
        <p:nvSpPr>
          <p:cNvPr id="2359" name="Google Shape;2359;p65"/>
          <p:cNvSpPr txBox="1">
            <a:spLocks noGrp="1"/>
          </p:cNvSpPr>
          <p:nvPr>
            <p:ph type="title"/>
          </p:nvPr>
        </p:nvSpPr>
        <p:spPr>
          <a:xfrm>
            <a:off x="951700" y="359999"/>
            <a:ext cx="10515600" cy="592400"/>
          </a:xfrm>
          <a:prstGeom prst="rect">
            <a:avLst/>
          </a:prstGeom>
          <a:noFill/>
          <a:ln>
            <a:noFill/>
          </a:ln>
        </p:spPr>
        <p:txBody>
          <a:bodyPr spcFirstLastPara="1" wrap="square" lIns="0" tIns="0" rIns="68575" bIns="34275" anchor="t" anchorCtr="0">
            <a:noAutofit/>
          </a:bodyPr>
          <a:lstStyle>
            <a:lvl1pPr lvl="0" algn="l" rtl="0">
              <a:lnSpc>
                <a:spcPct val="90000"/>
              </a:lnSpc>
              <a:spcBef>
                <a:spcPts val="0"/>
              </a:spcBef>
              <a:spcAft>
                <a:spcPts val="0"/>
              </a:spcAft>
              <a:buClr>
                <a:schemeClr val="dk1"/>
              </a:buClr>
              <a:buSzPts val="2400"/>
              <a:buFont typeface="Inter Medium"/>
              <a:buNone/>
              <a:defRPr sz="3200">
                <a:latin typeface="Inter Medium"/>
                <a:ea typeface="Inter Medium"/>
                <a:cs typeface="Inter Medium"/>
                <a:sym typeface="Inter Medium"/>
              </a:defRPr>
            </a:lvl1pPr>
            <a:lvl2pPr lvl="1" rtl="0">
              <a:spcBef>
                <a:spcPts val="0"/>
              </a:spcBef>
              <a:spcAft>
                <a:spcPts val="0"/>
              </a:spcAft>
              <a:buSzPts val="1100"/>
              <a:buNone/>
              <a:defRPr b="1"/>
            </a:lvl2pPr>
            <a:lvl3pPr lvl="2" rtl="0">
              <a:spcBef>
                <a:spcPts val="0"/>
              </a:spcBef>
              <a:spcAft>
                <a:spcPts val="0"/>
              </a:spcAft>
              <a:buSzPts val="1100"/>
              <a:buNone/>
              <a:defRPr b="1"/>
            </a:lvl3pPr>
            <a:lvl4pPr lvl="3" rtl="0">
              <a:spcBef>
                <a:spcPts val="0"/>
              </a:spcBef>
              <a:spcAft>
                <a:spcPts val="0"/>
              </a:spcAft>
              <a:buSzPts val="1100"/>
              <a:buNone/>
              <a:defRPr b="1"/>
            </a:lvl4pPr>
            <a:lvl5pPr lvl="4" rtl="0">
              <a:spcBef>
                <a:spcPts val="0"/>
              </a:spcBef>
              <a:spcAft>
                <a:spcPts val="0"/>
              </a:spcAft>
              <a:buSzPts val="1100"/>
              <a:buNone/>
              <a:defRPr b="1"/>
            </a:lvl5pPr>
            <a:lvl6pPr lvl="5" rtl="0">
              <a:spcBef>
                <a:spcPts val="0"/>
              </a:spcBef>
              <a:spcAft>
                <a:spcPts val="0"/>
              </a:spcAft>
              <a:buSzPts val="1100"/>
              <a:buNone/>
              <a:defRPr b="1"/>
            </a:lvl6pPr>
            <a:lvl7pPr lvl="6" rtl="0">
              <a:spcBef>
                <a:spcPts val="0"/>
              </a:spcBef>
              <a:spcAft>
                <a:spcPts val="0"/>
              </a:spcAft>
              <a:buSzPts val="1100"/>
              <a:buNone/>
              <a:defRPr b="1"/>
            </a:lvl7pPr>
            <a:lvl8pPr lvl="7" rtl="0">
              <a:spcBef>
                <a:spcPts val="0"/>
              </a:spcBef>
              <a:spcAft>
                <a:spcPts val="0"/>
              </a:spcAft>
              <a:buSzPts val="1100"/>
              <a:buNone/>
              <a:defRPr b="1"/>
            </a:lvl8pPr>
            <a:lvl9pPr lvl="8" rtl="0">
              <a:spcBef>
                <a:spcPts val="0"/>
              </a:spcBef>
              <a:spcAft>
                <a:spcPts val="0"/>
              </a:spcAft>
              <a:buSzPts val="1100"/>
              <a:buNone/>
              <a:defRPr b="1"/>
            </a:lvl9pPr>
          </a:lstStyle>
          <a:p>
            <a:endParaRPr/>
          </a:p>
        </p:txBody>
      </p:sp>
      <p:sp>
        <p:nvSpPr>
          <p:cNvPr id="2360" name="Google Shape;2360;p65"/>
          <p:cNvSpPr txBox="1">
            <a:spLocks noGrp="1"/>
          </p:cNvSpPr>
          <p:nvPr>
            <p:ph type="subTitle" idx="1"/>
          </p:nvPr>
        </p:nvSpPr>
        <p:spPr>
          <a:xfrm>
            <a:off x="642200" y="2111751"/>
            <a:ext cx="2745600" cy="2791600"/>
          </a:xfrm>
          <a:prstGeom prst="rect">
            <a:avLst/>
          </a:prstGeom>
        </p:spPr>
        <p:txBody>
          <a:bodyPr spcFirstLastPara="1" wrap="square" lIns="0" tIns="34275" rIns="68575" bIns="34275" anchor="t" anchorCtr="0">
            <a:noAutofit/>
          </a:bodyPr>
          <a:lstStyle>
            <a:lvl1pPr lvl="0" rtl="0">
              <a:spcBef>
                <a:spcPts val="1067"/>
              </a:spcBef>
              <a:spcAft>
                <a:spcPts val="0"/>
              </a:spcAft>
              <a:buSzPts val="900"/>
              <a:buFont typeface="Inter Medium"/>
              <a:buNone/>
              <a:defRPr sz="2133">
                <a:latin typeface="Inter Medium"/>
                <a:ea typeface="Inter Medium"/>
                <a:cs typeface="Inter Medium"/>
                <a:sym typeface="Inter Medium"/>
              </a:defRPr>
            </a:lvl1pPr>
            <a:lvl2pPr lvl="1" rtl="0">
              <a:spcBef>
                <a:spcPts val="533"/>
              </a:spcBef>
              <a:spcAft>
                <a:spcPts val="0"/>
              </a:spcAft>
              <a:buSzPts val="1200"/>
              <a:buNone/>
              <a:defRPr/>
            </a:lvl2pPr>
            <a:lvl3pPr lvl="2" rtl="0">
              <a:spcBef>
                <a:spcPts val="533"/>
              </a:spcBef>
              <a:spcAft>
                <a:spcPts val="0"/>
              </a:spcAft>
              <a:buSzPts val="1200"/>
              <a:buNone/>
              <a:defRPr/>
            </a:lvl3pPr>
            <a:lvl4pPr lvl="3" rtl="0">
              <a:spcBef>
                <a:spcPts val="533"/>
              </a:spcBef>
              <a:spcAft>
                <a:spcPts val="0"/>
              </a:spcAft>
              <a:buSzPts val="1200"/>
              <a:buNone/>
              <a:defRPr/>
            </a:lvl4pPr>
            <a:lvl5pPr lvl="4" rtl="0">
              <a:spcBef>
                <a:spcPts val="533"/>
              </a:spcBef>
              <a:spcAft>
                <a:spcPts val="0"/>
              </a:spcAft>
              <a:buSzPts val="1200"/>
              <a:buNone/>
              <a:defRPr/>
            </a:lvl5pPr>
            <a:lvl6pPr lvl="5" rtl="0">
              <a:spcBef>
                <a:spcPts val="533"/>
              </a:spcBef>
              <a:spcAft>
                <a:spcPts val="0"/>
              </a:spcAft>
              <a:buSzPts val="1200"/>
              <a:buNone/>
              <a:defRPr/>
            </a:lvl6pPr>
            <a:lvl7pPr lvl="6" rtl="0">
              <a:spcBef>
                <a:spcPts val="533"/>
              </a:spcBef>
              <a:spcAft>
                <a:spcPts val="0"/>
              </a:spcAft>
              <a:buSzPts val="1200"/>
              <a:buNone/>
              <a:defRPr/>
            </a:lvl7pPr>
            <a:lvl8pPr lvl="7" rtl="0">
              <a:spcBef>
                <a:spcPts val="533"/>
              </a:spcBef>
              <a:spcAft>
                <a:spcPts val="0"/>
              </a:spcAft>
              <a:buSzPts val="1200"/>
              <a:buNone/>
              <a:defRPr/>
            </a:lvl8pPr>
            <a:lvl9pPr lvl="8" rtl="0">
              <a:spcBef>
                <a:spcPts val="533"/>
              </a:spcBef>
              <a:spcAft>
                <a:spcPts val="0"/>
              </a:spcAft>
              <a:buSzPts val="1200"/>
              <a:buNone/>
              <a:defRPr/>
            </a:lvl9pPr>
          </a:lstStyle>
          <a:p>
            <a:endParaRPr/>
          </a:p>
        </p:txBody>
      </p:sp>
      <p:sp>
        <p:nvSpPr>
          <p:cNvPr id="2361" name="Google Shape;2361;p65"/>
          <p:cNvSpPr txBox="1">
            <a:spLocks noGrp="1"/>
          </p:cNvSpPr>
          <p:nvPr>
            <p:ph type="subTitle" idx="2"/>
          </p:nvPr>
        </p:nvSpPr>
        <p:spPr>
          <a:xfrm>
            <a:off x="4712656" y="2111751"/>
            <a:ext cx="2745600" cy="2791600"/>
          </a:xfrm>
          <a:prstGeom prst="rect">
            <a:avLst/>
          </a:prstGeom>
        </p:spPr>
        <p:txBody>
          <a:bodyPr spcFirstLastPara="1" wrap="square" lIns="0" tIns="34275" rIns="68575" bIns="34275" anchor="t" anchorCtr="0">
            <a:noAutofit/>
          </a:bodyPr>
          <a:lstStyle>
            <a:lvl1pPr lvl="0" rtl="0">
              <a:spcBef>
                <a:spcPts val="1067"/>
              </a:spcBef>
              <a:spcAft>
                <a:spcPts val="0"/>
              </a:spcAft>
              <a:buSzPts val="900"/>
              <a:buFont typeface="Inter Medium"/>
              <a:buNone/>
              <a:defRPr sz="2133">
                <a:latin typeface="Inter Medium"/>
                <a:ea typeface="Inter Medium"/>
                <a:cs typeface="Inter Medium"/>
                <a:sym typeface="Inter Medium"/>
              </a:defRPr>
            </a:lvl1pPr>
            <a:lvl2pPr lvl="1" rtl="0">
              <a:spcBef>
                <a:spcPts val="533"/>
              </a:spcBef>
              <a:spcAft>
                <a:spcPts val="0"/>
              </a:spcAft>
              <a:buSzPts val="1200"/>
              <a:buNone/>
              <a:defRPr/>
            </a:lvl2pPr>
            <a:lvl3pPr lvl="2" rtl="0">
              <a:spcBef>
                <a:spcPts val="533"/>
              </a:spcBef>
              <a:spcAft>
                <a:spcPts val="0"/>
              </a:spcAft>
              <a:buSzPts val="1200"/>
              <a:buNone/>
              <a:defRPr/>
            </a:lvl3pPr>
            <a:lvl4pPr lvl="3" rtl="0">
              <a:spcBef>
                <a:spcPts val="533"/>
              </a:spcBef>
              <a:spcAft>
                <a:spcPts val="0"/>
              </a:spcAft>
              <a:buSzPts val="1200"/>
              <a:buNone/>
              <a:defRPr/>
            </a:lvl4pPr>
            <a:lvl5pPr lvl="4" rtl="0">
              <a:spcBef>
                <a:spcPts val="533"/>
              </a:spcBef>
              <a:spcAft>
                <a:spcPts val="0"/>
              </a:spcAft>
              <a:buSzPts val="1200"/>
              <a:buNone/>
              <a:defRPr/>
            </a:lvl5pPr>
            <a:lvl6pPr lvl="5" rtl="0">
              <a:spcBef>
                <a:spcPts val="533"/>
              </a:spcBef>
              <a:spcAft>
                <a:spcPts val="0"/>
              </a:spcAft>
              <a:buSzPts val="1200"/>
              <a:buNone/>
              <a:defRPr/>
            </a:lvl6pPr>
            <a:lvl7pPr lvl="6" rtl="0">
              <a:spcBef>
                <a:spcPts val="533"/>
              </a:spcBef>
              <a:spcAft>
                <a:spcPts val="0"/>
              </a:spcAft>
              <a:buSzPts val="1200"/>
              <a:buNone/>
              <a:defRPr/>
            </a:lvl7pPr>
            <a:lvl8pPr lvl="7" rtl="0">
              <a:spcBef>
                <a:spcPts val="533"/>
              </a:spcBef>
              <a:spcAft>
                <a:spcPts val="0"/>
              </a:spcAft>
              <a:buSzPts val="1200"/>
              <a:buNone/>
              <a:defRPr/>
            </a:lvl8pPr>
            <a:lvl9pPr lvl="8" rtl="0">
              <a:spcBef>
                <a:spcPts val="533"/>
              </a:spcBef>
              <a:spcAft>
                <a:spcPts val="0"/>
              </a:spcAft>
              <a:buSzPts val="1200"/>
              <a:buNone/>
              <a:defRPr/>
            </a:lvl9pPr>
          </a:lstStyle>
          <a:p>
            <a:endParaRPr/>
          </a:p>
        </p:txBody>
      </p:sp>
      <p:sp>
        <p:nvSpPr>
          <p:cNvPr id="2362" name="Google Shape;2362;p65"/>
          <p:cNvSpPr txBox="1">
            <a:spLocks noGrp="1"/>
          </p:cNvSpPr>
          <p:nvPr>
            <p:ph type="subTitle" idx="3"/>
          </p:nvPr>
        </p:nvSpPr>
        <p:spPr>
          <a:xfrm>
            <a:off x="8672229" y="2111751"/>
            <a:ext cx="2745600" cy="2791600"/>
          </a:xfrm>
          <a:prstGeom prst="rect">
            <a:avLst/>
          </a:prstGeom>
        </p:spPr>
        <p:txBody>
          <a:bodyPr spcFirstLastPara="1" wrap="square" lIns="0" tIns="34275" rIns="68575" bIns="34275" anchor="t" anchorCtr="0">
            <a:noAutofit/>
          </a:bodyPr>
          <a:lstStyle>
            <a:lvl1pPr lvl="0" rtl="0">
              <a:spcBef>
                <a:spcPts val="1067"/>
              </a:spcBef>
              <a:spcAft>
                <a:spcPts val="0"/>
              </a:spcAft>
              <a:buSzPts val="900"/>
              <a:buFont typeface="Inter Medium"/>
              <a:buNone/>
              <a:defRPr sz="2133">
                <a:latin typeface="Inter Medium"/>
                <a:ea typeface="Inter Medium"/>
                <a:cs typeface="Inter Medium"/>
                <a:sym typeface="Inter Medium"/>
              </a:defRPr>
            </a:lvl1pPr>
            <a:lvl2pPr lvl="1" rtl="0">
              <a:spcBef>
                <a:spcPts val="533"/>
              </a:spcBef>
              <a:spcAft>
                <a:spcPts val="0"/>
              </a:spcAft>
              <a:buSzPts val="1200"/>
              <a:buNone/>
              <a:defRPr/>
            </a:lvl2pPr>
            <a:lvl3pPr lvl="2" rtl="0">
              <a:spcBef>
                <a:spcPts val="533"/>
              </a:spcBef>
              <a:spcAft>
                <a:spcPts val="0"/>
              </a:spcAft>
              <a:buSzPts val="1200"/>
              <a:buNone/>
              <a:defRPr/>
            </a:lvl3pPr>
            <a:lvl4pPr lvl="3" rtl="0">
              <a:spcBef>
                <a:spcPts val="533"/>
              </a:spcBef>
              <a:spcAft>
                <a:spcPts val="0"/>
              </a:spcAft>
              <a:buSzPts val="1200"/>
              <a:buNone/>
              <a:defRPr/>
            </a:lvl4pPr>
            <a:lvl5pPr lvl="4" rtl="0">
              <a:spcBef>
                <a:spcPts val="533"/>
              </a:spcBef>
              <a:spcAft>
                <a:spcPts val="0"/>
              </a:spcAft>
              <a:buSzPts val="1200"/>
              <a:buNone/>
              <a:defRPr/>
            </a:lvl5pPr>
            <a:lvl6pPr lvl="5" rtl="0">
              <a:spcBef>
                <a:spcPts val="533"/>
              </a:spcBef>
              <a:spcAft>
                <a:spcPts val="0"/>
              </a:spcAft>
              <a:buSzPts val="1200"/>
              <a:buNone/>
              <a:defRPr/>
            </a:lvl6pPr>
            <a:lvl7pPr lvl="6" rtl="0">
              <a:spcBef>
                <a:spcPts val="533"/>
              </a:spcBef>
              <a:spcAft>
                <a:spcPts val="0"/>
              </a:spcAft>
              <a:buSzPts val="1200"/>
              <a:buNone/>
              <a:defRPr/>
            </a:lvl7pPr>
            <a:lvl8pPr lvl="7" rtl="0">
              <a:spcBef>
                <a:spcPts val="533"/>
              </a:spcBef>
              <a:spcAft>
                <a:spcPts val="0"/>
              </a:spcAft>
              <a:buSzPts val="1200"/>
              <a:buNone/>
              <a:defRPr/>
            </a:lvl8pPr>
            <a:lvl9pPr lvl="8" rtl="0">
              <a:spcBef>
                <a:spcPts val="533"/>
              </a:spcBef>
              <a:spcAft>
                <a:spcPts val="0"/>
              </a:spcAft>
              <a:buSzPts val="1200"/>
              <a:buNone/>
              <a:defRPr/>
            </a:lvl9pPr>
          </a:lstStyle>
          <a:p>
            <a:endParaRPr/>
          </a:p>
        </p:txBody>
      </p:sp>
    </p:spTree>
    <p:extLst>
      <p:ext uri="{BB962C8B-B14F-4D97-AF65-F5344CB8AC3E}">
        <p14:creationId xmlns:p14="http://schemas.microsoft.com/office/powerpoint/2010/main" val="144341434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matchingName="Apprentice Spotlight">
  <p:cSld name="Apprentice Spotlight">
    <p:bg>
      <p:bgPr>
        <a:solidFill>
          <a:schemeClr val="dk2"/>
        </a:solidFill>
        <a:effectLst/>
      </p:bgPr>
    </p:bg>
    <p:spTree>
      <p:nvGrpSpPr>
        <p:cNvPr id="1" name="Shape 2363"/>
        <p:cNvGrpSpPr/>
        <p:nvPr/>
      </p:nvGrpSpPr>
      <p:grpSpPr>
        <a:xfrm>
          <a:off x="0" y="0"/>
          <a:ext cx="0" cy="0"/>
          <a:chOff x="0" y="0"/>
          <a:chExt cx="0" cy="0"/>
        </a:xfrm>
      </p:grpSpPr>
      <p:grpSp>
        <p:nvGrpSpPr>
          <p:cNvPr id="2364" name="Google Shape;2364;p66"/>
          <p:cNvGrpSpPr/>
          <p:nvPr/>
        </p:nvGrpSpPr>
        <p:grpSpPr>
          <a:xfrm>
            <a:off x="0" y="0"/>
            <a:ext cx="12192000" cy="6858000"/>
            <a:chOff x="0" y="0"/>
            <a:chExt cx="12192000" cy="6858000"/>
          </a:xfrm>
        </p:grpSpPr>
        <p:sp>
          <p:nvSpPr>
            <p:cNvPr id="2365" name="Google Shape;2365;p66"/>
            <p:cNvSpPr/>
            <p:nvPr/>
          </p:nvSpPr>
          <p:spPr>
            <a:xfrm>
              <a:off x="417830" y="6829425"/>
              <a:ext cx="57784" cy="28575"/>
            </a:xfrm>
            <a:custGeom>
              <a:avLst/>
              <a:gdLst/>
              <a:ahLst/>
              <a:cxnLst/>
              <a:rect l="l" t="t" r="r" b="b"/>
              <a:pathLst>
                <a:path w="57784" h="28575" extrusionOk="0">
                  <a:moveTo>
                    <a:pt x="15240" y="16510"/>
                  </a:moveTo>
                  <a:lnTo>
                    <a:pt x="0" y="28575"/>
                  </a:lnTo>
                  <a:lnTo>
                    <a:pt x="57785" y="28575"/>
                  </a:lnTo>
                  <a:lnTo>
                    <a:pt x="3556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366" name="Google Shape;2366;p66"/>
            <p:cNvSpPr/>
            <p:nvPr/>
          </p:nvSpPr>
          <p:spPr>
            <a:xfrm>
              <a:off x="450850" y="6458584"/>
              <a:ext cx="224155" cy="212090"/>
            </a:xfrm>
            <a:custGeom>
              <a:avLst/>
              <a:gdLst/>
              <a:ahLst/>
              <a:cxnLst/>
              <a:rect l="l" t="t" r="r" b="b"/>
              <a:pathLst>
                <a:path w="224155" h="212090" extrusionOk="0">
                  <a:moveTo>
                    <a:pt x="170815" y="17145"/>
                  </a:moveTo>
                  <a:lnTo>
                    <a:pt x="18415" y="157480"/>
                  </a:lnTo>
                  <a:lnTo>
                    <a:pt x="0" y="174625"/>
                  </a:lnTo>
                  <a:lnTo>
                    <a:pt x="34290" y="212090"/>
                  </a:lnTo>
                  <a:lnTo>
                    <a:pt x="52705" y="194945"/>
                  </a:lnTo>
                  <a:lnTo>
                    <a:pt x="205105" y="54610"/>
                  </a:lnTo>
                  <a:lnTo>
                    <a:pt x="224155" y="37465"/>
                  </a:lnTo>
                  <a:lnTo>
                    <a:pt x="18986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367" name="Google Shape;2367;p66"/>
            <p:cNvSpPr/>
            <p:nvPr/>
          </p:nvSpPr>
          <p:spPr>
            <a:xfrm>
              <a:off x="1235075" y="6820534"/>
              <a:ext cx="74930" cy="37465"/>
            </a:xfrm>
            <a:custGeom>
              <a:avLst/>
              <a:gdLst/>
              <a:ahLst/>
              <a:cxnLst/>
              <a:rect l="l" t="t" r="r" b="b"/>
              <a:pathLst>
                <a:path w="74930" h="37465" extrusionOk="0">
                  <a:moveTo>
                    <a:pt x="21590" y="17145"/>
                  </a:moveTo>
                  <a:lnTo>
                    <a:pt x="0" y="37465"/>
                  </a:lnTo>
                  <a:lnTo>
                    <a:pt x="74930" y="37465"/>
                  </a:lnTo>
                  <a:lnTo>
                    <a:pt x="4064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368" name="Google Shape;2368;p66"/>
            <p:cNvSpPr/>
            <p:nvPr/>
          </p:nvSpPr>
          <p:spPr>
            <a:xfrm>
              <a:off x="26669" y="5728970"/>
              <a:ext cx="224155" cy="223520"/>
            </a:xfrm>
            <a:custGeom>
              <a:avLst/>
              <a:gdLst/>
              <a:ahLst/>
              <a:cxnLst/>
              <a:rect l="l" t="t" r="r" b="b"/>
              <a:pathLst>
                <a:path w="224155" h="223520" extrusionOk="0">
                  <a:moveTo>
                    <a:pt x="170180" y="17780"/>
                  </a:moveTo>
                  <a:lnTo>
                    <a:pt x="17780" y="170180"/>
                  </a:lnTo>
                  <a:lnTo>
                    <a:pt x="0" y="187960"/>
                  </a:lnTo>
                  <a:lnTo>
                    <a:pt x="36195" y="223520"/>
                  </a:lnTo>
                  <a:lnTo>
                    <a:pt x="53975" y="205740"/>
                  </a:lnTo>
                  <a:lnTo>
                    <a:pt x="206375" y="53975"/>
                  </a:lnTo>
                  <a:lnTo>
                    <a:pt x="224155" y="35560"/>
                  </a:lnTo>
                  <a:lnTo>
                    <a:pt x="18859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369" name="Google Shape;2369;p66"/>
            <p:cNvSpPr/>
            <p:nvPr/>
          </p:nvSpPr>
          <p:spPr>
            <a:xfrm>
              <a:off x="661669" y="6090920"/>
              <a:ext cx="224155" cy="223520"/>
            </a:xfrm>
            <a:custGeom>
              <a:avLst/>
              <a:gdLst/>
              <a:ahLst/>
              <a:cxnLst/>
              <a:rect l="l" t="t" r="r" b="b"/>
              <a:pathLst>
                <a:path w="224155" h="223520" extrusionOk="0">
                  <a:moveTo>
                    <a:pt x="170180" y="17780"/>
                  </a:moveTo>
                  <a:lnTo>
                    <a:pt x="17780" y="170180"/>
                  </a:lnTo>
                  <a:lnTo>
                    <a:pt x="0" y="187960"/>
                  </a:lnTo>
                  <a:lnTo>
                    <a:pt x="36195" y="223520"/>
                  </a:lnTo>
                  <a:lnTo>
                    <a:pt x="53975" y="205740"/>
                  </a:lnTo>
                  <a:lnTo>
                    <a:pt x="206375" y="53975"/>
                  </a:lnTo>
                  <a:lnTo>
                    <a:pt x="224155" y="35560"/>
                  </a:lnTo>
                  <a:lnTo>
                    <a:pt x="18859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370" name="Google Shape;2370;p66"/>
            <p:cNvSpPr/>
            <p:nvPr/>
          </p:nvSpPr>
          <p:spPr>
            <a:xfrm>
              <a:off x="1296669" y="6452870"/>
              <a:ext cx="224155" cy="223520"/>
            </a:xfrm>
            <a:custGeom>
              <a:avLst/>
              <a:gdLst/>
              <a:ahLst/>
              <a:cxnLst/>
              <a:rect l="l" t="t" r="r" b="b"/>
              <a:pathLst>
                <a:path w="224155" h="223520" extrusionOk="0">
                  <a:moveTo>
                    <a:pt x="170180" y="17780"/>
                  </a:moveTo>
                  <a:lnTo>
                    <a:pt x="17780" y="170180"/>
                  </a:lnTo>
                  <a:lnTo>
                    <a:pt x="0" y="187960"/>
                  </a:lnTo>
                  <a:lnTo>
                    <a:pt x="36195" y="223520"/>
                  </a:lnTo>
                  <a:lnTo>
                    <a:pt x="53975" y="205740"/>
                  </a:lnTo>
                  <a:lnTo>
                    <a:pt x="206375" y="53975"/>
                  </a:lnTo>
                  <a:lnTo>
                    <a:pt x="224155" y="35560"/>
                  </a:lnTo>
                  <a:lnTo>
                    <a:pt x="18859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371" name="Google Shape;2371;p66"/>
            <p:cNvSpPr/>
            <p:nvPr/>
          </p:nvSpPr>
          <p:spPr>
            <a:xfrm>
              <a:off x="2076450" y="6814819"/>
              <a:ext cx="79375" cy="43180"/>
            </a:xfrm>
            <a:custGeom>
              <a:avLst/>
              <a:gdLst/>
              <a:ahLst/>
              <a:cxnLst/>
              <a:rect l="l" t="t" r="r" b="b"/>
              <a:pathLst>
                <a:path w="79375" h="43180" extrusionOk="0">
                  <a:moveTo>
                    <a:pt x="25400" y="17780"/>
                  </a:moveTo>
                  <a:lnTo>
                    <a:pt x="0" y="43180"/>
                  </a:lnTo>
                  <a:lnTo>
                    <a:pt x="72390" y="43180"/>
                  </a:lnTo>
                  <a:lnTo>
                    <a:pt x="79375" y="35561"/>
                  </a:lnTo>
                  <a:lnTo>
                    <a:pt x="4381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372" name="Google Shape;2372;p66"/>
            <p:cNvSpPr/>
            <p:nvPr/>
          </p:nvSpPr>
          <p:spPr>
            <a:xfrm>
              <a:off x="250825" y="5363845"/>
              <a:ext cx="224155" cy="229870"/>
            </a:xfrm>
            <a:custGeom>
              <a:avLst/>
              <a:gdLst/>
              <a:ahLst/>
              <a:cxnLst/>
              <a:rect l="l" t="t" r="r" b="b"/>
              <a:pathLst>
                <a:path w="224155" h="229870" extrusionOk="0">
                  <a:moveTo>
                    <a:pt x="224155" y="35560"/>
                  </a:moveTo>
                  <a:lnTo>
                    <a:pt x="187960" y="0"/>
                  </a:lnTo>
                  <a:lnTo>
                    <a:pt x="170180" y="18415"/>
                  </a:lnTo>
                  <a:lnTo>
                    <a:pt x="17780" y="176530"/>
                  </a:lnTo>
                  <a:lnTo>
                    <a:pt x="0" y="194945"/>
                  </a:lnTo>
                  <a:lnTo>
                    <a:pt x="36830" y="229870"/>
                  </a:lnTo>
                  <a:lnTo>
                    <a:pt x="53975" y="211455"/>
                  </a:lnTo>
                  <a:lnTo>
                    <a:pt x="206375" y="533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373" name="Google Shape;2373;p66"/>
            <p:cNvSpPr/>
            <p:nvPr/>
          </p:nvSpPr>
          <p:spPr>
            <a:xfrm>
              <a:off x="885825" y="5725795"/>
              <a:ext cx="224155" cy="229870"/>
            </a:xfrm>
            <a:custGeom>
              <a:avLst/>
              <a:gdLst/>
              <a:ahLst/>
              <a:cxnLst/>
              <a:rect l="l" t="t" r="r" b="b"/>
              <a:pathLst>
                <a:path w="224155" h="229870" extrusionOk="0">
                  <a:moveTo>
                    <a:pt x="170180" y="18415"/>
                  </a:moveTo>
                  <a:lnTo>
                    <a:pt x="17780" y="176530"/>
                  </a:lnTo>
                  <a:lnTo>
                    <a:pt x="0" y="194945"/>
                  </a:lnTo>
                  <a:lnTo>
                    <a:pt x="36830" y="229870"/>
                  </a:lnTo>
                  <a:lnTo>
                    <a:pt x="53975" y="211455"/>
                  </a:lnTo>
                  <a:lnTo>
                    <a:pt x="206375" y="53340"/>
                  </a:lnTo>
                  <a:lnTo>
                    <a:pt x="224155" y="35560"/>
                  </a:lnTo>
                  <a:lnTo>
                    <a:pt x="18796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374" name="Google Shape;2374;p66"/>
            <p:cNvSpPr/>
            <p:nvPr/>
          </p:nvSpPr>
          <p:spPr>
            <a:xfrm>
              <a:off x="1520825" y="6087745"/>
              <a:ext cx="224154" cy="229870"/>
            </a:xfrm>
            <a:custGeom>
              <a:avLst/>
              <a:gdLst/>
              <a:ahLst/>
              <a:cxnLst/>
              <a:rect l="l" t="t" r="r" b="b"/>
              <a:pathLst>
                <a:path w="224154" h="229870" extrusionOk="0">
                  <a:moveTo>
                    <a:pt x="170180" y="18415"/>
                  </a:moveTo>
                  <a:lnTo>
                    <a:pt x="17780" y="176530"/>
                  </a:lnTo>
                  <a:lnTo>
                    <a:pt x="0" y="194945"/>
                  </a:lnTo>
                  <a:lnTo>
                    <a:pt x="36830" y="229870"/>
                  </a:lnTo>
                  <a:lnTo>
                    <a:pt x="53975" y="211455"/>
                  </a:lnTo>
                  <a:lnTo>
                    <a:pt x="206375" y="53340"/>
                  </a:lnTo>
                  <a:lnTo>
                    <a:pt x="224155" y="35560"/>
                  </a:lnTo>
                  <a:lnTo>
                    <a:pt x="18796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375" name="Google Shape;2375;p66"/>
            <p:cNvSpPr/>
            <p:nvPr/>
          </p:nvSpPr>
          <p:spPr>
            <a:xfrm>
              <a:off x="2155825" y="6449695"/>
              <a:ext cx="224154" cy="229870"/>
            </a:xfrm>
            <a:custGeom>
              <a:avLst/>
              <a:gdLst/>
              <a:ahLst/>
              <a:cxnLst/>
              <a:rect l="l" t="t" r="r" b="b"/>
              <a:pathLst>
                <a:path w="224154" h="229870" extrusionOk="0">
                  <a:moveTo>
                    <a:pt x="170180" y="18415"/>
                  </a:moveTo>
                  <a:lnTo>
                    <a:pt x="17780" y="176530"/>
                  </a:lnTo>
                  <a:lnTo>
                    <a:pt x="0" y="194945"/>
                  </a:lnTo>
                  <a:lnTo>
                    <a:pt x="36830" y="229870"/>
                  </a:lnTo>
                  <a:lnTo>
                    <a:pt x="53975" y="211455"/>
                  </a:lnTo>
                  <a:lnTo>
                    <a:pt x="206375" y="53340"/>
                  </a:lnTo>
                  <a:lnTo>
                    <a:pt x="224155" y="35560"/>
                  </a:lnTo>
                  <a:lnTo>
                    <a:pt x="18796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376" name="Google Shape;2376;p66"/>
            <p:cNvSpPr/>
            <p:nvPr/>
          </p:nvSpPr>
          <p:spPr>
            <a:xfrm>
              <a:off x="2933700" y="6811644"/>
              <a:ext cx="81279" cy="46355"/>
            </a:xfrm>
            <a:custGeom>
              <a:avLst/>
              <a:gdLst/>
              <a:ahLst/>
              <a:cxnLst/>
              <a:rect l="l" t="t" r="r" b="b"/>
              <a:pathLst>
                <a:path w="81279" h="46355" extrusionOk="0">
                  <a:moveTo>
                    <a:pt x="27305" y="18415"/>
                  </a:moveTo>
                  <a:lnTo>
                    <a:pt x="0" y="46355"/>
                  </a:lnTo>
                  <a:lnTo>
                    <a:pt x="70485" y="46355"/>
                  </a:lnTo>
                  <a:lnTo>
                    <a:pt x="81280" y="35561"/>
                  </a:lnTo>
                  <a:lnTo>
                    <a:pt x="4508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377" name="Google Shape;2377;p66"/>
            <p:cNvSpPr/>
            <p:nvPr/>
          </p:nvSpPr>
          <p:spPr>
            <a:xfrm>
              <a:off x="478790" y="5001895"/>
              <a:ext cx="224790" cy="229870"/>
            </a:xfrm>
            <a:custGeom>
              <a:avLst/>
              <a:gdLst/>
              <a:ahLst/>
              <a:cxnLst/>
              <a:rect l="l" t="t" r="r" b="b"/>
              <a:pathLst>
                <a:path w="224790" h="229870" extrusionOk="0">
                  <a:moveTo>
                    <a:pt x="54610" y="211455"/>
                  </a:moveTo>
                  <a:lnTo>
                    <a:pt x="207010" y="53975"/>
                  </a:lnTo>
                  <a:lnTo>
                    <a:pt x="224790" y="35560"/>
                  </a:lnTo>
                  <a:lnTo>
                    <a:pt x="187960" y="0"/>
                  </a:lnTo>
                  <a:lnTo>
                    <a:pt x="170180" y="18415"/>
                  </a:lnTo>
                  <a:lnTo>
                    <a:pt x="17780" y="176530"/>
                  </a:lnTo>
                  <a:lnTo>
                    <a:pt x="0" y="194310"/>
                  </a:lnTo>
                  <a:lnTo>
                    <a:pt x="36830" y="22987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378" name="Google Shape;2378;p66"/>
            <p:cNvSpPr/>
            <p:nvPr/>
          </p:nvSpPr>
          <p:spPr>
            <a:xfrm>
              <a:off x="1113789" y="5363845"/>
              <a:ext cx="224790" cy="229870"/>
            </a:xfrm>
            <a:custGeom>
              <a:avLst/>
              <a:gdLst/>
              <a:ahLst/>
              <a:cxnLst/>
              <a:rect l="l" t="t" r="r" b="b"/>
              <a:pathLst>
                <a:path w="224790" h="229870" extrusionOk="0">
                  <a:moveTo>
                    <a:pt x="224790" y="35560"/>
                  </a:moveTo>
                  <a:lnTo>
                    <a:pt x="187960" y="0"/>
                  </a:lnTo>
                  <a:lnTo>
                    <a:pt x="170180" y="18415"/>
                  </a:lnTo>
                  <a:lnTo>
                    <a:pt x="17780" y="176530"/>
                  </a:lnTo>
                  <a:lnTo>
                    <a:pt x="0" y="194310"/>
                  </a:lnTo>
                  <a:lnTo>
                    <a:pt x="36830" y="229870"/>
                  </a:lnTo>
                  <a:lnTo>
                    <a:pt x="54610" y="211455"/>
                  </a:lnTo>
                  <a:lnTo>
                    <a:pt x="207010" y="5397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379" name="Google Shape;2379;p66"/>
            <p:cNvSpPr/>
            <p:nvPr/>
          </p:nvSpPr>
          <p:spPr>
            <a:xfrm>
              <a:off x="1748789" y="5725795"/>
              <a:ext cx="224789" cy="229870"/>
            </a:xfrm>
            <a:custGeom>
              <a:avLst/>
              <a:gdLst/>
              <a:ahLst/>
              <a:cxnLst/>
              <a:rect l="l" t="t" r="r" b="b"/>
              <a:pathLst>
                <a:path w="224789" h="229870" extrusionOk="0">
                  <a:moveTo>
                    <a:pt x="170180" y="18415"/>
                  </a:moveTo>
                  <a:lnTo>
                    <a:pt x="17780" y="176530"/>
                  </a:lnTo>
                  <a:lnTo>
                    <a:pt x="0" y="194310"/>
                  </a:lnTo>
                  <a:lnTo>
                    <a:pt x="36830" y="229870"/>
                  </a:lnTo>
                  <a:lnTo>
                    <a:pt x="54610" y="211455"/>
                  </a:lnTo>
                  <a:lnTo>
                    <a:pt x="207010" y="53975"/>
                  </a:lnTo>
                  <a:lnTo>
                    <a:pt x="224790" y="35560"/>
                  </a:lnTo>
                  <a:lnTo>
                    <a:pt x="18796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380" name="Google Shape;2380;p66"/>
            <p:cNvSpPr/>
            <p:nvPr/>
          </p:nvSpPr>
          <p:spPr>
            <a:xfrm>
              <a:off x="2383789" y="6087745"/>
              <a:ext cx="224789" cy="229870"/>
            </a:xfrm>
            <a:custGeom>
              <a:avLst/>
              <a:gdLst/>
              <a:ahLst/>
              <a:cxnLst/>
              <a:rect l="l" t="t" r="r" b="b"/>
              <a:pathLst>
                <a:path w="224789" h="229870" extrusionOk="0">
                  <a:moveTo>
                    <a:pt x="170180" y="18415"/>
                  </a:moveTo>
                  <a:lnTo>
                    <a:pt x="17780" y="176530"/>
                  </a:lnTo>
                  <a:lnTo>
                    <a:pt x="0" y="194310"/>
                  </a:lnTo>
                  <a:lnTo>
                    <a:pt x="36830" y="229870"/>
                  </a:lnTo>
                  <a:lnTo>
                    <a:pt x="54610" y="211455"/>
                  </a:lnTo>
                  <a:lnTo>
                    <a:pt x="207010" y="53975"/>
                  </a:lnTo>
                  <a:lnTo>
                    <a:pt x="224790" y="35560"/>
                  </a:lnTo>
                  <a:lnTo>
                    <a:pt x="18796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381" name="Google Shape;2381;p66"/>
            <p:cNvSpPr/>
            <p:nvPr/>
          </p:nvSpPr>
          <p:spPr>
            <a:xfrm>
              <a:off x="3018789" y="6449695"/>
              <a:ext cx="224789" cy="229870"/>
            </a:xfrm>
            <a:custGeom>
              <a:avLst/>
              <a:gdLst/>
              <a:ahLst/>
              <a:cxnLst/>
              <a:rect l="l" t="t" r="r" b="b"/>
              <a:pathLst>
                <a:path w="224789" h="229870" extrusionOk="0">
                  <a:moveTo>
                    <a:pt x="170180" y="18415"/>
                  </a:moveTo>
                  <a:lnTo>
                    <a:pt x="17780" y="176530"/>
                  </a:lnTo>
                  <a:lnTo>
                    <a:pt x="0" y="194310"/>
                  </a:lnTo>
                  <a:lnTo>
                    <a:pt x="36830" y="229870"/>
                  </a:lnTo>
                  <a:lnTo>
                    <a:pt x="54610" y="211455"/>
                  </a:lnTo>
                  <a:lnTo>
                    <a:pt x="207010" y="53975"/>
                  </a:lnTo>
                  <a:lnTo>
                    <a:pt x="224790" y="35560"/>
                  </a:lnTo>
                  <a:lnTo>
                    <a:pt x="18796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382" name="Google Shape;2382;p66"/>
            <p:cNvSpPr/>
            <p:nvPr/>
          </p:nvSpPr>
          <p:spPr>
            <a:xfrm>
              <a:off x="3797300" y="6811644"/>
              <a:ext cx="81279" cy="46355"/>
            </a:xfrm>
            <a:custGeom>
              <a:avLst/>
              <a:gdLst/>
              <a:ahLst/>
              <a:cxnLst/>
              <a:rect l="l" t="t" r="r" b="b"/>
              <a:pathLst>
                <a:path w="81279" h="46355" extrusionOk="0">
                  <a:moveTo>
                    <a:pt x="26670" y="18415"/>
                  </a:moveTo>
                  <a:lnTo>
                    <a:pt x="0" y="46355"/>
                  </a:lnTo>
                  <a:lnTo>
                    <a:pt x="70485" y="46355"/>
                  </a:lnTo>
                  <a:lnTo>
                    <a:pt x="81280" y="35561"/>
                  </a:lnTo>
                  <a:lnTo>
                    <a:pt x="4445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383" name="Google Shape;2383;p66"/>
            <p:cNvSpPr/>
            <p:nvPr/>
          </p:nvSpPr>
          <p:spPr>
            <a:xfrm>
              <a:off x="67310" y="4281804"/>
              <a:ext cx="224155" cy="222885"/>
            </a:xfrm>
            <a:custGeom>
              <a:avLst/>
              <a:gdLst/>
              <a:ahLst/>
              <a:cxnLst/>
              <a:rect l="l" t="t" r="r" b="b"/>
              <a:pathLst>
                <a:path w="224155" h="222885" extrusionOk="0">
                  <a:moveTo>
                    <a:pt x="0" y="186690"/>
                  </a:moveTo>
                  <a:lnTo>
                    <a:pt x="35560" y="222885"/>
                  </a:lnTo>
                  <a:lnTo>
                    <a:pt x="53975" y="205105"/>
                  </a:lnTo>
                  <a:lnTo>
                    <a:pt x="206375" y="53975"/>
                  </a:lnTo>
                  <a:lnTo>
                    <a:pt x="224155" y="35560"/>
                  </a:lnTo>
                  <a:lnTo>
                    <a:pt x="188595" y="0"/>
                  </a:lnTo>
                  <a:lnTo>
                    <a:pt x="170180" y="17780"/>
                  </a:lnTo>
                  <a:lnTo>
                    <a:pt x="17780" y="16891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384" name="Google Shape;2384;p66"/>
            <p:cNvSpPr/>
            <p:nvPr/>
          </p:nvSpPr>
          <p:spPr>
            <a:xfrm>
              <a:off x="702309" y="4643754"/>
              <a:ext cx="224154" cy="222885"/>
            </a:xfrm>
            <a:custGeom>
              <a:avLst/>
              <a:gdLst/>
              <a:ahLst/>
              <a:cxnLst/>
              <a:rect l="l" t="t" r="r" b="b"/>
              <a:pathLst>
                <a:path w="224154" h="222885" extrusionOk="0">
                  <a:moveTo>
                    <a:pt x="53975" y="205105"/>
                  </a:moveTo>
                  <a:lnTo>
                    <a:pt x="206375" y="53975"/>
                  </a:lnTo>
                  <a:lnTo>
                    <a:pt x="224155" y="35560"/>
                  </a:lnTo>
                  <a:lnTo>
                    <a:pt x="188595" y="0"/>
                  </a:lnTo>
                  <a:lnTo>
                    <a:pt x="170180" y="17780"/>
                  </a:lnTo>
                  <a:lnTo>
                    <a:pt x="17780" y="168910"/>
                  </a:lnTo>
                  <a:lnTo>
                    <a:pt x="0" y="186690"/>
                  </a:lnTo>
                  <a:lnTo>
                    <a:pt x="35560" y="22288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385" name="Google Shape;2385;p66"/>
            <p:cNvSpPr/>
            <p:nvPr/>
          </p:nvSpPr>
          <p:spPr>
            <a:xfrm>
              <a:off x="1337310" y="5005704"/>
              <a:ext cx="224154" cy="222885"/>
            </a:xfrm>
            <a:custGeom>
              <a:avLst/>
              <a:gdLst/>
              <a:ahLst/>
              <a:cxnLst/>
              <a:rect l="l" t="t" r="r" b="b"/>
              <a:pathLst>
                <a:path w="224154" h="222885" extrusionOk="0">
                  <a:moveTo>
                    <a:pt x="53975" y="205105"/>
                  </a:moveTo>
                  <a:lnTo>
                    <a:pt x="206375" y="53975"/>
                  </a:lnTo>
                  <a:lnTo>
                    <a:pt x="224155" y="35560"/>
                  </a:lnTo>
                  <a:lnTo>
                    <a:pt x="188595" y="0"/>
                  </a:lnTo>
                  <a:lnTo>
                    <a:pt x="170180" y="17780"/>
                  </a:lnTo>
                  <a:lnTo>
                    <a:pt x="17780" y="168910"/>
                  </a:lnTo>
                  <a:lnTo>
                    <a:pt x="0" y="186690"/>
                  </a:lnTo>
                  <a:lnTo>
                    <a:pt x="35560" y="22288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386" name="Google Shape;2386;p66"/>
            <p:cNvSpPr/>
            <p:nvPr/>
          </p:nvSpPr>
          <p:spPr>
            <a:xfrm>
              <a:off x="1972310" y="5367654"/>
              <a:ext cx="224154" cy="222885"/>
            </a:xfrm>
            <a:custGeom>
              <a:avLst/>
              <a:gdLst/>
              <a:ahLst/>
              <a:cxnLst/>
              <a:rect l="l" t="t" r="r" b="b"/>
              <a:pathLst>
                <a:path w="224154" h="222885" extrusionOk="0">
                  <a:moveTo>
                    <a:pt x="224155" y="35560"/>
                  </a:moveTo>
                  <a:lnTo>
                    <a:pt x="188595" y="0"/>
                  </a:lnTo>
                  <a:lnTo>
                    <a:pt x="170180" y="17780"/>
                  </a:lnTo>
                  <a:lnTo>
                    <a:pt x="17780" y="168910"/>
                  </a:lnTo>
                  <a:lnTo>
                    <a:pt x="0" y="186690"/>
                  </a:lnTo>
                  <a:lnTo>
                    <a:pt x="35560" y="222885"/>
                  </a:lnTo>
                  <a:lnTo>
                    <a:pt x="53975" y="205105"/>
                  </a:lnTo>
                  <a:lnTo>
                    <a:pt x="206375" y="5397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387" name="Google Shape;2387;p66"/>
            <p:cNvSpPr/>
            <p:nvPr/>
          </p:nvSpPr>
          <p:spPr>
            <a:xfrm>
              <a:off x="2607310" y="5729604"/>
              <a:ext cx="224154" cy="222885"/>
            </a:xfrm>
            <a:custGeom>
              <a:avLst/>
              <a:gdLst/>
              <a:ahLst/>
              <a:cxnLst/>
              <a:rect l="l" t="t" r="r" b="b"/>
              <a:pathLst>
                <a:path w="224154" h="222885" extrusionOk="0">
                  <a:moveTo>
                    <a:pt x="170180" y="17780"/>
                  </a:moveTo>
                  <a:lnTo>
                    <a:pt x="17780" y="168910"/>
                  </a:lnTo>
                  <a:lnTo>
                    <a:pt x="0" y="186690"/>
                  </a:lnTo>
                  <a:lnTo>
                    <a:pt x="35560" y="222885"/>
                  </a:lnTo>
                  <a:lnTo>
                    <a:pt x="53975" y="205105"/>
                  </a:lnTo>
                  <a:lnTo>
                    <a:pt x="206375" y="53975"/>
                  </a:lnTo>
                  <a:lnTo>
                    <a:pt x="224155" y="35560"/>
                  </a:lnTo>
                  <a:lnTo>
                    <a:pt x="18859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388" name="Google Shape;2388;p66"/>
            <p:cNvSpPr/>
            <p:nvPr/>
          </p:nvSpPr>
          <p:spPr>
            <a:xfrm>
              <a:off x="3242310" y="6091554"/>
              <a:ext cx="224155" cy="222885"/>
            </a:xfrm>
            <a:custGeom>
              <a:avLst/>
              <a:gdLst/>
              <a:ahLst/>
              <a:cxnLst/>
              <a:rect l="l" t="t" r="r" b="b"/>
              <a:pathLst>
                <a:path w="224155" h="222885" extrusionOk="0">
                  <a:moveTo>
                    <a:pt x="170180" y="17780"/>
                  </a:moveTo>
                  <a:lnTo>
                    <a:pt x="17780" y="168910"/>
                  </a:lnTo>
                  <a:lnTo>
                    <a:pt x="0" y="186690"/>
                  </a:lnTo>
                  <a:lnTo>
                    <a:pt x="35560" y="222885"/>
                  </a:lnTo>
                  <a:lnTo>
                    <a:pt x="53975" y="205105"/>
                  </a:lnTo>
                  <a:lnTo>
                    <a:pt x="206375" y="53975"/>
                  </a:lnTo>
                  <a:lnTo>
                    <a:pt x="224155" y="35560"/>
                  </a:lnTo>
                  <a:lnTo>
                    <a:pt x="18859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389" name="Google Shape;2389;p66"/>
            <p:cNvSpPr/>
            <p:nvPr/>
          </p:nvSpPr>
          <p:spPr>
            <a:xfrm>
              <a:off x="3877309" y="6453504"/>
              <a:ext cx="224155" cy="222885"/>
            </a:xfrm>
            <a:custGeom>
              <a:avLst/>
              <a:gdLst/>
              <a:ahLst/>
              <a:cxnLst/>
              <a:rect l="l" t="t" r="r" b="b"/>
              <a:pathLst>
                <a:path w="224155" h="222885" extrusionOk="0">
                  <a:moveTo>
                    <a:pt x="170180" y="17780"/>
                  </a:moveTo>
                  <a:lnTo>
                    <a:pt x="17780" y="168910"/>
                  </a:lnTo>
                  <a:lnTo>
                    <a:pt x="0" y="186690"/>
                  </a:lnTo>
                  <a:lnTo>
                    <a:pt x="35560" y="222885"/>
                  </a:lnTo>
                  <a:lnTo>
                    <a:pt x="53975" y="205105"/>
                  </a:lnTo>
                  <a:lnTo>
                    <a:pt x="206375" y="53975"/>
                  </a:lnTo>
                  <a:lnTo>
                    <a:pt x="224155" y="35560"/>
                  </a:lnTo>
                  <a:lnTo>
                    <a:pt x="18859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390" name="Google Shape;2390;p66"/>
            <p:cNvSpPr/>
            <p:nvPr/>
          </p:nvSpPr>
          <p:spPr>
            <a:xfrm>
              <a:off x="4657725" y="6815455"/>
              <a:ext cx="78740" cy="42544"/>
            </a:xfrm>
            <a:custGeom>
              <a:avLst/>
              <a:gdLst/>
              <a:ahLst/>
              <a:cxnLst/>
              <a:rect l="l" t="t" r="r" b="b"/>
              <a:pathLst>
                <a:path w="78740" h="42544" extrusionOk="0">
                  <a:moveTo>
                    <a:pt x="24765" y="17780"/>
                  </a:moveTo>
                  <a:lnTo>
                    <a:pt x="0" y="42545"/>
                  </a:lnTo>
                  <a:lnTo>
                    <a:pt x="71755" y="42545"/>
                  </a:lnTo>
                  <a:lnTo>
                    <a:pt x="78740" y="35560"/>
                  </a:lnTo>
                  <a:lnTo>
                    <a:pt x="4318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391" name="Google Shape;2391;p66"/>
            <p:cNvSpPr/>
            <p:nvPr/>
          </p:nvSpPr>
          <p:spPr>
            <a:xfrm>
              <a:off x="276859" y="3926204"/>
              <a:ext cx="224155" cy="210185"/>
            </a:xfrm>
            <a:custGeom>
              <a:avLst/>
              <a:gdLst/>
              <a:ahLst/>
              <a:cxnLst/>
              <a:rect l="l" t="t" r="r" b="b"/>
              <a:pathLst>
                <a:path w="224155" h="210185" extrusionOk="0">
                  <a:moveTo>
                    <a:pt x="52705" y="193040"/>
                  </a:moveTo>
                  <a:lnTo>
                    <a:pt x="205105" y="54610"/>
                  </a:lnTo>
                  <a:lnTo>
                    <a:pt x="224155" y="37465"/>
                  </a:lnTo>
                  <a:lnTo>
                    <a:pt x="189865" y="0"/>
                  </a:lnTo>
                  <a:lnTo>
                    <a:pt x="170815" y="16510"/>
                  </a:lnTo>
                  <a:lnTo>
                    <a:pt x="18415" y="155575"/>
                  </a:lnTo>
                  <a:lnTo>
                    <a:pt x="0" y="172720"/>
                  </a:lnTo>
                  <a:lnTo>
                    <a:pt x="33655" y="21018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392" name="Google Shape;2392;p66"/>
            <p:cNvSpPr/>
            <p:nvPr/>
          </p:nvSpPr>
          <p:spPr>
            <a:xfrm>
              <a:off x="911860" y="4288154"/>
              <a:ext cx="224154" cy="210185"/>
            </a:xfrm>
            <a:custGeom>
              <a:avLst/>
              <a:gdLst/>
              <a:ahLst/>
              <a:cxnLst/>
              <a:rect l="l" t="t" r="r" b="b"/>
              <a:pathLst>
                <a:path w="224154" h="210185" extrusionOk="0">
                  <a:moveTo>
                    <a:pt x="52705" y="193040"/>
                  </a:moveTo>
                  <a:lnTo>
                    <a:pt x="205105" y="54610"/>
                  </a:lnTo>
                  <a:lnTo>
                    <a:pt x="224155" y="37465"/>
                  </a:lnTo>
                  <a:lnTo>
                    <a:pt x="189865" y="0"/>
                  </a:lnTo>
                  <a:lnTo>
                    <a:pt x="170815" y="16510"/>
                  </a:lnTo>
                  <a:lnTo>
                    <a:pt x="18415" y="155575"/>
                  </a:lnTo>
                  <a:lnTo>
                    <a:pt x="0" y="172720"/>
                  </a:lnTo>
                  <a:lnTo>
                    <a:pt x="33655" y="21018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393" name="Google Shape;2393;p66"/>
            <p:cNvSpPr/>
            <p:nvPr/>
          </p:nvSpPr>
          <p:spPr>
            <a:xfrm>
              <a:off x="1546860" y="4650104"/>
              <a:ext cx="224154" cy="210185"/>
            </a:xfrm>
            <a:custGeom>
              <a:avLst/>
              <a:gdLst/>
              <a:ahLst/>
              <a:cxnLst/>
              <a:rect l="l" t="t" r="r" b="b"/>
              <a:pathLst>
                <a:path w="224154" h="210185" extrusionOk="0">
                  <a:moveTo>
                    <a:pt x="52705" y="193040"/>
                  </a:moveTo>
                  <a:lnTo>
                    <a:pt x="205105" y="54610"/>
                  </a:lnTo>
                  <a:lnTo>
                    <a:pt x="224155" y="37465"/>
                  </a:lnTo>
                  <a:lnTo>
                    <a:pt x="189865" y="0"/>
                  </a:lnTo>
                  <a:lnTo>
                    <a:pt x="170815" y="16510"/>
                  </a:lnTo>
                  <a:lnTo>
                    <a:pt x="18415" y="155575"/>
                  </a:lnTo>
                  <a:lnTo>
                    <a:pt x="0" y="172720"/>
                  </a:lnTo>
                  <a:lnTo>
                    <a:pt x="33655" y="21018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394" name="Google Shape;2394;p66"/>
            <p:cNvSpPr/>
            <p:nvPr/>
          </p:nvSpPr>
          <p:spPr>
            <a:xfrm>
              <a:off x="2181860" y="5012054"/>
              <a:ext cx="224154" cy="210185"/>
            </a:xfrm>
            <a:custGeom>
              <a:avLst/>
              <a:gdLst/>
              <a:ahLst/>
              <a:cxnLst/>
              <a:rect l="l" t="t" r="r" b="b"/>
              <a:pathLst>
                <a:path w="224154" h="210185" extrusionOk="0">
                  <a:moveTo>
                    <a:pt x="52705" y="193040"/>
                  </a:moveTo>
                  <a:lnTo>
                    <a:pt x="205105" y="54610"/>
                  </a:lnTo>
                  <a:lnTo>
                    <a:pt x="224155" y="37465"/>
                  </a:lnTo>
                  <a:lnTo>
                    <a:pt x="189865" y="0"/>
                  </a:lnTo>
                  <a:lnTo>
                    <a:pt x="170815" y="16510"/>
                  </a:lnTo>
                  <a:lnTo>
                    <a:pt x="18415" y="155575"/>
                  </a:lnTo>
                  <a:lnTo>
                    <a:pt x="0" y="172720"/>
                  </a:lnTo>
                  <a:lnTo>
                    <a:pt x="33655" y="21018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395" name="Google Shape;2395;p66"/>
            <p:cNvSpPr/>
            <p:nvPr/>
          </p:nvSpPr>
          <p:spPr>
            <a:xfrm>
              <a:off x="2816860" y="5374004"/>
              <a:ext cx="224154" cy="210185"/>
            </a:xfrm>
            <a:custGeom>
              <a:avLst/>
              <a:gdLst/>
              <a:ahLst/>
              <a:cxnLst/>
              <a:rect l="l" t="t" r="r" b="b"/>
              <a:pathLst>
                <a:path w="224154" h="210185" extrusionOk="0">
                  <a:moveTo>
                    <a:pt x="224155" y="37465"/>
                  </a:moveTo>
                  <a:lnTo>
                    <a:pt x="189865" y="0"/>
                  </a:lnTo>
                  <a:lnTo>
                    <a:pt x="170815" y="16510"/>
                  </a:lnTo>
                  <a:lnTo>
                    <a:pt x="18415" y="155575"/>
                  </a:lnTo>
                  <a:lnTo>
                    <a:pt x="0" y="172720"/>
                  </a:lnTo>
                  <a:lnTo>
                    <a:pt x="33655" y="210185"/>
                  </a:lnTo>
                  <a:lnTo>
                    <a:pt x="52705" y="193040"/>
                  </a:lnTo>
                  <a:lnTo>
                    <a:pt x="205105" y="5461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396" name="Google Shape;2396;p66"/>
            <p:cNvSpPr/>
            <p:nvPr/>
          </p:nvSpPr>
          <p:spPr>
            <a:xfrm>
              <a:off x="3451859" y="5735954"/>
              <a:ext cx="224155" cy="210185"/>
            </a:xfrm>
            <a:custGeom>
              <a:avLst/>
              <a:gdLst/>
              <a:ahLst/>
              <a:cxnLst/>
              <a:rect l="l" t="t" r="r" b="b"/>
              <a:pathLst>
                <a:path w="224155" h="210185" extrusionOk="0">
                  <a:moveTo>
                    <a:pt x="170815" y="16510"/>
                  </a:moveTo>
                  <a:lnTo>
                    <a:pt x="18415" y="155575"/>
                  </a:lnTo>
                  <a:lnTo>
                    <a:pt x="0" y="172720"/>
                  </a:lnTo>
                  <a:lnTo>
                    <a:pt x="33655" y="210185"/>
                  </a:lnTo>
                  <a:lnTo>
                    <a:pt x="52705" y="193040"/>
                  </a:lnTo>
                  <a:lnTo>
                    <a:pt x="205105" y="54610"/>
                  </a:lnTo>
                  <a:lnTo>
                    <a:pt x="224155" y="37465"/>
                  </a:lnTo>
                  <a:lnTo>
                    <a:pt x="18986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397" name="Google Shape;2397;p66"/>
            <p:cNvSpPr/>
            <p:nvPr/>
          </p:nvSpPr>
          <p:spPr>
            <a:xfrm>
              <a:off x="4086859" y="6097904"/>
              <a:ext cx="224155" cy="210185"/>
            </a:xfrm>
            <a:custGeom>
              <a:avLst/>
              <a:gdLst/>
              <a:ahLst/>
              <a:cxnLst/>
              <a:rect l="l" t="t" r="r" b="b"/>
              <a:pathLst>
                <a:path w="224155" h="210185" extrusionOk="0">
                  <a:moveTo>
                    <a:pt x="170815" y="16510"/>
                  </a:moveTo>
                  <a:lnTo>
                    <a:pt x="18415" y="155575"/>
                  </a:lnTo>
                  <a:lnTo>
                    <a:pt x="0" y="172720"/>
                  </a:lnTo>
                  <a:lnTo>
                    <a:pt x="33655" y="210185"/>
                  </a:lnTo>
                  <a:lnTo>
                    <a:pt x="52705" y="193040"/>
                  </a:lnTo>
                  <a:lnTo>
                    <a:pt x="205105" y="54610"/>
                  </a:lnTo>
                  <a:lnTo>
                    <a:pt x="224155" y="37465"/>
                  </a:lnTo>
                  <a:lnTo>
                    <a:pt x="18986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398" name="Google Shape;2398;p66"/>
            <p:cNvSpPr/>
            <p:nvPr/>
          </p:nvSpPr>
          <p:spPr>
            <a:xfrm>
              <a:off x="4721859" y="6459854"/>
              <a:ext cx="224155" cy="210185"/>
            </a:xfrm>
            <a:custGeom>
              <a:avLst/>
              <a:gdLst/>
              <a:ahLst/>
              <a:cxnLst/>
              <a:rect l="l" t="t" r="r" b="b"/>
              <a:pathLst>
                <a:path w="224155" h="210185" extrusionOk="0">
                  <a:moveTo>
                    <a:pt x="170815" y="16510"/>
                  </a:moveTo>
                  <a:lnTo>
                    <a:pt x="18415" y="155575"/>
                  </a:lnTo>
                  <a:lnTo>
                    <a:pt x="0" y="172720"/>
                  </a:lnTo>
                  <a:lnTo>
                    <a:pt x="33655" y="210185"/>
                  </a:lnTo>
                  <a:lnTo>
                    <a:pt x="52705" y="193040"/>
                  </a:lnTo>
                  <a:lnTo>
                    <a:pt x="205105" y="54610"/>
                  </a:lnTo>
                  <a:lnTo>
                    <a:pt x="224155" y="37465"/>
                  </a:lnTo>
                  <a:lnTo>
                    <a:pt x="18986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399" name="Google Shape;2399;p66"/>
            <p:cNvSpPr/>
            <p:nvPr/>
          </p:nvSpPr>
          <p:spPr>
            <a:xfrm>
              <a:off x="5506720" y="6821805"/>
              <a:ext cx="73025" cy="36194"/>
            </a:xfrm>
            <a:custGeom>
              <a:avLst/>
              <a:gdLst/>
              <a:ahLst/>
              <a:cxnLst/>
              <a:rect l="l" t="t" r="r" b="b"/>
              <a:pathLst>
                <a:path w="73025" h="36194" extrusionOk="0">
                  <a:moveTo>
                    <a:pt x="20955" y="16510"/>
                  </a:moveTo>
                  <a:lnTo>
                    <a:pt x="0" y="36195"/>
                  </a:lnTo>
                  <a:lnTo>
                    <a:pt x="73025" y="36195"/>
                  </a:lnTo>
                  <a:lnTo>
                    <a:pt x="4000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00" name="Google Shape;2400;p66"/>
            <p:cNvSpPr/>
            <p:nvPr/>
          </p:nvSpPr>
          <p:spPr>
            <a:xfrm>
              <a:off x="463550" y="3573145"/>
              <a:ext cx="224155" cy="191770"/>
            </a:xfrm>
            <a:custGeom>
              <a:avLst/>
              <a:gdLst/>
              <a:ahLst/>
              <a:cxnLst/>
              <a:rect l="l" t="t" r="r" b="b"/>
              <a:pathLst>
                <a:path w="224155" h="191770" extrusionOk="0">
                  <a:moveTo>
                    <a:pt x="0" y="151765"/>
                  </a:moveTo>
                  <a:lnTo>
                    <a:pt x="31750" y="191770"/>
                  </a:lnTo>
                  <a:lnTo>
                    <a:pt x="51435" y="175895"/>
                  </a:lnTo>
                  <a:lnTo>
                    <a:pt x="203835" y="55880"/>
                  </a:lnTo>
                  <a:lnTo>
                    <a:pt x="224155" y="40005"/>
                  </a:lnTo>
                  <a:lnTo>
                    <a:pt x="192405" y="0"/>
                  </a:lnTo>
                  <a:lnTo>
                    <a:pt x="172720" y="15875"/>
                  </a:lnTo>
                  <a:lnTo>
                    <a:pt x="20320" y="13652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01" name="Google Shape;2401;p66"/>
            <p:cNvSpPr/>
            <p:nvPr/>
          </p:nvSpPr>
          <p:spPr>
            <a:xfrm>
              <a:off x="1098550" y="3935095"/>
              <a:ext cx="224155" cy="191770"/>
            </a:xfrm>
            <a:custGeom>
              <a:avLst/>
              <a:gdLst/>
              <a:ahLst/>
              <a:cxnLst/>
              <a:rect l="l" t="t" r="r" b="b"/>
              <a:pathLst>
                <a:path w="224155" h="191770" extrusionOk="0">
                  <a:moveTo>
                    <a:pt x="203835" y="55880"/>
                  </a:moveTo>
                  <a:lnTo>
                    <a:pt x="224155" y="40005"/>
                  </a:lnTo>
                  <a:lnTo>
                    <a:pt x="192405" y="0"/>
                  </a:lnTo>
                  <a:lnTo>
                    <a:pt x="172720" y="15875"/>
                  </a:lnTo>
                  <a:lnTo>
                    <a:pt x="20320" y="136525"/>
                  </a:lnTo>
                  <a:lnTo>
                    <a:pt x="0" y="151765"/>
                  </a:lnTo>
                  <a:lnTo>
                    <a:pt x="31750" y="191770"/>
                  </a:lnTo>
                  <a:lnTo>
                    <a:pt x="51435" y="17589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02" name="Google Shape;2402;p66"/>
            <p:cNvSpPr/>
            <p:nvPr/>
          </p:nvSpPr>
          <p:spPr>
            <a:xfrm>
              <a:off x="1733550" y="4297045"/>
              <a:ext cx="224154" cy="191770"/>
            </a:xfrm>
            <a:custGeom>
              <a:avLst/>
              <a:gdLst/>
              <a:ahLst/>
              <a:cxnLst/>
              <a:rect l="l" t="t" r="r" b="b"/>
              <a:pathLst>
                <a:path w="224154" h="191770" extrusionOk="0">
                  <a:moveTo>
                    <a:pt x="203835" y="55880"/>
                  </a:moveTo>
                  <a:lnTo>
                    <a:pt x="224155" y="40005"/>
                  </a:lnTo>
                  <a:lnTo>
                    <a:pt x="192405" y="0"/>
                  </a:lnTo>
                  <a:lnTo>
                    <a:pt x="172720" y="15875"/>
                  </a:lnTo>
                  <a:lnTo>
                    <a:pt x="20320" y="136525"/>
                  </a:lnTo>
                  <a:lnTo>
                    <a:pt x="0" y="151765"/>
                  </a:lnTo>
                  <a:lnTo>
                    <a:pt x="31750" y="191770"/>
                  </a:lnTo>
                  <a:lnTo>
                    <a:pt x="51435" y="17589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03" name="Google Shape;2403;p66"/>
            <p:cNvSpPr/>
            <p:nvPr/>
          </p:nvSpPr>
          <p:spPr>
            <a:xfrm>
              <a:off x="2368550" y="4658995"/>
              <a:ext cx="224154" cy="191770"/>
            </a:xfrm>
            <a:custGeom>
              <a:avLst/>
              <a:gdLst/>
              <a:ahLst/>
              <a:cxnLst/>
              <a:rect l="l" t="t" r="r" b="b"/>
              <a:pathLst>
                <a:path w="224154" h="191770" extrusionOk="0">
                  <a:moveTo>
                    <a:pt x="203835" y="55880"/>
                  </a:moveTo>
                  <a:lnTo>
                    <a:pt x="224155" y="40005"/>
                  </a:lnTo>
                  <a:lnTo>
                    <a:pt x="192405" y="0"/>
                  </a:lnTo>
                  <a:lnTo>
                    <a:pt x="172720" y="15875"/>
                  </a:lnTo>
                  <a:lnTo>
                    <a:pt x="20320" y="136525"/>
                  </a:lnTo>
                  <a:lnTo>
                    <a:pt x="0" y="151765"/>
                  </a:lnTo>
                  <a:lnTo>
                    <a:pt x="31750" y="191770"/>
                  </a:lnTo>
                  <a:lnTo>
                    <a:pt x="51435" y="17589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04" name="Google Shape;2404;p66"/>
            <p:cNvSpPr/>
            <p:nvPr/>
          </p:nvSpPr>
          <p:spPr>
            <a:xfrm>
              <a:off x="3003550" y="5020945"/>
              <a:ext cx="224154" cy="191770"/>
            </a:xfrm>
            <a:custGeom>
              <a:avLst/>
              <a:gdLst/>
              <a:ahLst/>
              <a:cxnLst/>
              <a:rect l="l" t="t" r="r" b="b"/>
              <a:pathLst>
                <a:path w="224154" h="191770" extrusionOk="0">
                  <a:moveTo>
                    <a:pt x="51435" y="175895"/>
                  </a:moveTo>
                  <a:lnTo>
                    <a:pt x="203835" y="55880"/>
                  </a:lnTo>
                  <a:lnTo>
                    <a:pt x="224155" y="40005"/>
                  </a:lnTo>
                  <a:lnTo>
                    <a:pt x="192405" y="0"/>
                  </a:lnTo>
                  <a:lnTo>
                    <a:pt x="172720" y="15875"/>
                  </a:lnTo>
                  <a:lnTo>
                    <a:pt x="20320" y="136525"/>
                  </a:lnTo>
                  <a:lnTo>
                    <a:pt x="0" y="151765"/>
                  </a:lnTo>
                  <a:lnTo>
                    <a:pt x="31750" y="19177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05" name="Google Shape;2405;p66"/>
            <p:cNvSpPr/>
            <p:nvPr/>
          </p:nvSpPr>
          <p:spPr>
            <a:xfrm>
              <a:off x="3638550" y="5382895"/>
              <a:ext cx="224154" cy="191770"/>
            </a:xfrm>
            <a:custGeom>
              <a:avLst/>
              <a:gdLst/>
              <a:ahLst/>
              <a:cxnLst/>
              <a:rect l="l" t="t" r="r" b="b"/>
              <a:pathLst>
                <a:path w="224154" h="191770" extrusionOk="0">
                  <a:moveTo>
                    <a:pt x="224155" y="40005"/>
                  </a:moveTo>
                  <a:lnTo>
                    <a:pt x="192405" y="0"/>
                  </a:lnTo>
                  <a:lnTo>
                    <a:pt x="172720" y="15875"/>
                  </a:lnTo>
                  <a:lnTo>
                    <a:pt x="20320" y="136525"/>
                  </a:lnTo>
                  <a:lnTo>
                    <a:pt x="0" y="151765"/>
                  </a:lnTo>
                  <a:lnTo>
                    <a:pt x="31750" y="191770"/>
                  </a:lnTo>
                  <a:lnTo>
                    <a:pt x="51435" y="175895"/>
                  </a:lnTo>
                  <a:lnTo>
                    <a:pt x="203835" y="558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06" name="Google Shape;2406;p66"/>
            <p:cNvSpPr/>
            <p:nvPr/>
          </p:nvSpPr>
          <p:spPr>
            <a:xfrm>
              <a:off x="4273550" y="5744845"/>
              <a:ext cx="224154" cy="191770"/>
            </a:xfrm>
            <a:custGeom>
              <a:avLst/>
              <a:gdLst/>
              <a:ahLst/>
              <a:cxnLst/>
              <a:rect l="l" t="t" r="r" b="b"/>
              <a:pathLst>
                <a:path w="224154" h="191770" extrusionOk="0">
                  <a:moveTo>
                    <a:pt x="172720" y="15875"/>
                  </a:moveTo>
                  <a:lnTo>
                    <a:pt x="20320" y="136525"/>
                  </a:lnTo>
                  <a:lnTo>
                    <a:pt x="0" y="151765"/>
                  </a:lnTo>
                  <a:lnTo>
                    <a:pt x="31750" y="191770"/>
                  </a:lnTo>
                  <a:lnTo>
                    <a:pt x="51435" y="175895"/>
                  </a:lnTo>
                  <a:lnTo>
                    <a:pt x="203835" y="55880"/>
                  </a:lnTo>
                  <a:lnTo>
                    <a:pt x="224155" y="40005"/>
                  </a:lnTo>
                  <a:lnTo>
                    <a:pt x="19240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07" name="Google Shape;2407;p66"/>
            <p:cNvSpPr/>
            <p:nvPr/>
          </p:nvSpPr>
          <p:spPr>
            <a:xfrm>
              <a:off x="4908550" y="6106795"/>
              <a:ext cx="224154" cy="191770"/>
            </a:xfrm>
            <a:custGeom>
              <a:avLst/>
              <a:gdLst/>
              <a:ahLst/>
              <a:cxnLst/>
              <a:rect l="l" t="t" r="r" b="b"/>
              <a:pathLst>
                <a:path w="224154" h="191770" extrusionOk="0">
                  <a:moveTo>
                    <a:pt x="172720" y="15875"/>
                  </a:moveTo>
                  <a:lnTo>
                    <a:pt x="20320" y="136525"/>
                  </a:lnTo>
                  <a:lnTo>
                    <a:pt x="0" y="151765"/>
                  </a:lnTo>
                  <a:lnTo>
                    <a:pt x="31750" y="191770"/>
                  </a:lnTo>
                  <a:lnTo>
                    <a:pt x="51435" y="175895"/>
                  </a:lnTo>
                  <a:lnTo>
                    <a:pt x="203835" y="55880"/>
                  </a:lnTo>
                  <a:lnTo>
                    <a:pt x="224155" y="40005"/>
                  </a:lnTo>
                  <a:lnTo>
                    <a:pt x="19240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08" name="Google Shape;2408;p66"/>
            <p:cNvSpPr/>
            <p:nvPr/>
          </p:nvSpPr>
          <p:spPr>
            <a:xfrm>
              <a:off x="5543550" y="6468745"/>
              <a:ext cx="224154" cy="191770"/>
            </a:xfrm>
            <a:custGeom>
              <a:avLst/>
              <a:gdLst/>
              <a:ahLst/>
              <a:cxnLst/>
              <a:rect l="l" t="t" r="r" b="b"/>
              <a:pathLst>
                <a:path w="224154" h="191770" extrusionOk="0">
                  <a:moveTo>
                    <a:pt x="172720" y="15875"/>
                  </a:moveTo>
                  <a:lnTo>
                    <a:pt x="20320" y="136525"/>
                  </a:lnTo>
                  <a:lnTo>
                    <a:pt x="0" y="151765"/>
                  </a:lnTo>
                  <a:lnTo>
                    <a:pt x="31750" y="191770"/>
                  </a:lnTo>
                  <a:lnTo>
                    <a:pt x="51435" y="175895"/>
                  </a:lnTo>
                  <a:lnTo>
                    <a:pt x="203835" y="55880"/>
                  </a:lnTo>
                  <a:lnTo>
                    <a:pt x="224155" y="40005"/>
                  </a:lnTo>
                  <a:lnTo>
                    <a:pt x="19240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09" name="Google Shape;2409;p66"/>
            <p:cNvSpPr/>
            <p:nvPr/>
          </p:nvSpPr>
          <p:spPr>
            <a:xfrm>
              <a:off x="6336665" y="6830694"/>
              <a:ext cx="55879" cy="27305"/>
            </a:xfrm>
            <a:custGeom>
              <a:avLst/>
              <a:gdLst/>
              <a:ahLst/>
              <a:cxnLst/>
              <a:rect l="l" t="t" r="r" b="b"/>
              <a:pathLst>
                <a:path w="55879" h="27305" extrusionOk="0">
                  <a:moveTo>
                    <a:pt x="14605" y="15875"/>
                  </a:moveTo>
                  <a:lnTo>
                    <a:pt x="0" y="27305"/>
                  </a:lnTo>
                  <a:lnTo>
                    <a:pt x="55880" y="27305"/>
                  </a:lnTo>
                  <a:lnTo>
                    <a:pt x="3429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10" name="Google Shape;2410;p66"/>
            <p:cNvSpPr/>
            <p:nvPr/>
          </p:nvSpPr>
          <p:spPr>
            <a:xfrm>
              <a:off x="0" y="2861310"/>
              <a:ext cx="209550" cy="167639"/>
            </a:xfrm>
            <a:custGeom>
              <a:avLst/>
              <a:gdLst/>
              <a:ahLst/>
              <a:cxnLst/>
              <a:rect l="l" t="t" r="r" b="b"/>
              <a:pathLst>
                <a:path w="209550" h="167639" extrusionOk="0">
                  <a:moveTo>
                    <a:pt x="35560" y="154305"/>
                  </a:moveTo>
                  <a:lnTo>
                    <a:pt x="187960" y="56515"/>
                  </a:lnTo>
                  <a:lnTo>
                    <a:pt x="209550" y="43180"/>
                  </a:lnTo>
                  <a:lnTo>
                    <a:pt x="181610" y="0"/>
                  </a:lnTo>
                  <a:lnTo>
                    <a:pt x="160655" y="13970"/>
                  </a:lnTo>
                  <a:lnTo>
                    <a:pt x="8255" y="111125"/>
                  </a:lnTo>
                  <a:lnTo>
                    <a:pt x="0" y="116205"/>
                  </a:lnTo>
                  <a:lnTo>
                    <a:pt x="0" y="145415"/>
                  </a:lnTo>
                  <a:lnTo>
                    <a:pt x="13970" y="1676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11" name="Google Shape;2411;p66"/>
            <p:cNvSpPr/>
            <p:nvPr/>
          </p:nvSpPr>
          <p:spPr>
            <a:xfrm>
              <a:off x="621665" y="3223260"/>
              <a:ext cx="222884" cy="167639"/>
            </a:xfrm>
            <a:custGeom>
              <a:avLst/>
              <a:gdLst/>
              <a:ahLst/>
              <a:cxnLst/>
              <a:rect l="l" t="t" r="r" b="b"/>
              <a:pathLst>
                <a:path w="222884" h="167639" extrusionOk="0">
                  <a:moveTo>
                    <a:pt x="21590" y="111125"/>
                  </a:moveTo>
                  <a:lnTo>
                    <a:pt x="0" y="125095"/>
                  </a:lnTo>
                  <a:lnTo>
                    <a:pt x="27305" y="167640"/>
                  </a:lnTo>
                  <a:lnTo>
                    <a:pt x="48895" y="154305"/>
                  </a:lnTo>
                  <a:lnTo>
                    <a:pt x="201295" y="56515"/>
                  </a:lnTo>
                  <a:lnTo>
                    <a:pt x="222885" y="43180"/>
                  </a:lnTo>
                  <a:lnTo>
                    <a:pt x="194945" y="0"/>
                  </a:lnTo>
                  <a:lnTo>
                    <a:pt x="173990" y="1397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12" name="Google Shape;2412;p66"/>
            <p:cNvSpPr/>
            <p:nvPr/>
          </p:nvSpPr>
          <p:spPr>
            <a:xfrm>
              <a:off x="1256664" y="3585209"/>
              <a:ext cx="222885" cy="167640"/>
            </a:xfrm>
            <a:custGeom>
              <a:avLst/>
              <a:gdLst/>
              <a:ahLst/>
              <a:cxnLst/>
              <a:rect l="l" t="t" r="r" b="b"/>
              <a:pathLst>
                <a:path w="222885" h="167640" extrusionOk="0">
                  <a:moveTo>
                    <a:pt x="222885" y="43180"/>
                  </a:moveTo>
                  <a:lnTo>
                    <a:pt x="194945" y="0"/>
                  </a:lnTo>
                  <a:lnTo>
                    <a:pt x="173990" y="13970"/>
                  </a:lnTo>
                  <a:lnTo>
                    <a:pt x="21590" y="111125"/>
                  </a:lnTo>
                  <a:lnTo>
                    <a:pt x="0" y="125095"/>
                  </a:lnTo>
                  <a:lnTo>
                    <a:pt x="27305" y="167640"/>
                  </a:lnTo>
                  <a:lnTo>
                    <a:pt x="48895" y="154305"/>
                  </a:lnTo>
                  <a:lnTo>
                    <a:pt x="201295"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13" name="Google Shape;2413;p66"/>
            <p:cNvSpPr/>
            <p:nvPr/>
          </p:nvSpPr>
          <p:spPr>
            <a:xfrm>
              <a:off x="1891664" y="3947159"/>
              <a:ext cx="222885" cy="167640"/>
            </a:xfrm>
            <a:custGeom>
              <a:avLst/>
              <a:gdLst/>
              <a:ahLst/>
              <a:cxnLst/>
              <a:rect l="l" t="t" r="r" b="b"/>
              <a:pathLst>
                <a:path w="222885" h="167640" extrusionOk="0">
                  <a:moveTo>
                    <a:pt x="222885" y="43180"/>
                  </a:moveTo>
                  <a:lnTo>
                    <a:pt x="194945" y="0"/>
                  </a:lnTo>
                  <a:lnTo>
                    <a:pt x="173990" y="13970"/>
                  </a:lnTo>
                  <a:lnTo>
                    <a:pt x="21590" y="111125"/>
                  </a:lnTo>
                  <a:lnTo>
                    <a:pt x="0" y="125095"/>
                  </a:lnTo>
                  <a:lnTo>
                    <a:pt x="27305" y="167640"/>
                  </a:lnTo>
                  <a:lnTo>
                    <a:pt x="48895" y="154305"/>
                  </a:lnTo>
                  <a:lnTo>
                    <a:pt x="201295"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14" name="Google Shape;2414;p66"/>
            <p:cNvSpPr/>
            <p:nvPr/>
          </p:nvSpPr>
          <p:spPr>
            <a:xfrm>
              <a:off x="2526664" y="4309109"/>
              <a:ext cx="222885" cy="167640"/>
            </a:xfrm>
            <a:custGeom>
              <a:avLst/>
              <a:gdLst/>
              <a:ahLst/>
              <a:cxnLst/>
              <a:rect l="l" t="t" r="r" b="b"/>
              <a:pathLst>
                <a:path w="222885" h="167640" extrusionOk="0">
                  <a:moveTo>
                    <a:pt x="222885" y="43180"/>
                  </a:moveTo>
                  <a:lnTo>
                    <a:pt x="194945" y="0"/>
                  </a:lnTo>
                  <a:lnTo>
                    <a:pt x="173990" y="13970"/>
                  </a:lnTo>
                  <a:lnTo>
                    <a:pt x="21590" y="111125"/>
                  </a:lnTo>
                  <a:lnTo>
                    <a:pt x="0" y="125095"/>
                  </a:lnTo>
                  <a:lnTo>
                    <a:pt x="27305" y="167640"/>
                  </a:lnTo>
                  <a:lnTo>
                    <a:pt x="48895" y="154305"/>
                  </a:lnTo>
                  <a:lnTo>
                    <a:pt x="201295"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15" name="Google Shape;2415;p66"/>
            <p:cNvSpPr/>
            <p:nvPr/>
          </p:nvSpPr>
          <p:spPr>
            <a:xfrm>
              <a:off x="3161664" y="4671059"/>
              <a:ext cx="222885" cy="167640"/>
            </a:xfrm>
            <a:custGeom>
              <a:avLst/>
              <a:gdLst/>
              <a:ahLst/>
              <a:cxnLst/>
              <a:rect l="l" t="t" r="r" b="b"/>
              <a:pathLst>
                <a:path w="222885" h="167640" extrusionOk="0">
                  <a:moveTo>
                    <a:pt x="222885" y="43180"/>
                  </a:moveTo>
                  <a:lnTo>
                    <a:pt x="194945" y="0"/>
                  </a:lnTo>
                  <a:lnTo>
                    <a:pt x="173990" y="13970"/>
                  </a:lnTo>
                  <a:lnTo>
                    <a:pt x="21590" y="111125"/>
                  </a:lnTo>
                  <a:lnTo>
                    <a:pt x="0" y="125095"/>
                  </a:lnTo>
                  <a:lnTo>
                    <a:pt x="27305" y="167640"/>
                  </a:lnTo>
                  <a:lnTo>
                    <a:pt x="48895" y="154305"/>
                  </a:lnTo>
                  <a:lnTo>
                    <a:pt x="201295"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16" name="Google Shape;2416;p66"/>
            <p:cNvSpPr/>
            <p:nvPr/>
          </p:nvSpPr>
          <p:spPr>
            <a:xfrm>
              <a:off x="3796665" y="5033009"/>
              <a:ext cx="222884" cy="167640"/>
            </a:xfrm>
            <a:custGeom>
              <a:avLst/>
              <a:gdLst/>
              <a:ahLst/>
              <a:cxnLst/>
              <a:rect l="l" t="t" r="r" b="b"/>
              <a:pathLst>
                <a:path w="222884" h="167640" extrusionOk="0">
                  <a:moveTo>
                    <a:pt x="48895" y="154305"/>
                  </a:moveTo>
                  <a:lnTo>
                    <a:pt x="201295" y="56515"/>
                  </a:lnTo>
                  <a:lnTo>
                    <a:pt x="222885" y="43180"/>
                  </a:lnTo>
                  <a:lnTo>
                    <a:pt x="194945" y="0"/>
                  </a:lnTo>
                  <a:lnTo>
                    <a:pt x="173990" y="13970"/>
                  </a:lnTo>
                  <a:lnTo>
                    <a:pt x="21590" y="111125"/>
                  </a:lnTo>
                  <a:lnTo>
                    <a:pt x="0" y="125095"/>
                  </a:lnTo>
                  <a:lnTo>
                    <a:pt x="27305" y="1676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17" name="Google Shape;2417;p66"/>
            <p:cNvSpPr/>
            <p:nvPr/>
          </p:nvSpPr>
          <p:spPr>
            <a:xfrm>
              <a:off x="4431665" y="5394959"/>
              <a:ext cx="222884" cy="167640"/>
            </a:xfrm>
            <a:custGeom>
              <a:avLst/>
              <a:gdLst/>
              <a:ahLst/>
              <a:cxnLst/>
              <a:rect l="l" t="t" r="r" b="b"/>
              <a:pathLst>
                <a:path w="222884" h="167640" extrusionOk="0">
                  <a:moveTo>
                    <a:pt x="173990" y="13970"/>
                  </a:moveTo>
                  <a:lnTo>
                    <a:pt x="21590" y="111125"/>
                  </a:lnTo>
                  <a:lnTo>
                    <a:pt x="0" y="125095"/>
                  </a:lnTo>
                  <a:lnTo>
                    <a:pt x="27305" y="167640"/>
                  </a:lnTo>
                  <a:lnTo>
                    <a:pt x="48895" y="154305"/>
                  </a:lnTo>
                  <a:lnTo>
                    <a:pt x="201295" y="56515"/>
                  </a:lnTo>
                  <a:lnTo>
                    <a:pt x="222885" y="43180"/>
                  </a:lnTo>
                  <a:lnTo>
                    <a:pt x="19494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18" name="Google Shape;2418;p66"/>
            <p:cNvSpPr/>
            <p:nvPr/>
          </p:nvSpPr>
          <p:spPr>
            <a:xfrm>
              <a:off x="5066665" y="5756909"/>
              <a:ext cx="222884" cy="167640"/>
            </a:xfrm>
            <a:custGeom>
              <a:avLst/>
              <a:gdLst/>
              <a:ahLst/>
              <a:cxnLst/>
              <a:rect l="l" t="t" r="r" b="b"/>
              <a:pathLst>
                <a:path w="222884" h="167640" extrusionOk="0">
                  <a:moveTo>
                    <a:pt x="173990" y="13970"/>
                  </a:moveTo>
                  <a:lnTo>
                    <a:pt x="21590" y="111125"/>
                  </a:lnTo>
                  <a:lnTo>
                    <a:pt x="0" y="125095"/>
                  </a:lnTo>
                  <a:lnTo>
                    <a:pt x="27305" y="167640"/>
                  </a:lnTo>
                  <a:lnTo>
                    <a:pt x="48895" y="154305"/>
                  </a:lnTo>
                  <a:lnTo>
                    <a:pt x="201295" y="56515"/>
                  </a:lnTo>
                  <a:lnTo>
                    <a:pt x="222885" y="43180"/>
                  </a:lnTo>
                  <a:lnTo>
                    <a:pt x="19494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19" name="Google Shape;2419;p66"/>
            <p:cNvSpPr/>
            <p:nvPr/>
          </p:nvSpPr>
          <p:spPr>
            <a:xfrm>
              <a:off x="5701665" y="6118859"/>
              <a:ext cx="222884" cy="167640"/>
            </a:xfrm>
            <a:custGeom>
              <a:avLst/>
              <a:gdLst/>
              <a:ahLst/>
              <a:cxnLst/>
              <a:rect l="l" t="t" r="r" b="b"/>
              <a:pathLst>
                <a:path w="222884" h="167640" extrusionOk="0">
                  <a:moveTo>
                    <a:pt x="173990" y="13970"/>
                  </a:moveTo>
                  <a:lnTo>
                    <a:pt x="21590" y="111125"/>
                  </a:lnTo>
                  <a:lnTo>
                    <a:pt x="0" y="125095"/>
                  </a:lnTo>
                  <a:lnTo>
                    <a:pt x="27305" y="167640"/>
                  </a:lnTo>
                  <a:lnTo>
                    <a:pt x="48895" y="154305"/>
                  </a:lnTo>
                  <a:lnTo>
                    <a:pt x="201295" y="56515"/>
                  </a:lnTo>
                  <a:lnTo>
                    <a:pt x="222885" y="43180"/>
                  </a:lnTo>
                  <a:lnTo>
                    <a:pt x="19494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20" name="Google Shape;2420;p66"/>
            <p:cNvSpPr/>
            <p:nvPr/>
          </p:nvSpPr>
          <p:spPr>
            <a:xfrm>
              <a:off x="6336665" y="6480809"/>
              <a:ext cx="222884" cy="167640"/>
            </a:xfrm>
            <a:custGeom>
              <a:avLst/>
              <a:gdLst/>
              <a:ahLst/>
              <a:cxnLst/>
              <a:rect l="l" t="t" r="r" b="b"/>
              <a:pathLst>
                <a:path w="222884" h="167640" extrusionOk="0">
                  <a:moveTo>
                    <a:pt x="173990" y="13970"/>
                  </a:moveTo>
                  <a:lnTo>
                    <a:pt x="21590" y="111125"/>
                  </a:lnTo>
                  <a:lnTo>
                    <a:pt x="0" y="125095"/>
                  </a:lnTo>
                  <a:lnTo>
                    <a:pt x="27305" y="167640"/>
                  </a:lnTo>
                  <a:lnTo>
                    <a:pt x="48895" y="154305"/>
                  </a:lnTo>
                  <a:lnTo>
                    <a:pt x="201295" y="56515"/>
                  </a:lnTo>
                  <a:lnTo>
                    <a:pt x="222885" y="43180"/>
                  </a:lnTo>
                  <a:lnTo>
                    <a:pt x="19494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21" name="Google Shape;2421;p66"/>
            <p:cNvSpPr/>
            <p:nvPr/>
          </p:nvSpPr>
          <p:spPr>
            <a:xfrm>
              <a:off x="7143115" y="6842759"/>
              <a:ext cx="33654" cy="15240"/>
            </a:xfrm>
            <a:custGeom>
              <a:avLst/>
              <a:gdLst/>
              <a:ahLst/>
              <a:cxnLst/>
              <a:rect l="l" t="t" r="r" b="b"/>
              <a:pathLst>
                <a:path w="33654" h="15240" extrusionOk="0">
                  <a:moveTo>
                    <a:pt x="2540" y="13970"/>
                  </a:moveTo>
                  <a:lnTo>
                    <a:pt x="0" y="15240"/>
                  </a:lnTo>
                  <a:lnTo>
                    <a:pt x="33655" y="15240"/>
                  </a:lnTo>
                  <a:lnTo>
                    <a:pt x="2349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22" name="Google Shape;2422;p66"/>
            <p:cNvSpPr/>
            <p:nvPr/>
          </p:nvSpPr>
          <p:spPr>
            <a:xfrm>
              <a:off x="109220" y="2514600"/>
              <a:ext cx="219709" cy="137795"/>
            </a:xfrm>
            <a:custGeom>
              <a:avLst/>
              <a:gdLst/>
              <a:ahLst/>
              <a:cxnLst/>
              <a:rect l="l" t="t" r="r" b="b"/>
              <a:pathLst>
                <a:path w="219709" h="137795" extrusionOk="0">
                  <a:moveTo>
                    <a:pt x="44450" y="127000"/>
                  </a:moveTo>
                  <a:lnTo>
                    <a:pt x="196850" y="56515"/>
                  </a:lnTo>
                  <a:lnTo>
                    <a:pt x="219710" y="45720"/>
                  </a:lnTo>
                  <a:lnTo>
                    <a:pt x="198755" y="0"/>
                  </a:lnTo>
                  <a:lnTo>
                    <a:pt x="175895" y="10160"/>
                  </a:lnTo>
                  <a:lnTo>
                    <a:pt x="23495" y="80645"/>
                  </a:lnTo>
                  <a:lnTo>
                    <a:pt x="0" y="91440"/>
                  </a:lnTo>
                  <a:lnTo>
                    <a:pt x="21590" y="13779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23" name="Google Shape;2423;p66"/>
            <p:cNvSpPr/>
            <p:nvPr/>
          </p:nvSpPr>
          <p:spPr>
            <a:xfrm>
              <a:off x="744219" y="2876550"/>
              <a:ext cx="219710" cy="137795"/>
            </a:xfrm>
            <a:custGeom>
              <a:avLst/>
              <a:gdLst/>
              <a:ahLst/>
              <a:cxnLst/>
              <a:rect l="l" t="t" r="r" b="b"/>
              <a:pathLst>
                <a:path w="219710" h="137795" extrusionOk="0">
                  <a:moveTo>
                    <a:pt x="219710" y="45720"/>
                  </a:moveTo>
                  <a:lnTo>
                    <a:pt x="198755" y="0"/>
                  </a:lnTo>
                  <a:lnTo>
                    <a:pt x="175895" y="10160"/>
                  </a:lnTo>
                  <a:lnTo>
                    <a:pt x="23495" y="80645"/>
                  </a:lnTo>
                  <a:lnTo>
                    <a:pt x="0" y="91440"/>
                  </a:lnTo>
                  <a:lnTo>
                    <a:pt x="21590" y="137795"/>
                  </a:lnTo>
                  <a:lnTo>
                    <a:pt x="44450" y="127000"/>
                  </a:lnTo>
                  <a:lnTo>
                    <a:pt x="196850"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24" name="Google Shape;2424;p66"/>
            <p:cNvSpPr/>
            <p:nvPr/>
          </p:nvSpPr>
          <p:spPr>
            <a:xfrm>
              <a:off x="1379219" y="3238500"/>
              <a:ext cx="219710" cy="137795"/>
            </a:xfrm>
            <a:custGeom>
              <a:avLst/>
              <a:gdLst/>
              <a:ahLst/>
              <a:cxnLst/>
              <a:rect l="l" t="t" r="r" b="b"/>
              <a:pathLst>
                <a:path w="219710" h="137795" extrusionOk="0">
                  <a:moveTo>
                    <a:pt x="0" y="91440"/>
                  </a:moveTo>
                  <a:lnTo>
                    <a:pt x="21590" y="137795"/>
                  </a:lnTo>
                  <a:lnTo>
                    <a:pt x="44450" y="127000"/>
                  </a:lnTo>
                  <a:lnTo>
                    <a:pt x="196850" y="56515"/>
                  </a:lnTo>
                  <a:lnTo>
                    <a:pt x="219710" y="45720"/>
                  </a:lnTo>
                  <a:lnTo>
                    <a:pt x="198755" y="0"/>
                  </a:lnTo>
                  <a:lnTo>
                    <a:pt x="175895" y="10160"/>
                  </a:lnTo>
                  <a:lnTo>
                    <a:pt x="23495" y="8064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25" name="Google Shape;2425;p66"/>
            <p:cNvSpPr/>
            <p:nvPr/>
          </p:nvSpPr>
          <p:spPr>
            <a:xfrm>
              <a:off x="2014220" y="3600450"/>
              <a:ext cx="219709" cy="137795"/>
            </a:xfrm>
            <a:custGeom>
              <a:avLst/>
              <a:gdLst/>
              <a:ahLst/>
              <a:cxnLst/>
              <a:rect l="l" t="t" r="r" b="b"/>
              <a:pathLst>
                <a:path w="219709" h="137795" extrusionOk="0">
                  <a:moveTo>
                    <a:pt x="219710" y="45720"/>
                  </a:moveTo>
                  <a:lnTo>
                    <a:pt x="198755" y="0"/>
                  </a:lnTo>
                  <a:lnTo>
                    <a:pt x="175895" y="10160"/>
                  </a:lnTo>
                  <a:lnTo>
                    <a:pt x="23495" y="80645"/>
                  </a:lnTo>
                  <a:lnTo>
                    <a:pt x="0" y="91440"/>
                  </a:lnTo>
                  <a:lnTo>
                    <a:pt x="21590" y="137795"/>
                  </a:lnTo>
                  <a:lnTo>
                    <a:pt x="44450" y="127000"/>
                  </a:lnTo>
                  <a:lnTo>
                    <a:pt x="196850"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26" name="Google Shape;2426;p66"/>
            <p:cNvSpPr/>
            <p:nvPr/>
          </p:nvSpPr>
          <p:spPr>
            <a:xfrm>
              <a:off x="2649220" y="3962400"/>
              <a:ext cx="219709" cy="137795"/>
            </a:xfrm>
            <a:custGeom>
              <a:avLst/>
              <a:gdLst/>
              <a:ahLst/>
              <a:cxnLst/>
              <a:rect l="l" t="t" r="r" b="b"/>
              <a:pathLst>
                <a:path w="219709" h="137795" extrusionOk="0">
                  <a:moveTo>
                    <a:pt x="219710" y="45720"/>
                  </a:moveTo>
                  <a:lnTo>
                    <a:pt x="198755" y="0"/>
                  </a:lnTo>
                  <a:lnTo>
                    <a:pt x="175895" y="10160"/>
                  </a:lnTo>
                  <a:lnTo>
                    <a:pt x="23495" y="80645"/>
                  </a:lnTo>
                  <a:lnTo>
                    <a:pt x="0" y="91440"/>
                  </a:lnTo>
                  <a:lnTo>
                    <a:pt x="21590" y="137795"/>
                  </a:lnTo>
                  <a:lnTo>
                    <a:pt x="44450" y="127000"/>
                  </a:lnTo>
                  <a:lnTo>
                    <a:pt x="196850"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27" name="Google Shape;2427;p66"/>
            <p:cNvSpPr/>
            <p:nvPr/>
          </p:nvSpPr>
          <p:spPr>
            <a:xfrm>
              <a:off x="3284220" y="4324350"/>
              <a:ext cx="219709" cy="137795"/>
            </a:xfrm>
            <a:custGeom>
              <a:avLst/>
              <a:gdLst/>
              <a:ahLst/>
              <a:cxnLst/>
              <a:rect l="l" t="t" r="r" b="b"/>
              <a:pathLst>
                <a:path w="219709" h="137795" extrusionOk="0">
                  <a:moveTo>
                    <a:pt x="219710" y="45720"/>
                  </a:moveTo>
                  <a:lnTo>
                    <a:pt x="198755" y="0"/>
                  </a:lnTo>
                  <a:lnTo>
                    <a:pt x="175895" y="10160"/>
                  </a:lnTo>
                  <a:lnTo>
                    <a:pt x="23495" y="80645"/>
                  </a:lnTo>
                  <a:lnTo>
                    <a:pt x="0" y="91440"/>
                  </a:lnTo>
                  <a:lnTo>
                    <a:pt x="21590" y="137795"/>
                  </a:lnTo>
                  <a:lnTo>
                    <a:pt x="44450" y="127000"/>
                  </a:lnTo>
                  <a:lnTo>
                    <a:pt x="196850"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28" name="Google Shape;2428;p66"/>
            <p:cNvSpPr/>
            <p:nvPr/>
          </p:nvSpPr>
          <p:spPr>
            <a:xfrm>
              <a:off x="3919220" y="4686300"/>
              <a:ext cx="219709" cy="137795"/>
            </a:xfrm>
            <a:custGeom>
              <a:avLst/>
              <a:gdLst/>
              <a:ahLst/>
              <a:cxnLst/>
              <a:rect l="l" t="t" r="r" b="b"/>
              <a:pathLst>
                <a:path w="219709" h="137795" extrusionOk="0">
                  <a:moveTo>
                    <a:pt x="219710" y="45720"/>
                  </a:moveTo>
                  <a:lnTo>
                    <a:pt x="198755" y="0"/>
                  </a:lnTo>
                  <a:lnTo>
                    <a:pt x="175895" y="10160"/>
                  </a:lnTo>
                  <a:lnTo>
                    <a:pt x="23495" y="80645"/>
                  </a:lnTo>
                  <a:lnTo>
                    <a:pt x="0" y="91440"/>
                  </a:lnTo>
                  <a:lnTo>
                    <a:pt x="21590" y="137795"/>
                  </a:lnTo>
                  <a:lnTo>
                    <a:pt x="44450" y="127000"/>
                  </a:lnTo>
                  <a:lnTo>
                    <a:pt x="196850"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29" name="Google Shape;2429;p66"/>
            <p:cNvSpPr/>
            <p:nvPr/>
          </p:nvSpPr>
          <p:spPr>
            <a:xfrm>
              <a:off x="4554220" y="5048250"/>
              <a:ext cx="219709" cy="137795"/>
            </a:xfrm>
            <a:custGeom>
              <a:avLst/>
              <a:gdLst/>
              <a:ahLst/>
              <a:cxnLst/>
              <a:rect l="l" t="t" r="r" b="b"/>
              <a:pathLst>
                <a:path w="219709" h="137795" extrusionOk="0">
                  <a:moveTo>
                    <a:pt x="44450" y="127000"/>
                  </a:moveTo>
                  <a:lnTo>
                    <a:pt x="196850" y="56515"/>
                  </a:lnTo>
                  <a:lnTo>
                    <a:pt x="219710" y="45720"/>
                  </a:lnTo>
                  <a:lnTo>
                    <a:pt x="198755" y="0"/>
                  </a:lnTo>
                  <a:lnTo>
                    <a:pt x="175895" y="10160"/>
                  </a:lnTo>
                  <a:lnTo>
                    <a:pt x="23495" y="80645"/>
                  </a:lnTo>
                  <a:lnTo>
                    <a:pt x="0" y="91440"/>
                  </a:lnTo>
                  <a:lnTo>
                    <a:pt x="21590" y="13779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30" name="Google Shape;2430;p66"/>
            <p:cNvSpPr/>
            <p:nvPr/>
          </p:nvSpPr>
          <p:spPr>
            <a:xfrm>
              <a:off x="5189220" y="5410200"/>
              <a:ext cx="219709" cy="137795"/>
            </a:xfrm>
            <a:custGeom>
              <a:avLst/>
              <a:gdLst/>
              <a:ahLst/>
              <a:cxnLst/>
              <a:rect l="l" t="t" r="r" b="b"/>
              <a:pathLst>
                <a:path w="219709" h="137795" extrusionOk="0">
                  <a:moveTo>
                    <a:pt x="175895" y="10160"/>
                  </a:moveTo>
                  <a:lnTo>
                    <a:pt x="23495" y="80645"/>
                  </a:lnTo>
                  <a:lnTo>
                    <a:pt x="0" y="91440"/>
                  </a:lnTo>
                  <a:lnTo>
                    <a:pt x="21590" y="137795"/>
                  </a:lnTo>
                  <a:lnTo>
                    <a:pt x="44450" y="127000"/>
                  </a:lnTo>
                  <a:lnTo>
                    <a:pt x="196850" y="56515"/>
                  </a:lnTo>
                  <a:lnTo>
                    <a:pt x="219710" y="45720"/>
                  </a:lnTo>
                  <a:lnTo>
                    <a:pt x="19875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31" name="Google Shape;2431;p66"/>
            <p:cNvSpPr/>
            <p:nvPr/>
          </p:nvSpPr>
          <p:spPr>
            <a:xfrm>
              <a:off x="5824220" y="5772150"/>
              <a:ext cx="219709" cy="137795"/>
            </a:xfrm>
            <a:custGeom>
              <a:avLst/>
              <a:gdLst/>
              <a:ahLst/>
              <a:cxnLst/>
              <a:rect l="l" t="t" r="r" b="b"/>
              <a:pathLst>
                <a:path w="219709" h="137795" extrusionOk="0">
                  <a:moveTo>
                    <a:pt x="175895" y="10160"/>
                  </a:moveTo>
                  <a:lnTo>
                    <a:pt x="23495" y="80645"/>
                  </a:lnTo>
                  <a:lnTo>
                    <a:pt x="0" y="91440"/>
                  </a:lnTo>
                  <a:lnTo>
                    <a:pt x="21590" y="137795"/>
                  </a:lnTo>
                  <a:lnTo>
                    <a:pt x="44450" y="127000"/>
                  </a:lnTo>
                  <a:lnTo>
                    <a:pt x="196850" y="56515"/>
                  </a:lnTo>
                  <a:lnTo>
                    <a:pt x="219710" y="45720"/>
                  </a:lnTo>
                  <a:lnTo>
                    <a:pt x="19875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32" name="Google Shape;2432;p66"/>
            <p:cNvSpPr/>
            <p:nvPr/>
          </p:nvSpPr>
          <p:spPr>
            <a:xfrm>
              <a:off x="6459220" y="6134100"/>
              <a:ext cx="219710" cy="137795"/>
            </a:xfrm>
            <a:custGeom>
              <a:avLst/>
              <a:gdLst/>
              <a:ahLst/>
              <a:cxnLst/>
              <a:rect l="l" t="t" r="r" b="b"/>
              <a:pathLst>
                <a:path w="219710" h="137795" extrusionOk="0">
                  <a:moveTo>
                    <a:pt x="175895" y="10160"/>
                  </a:moveTo>
                  <a:lnTo>
                    <a:pt x="23495" y="80645"/>
                  </a:lnTo>
                  <a:lnTo>
                    <a:pt x="0" y="91440"/>
                  </a:lnTo>
                  <a:lnTo>
                    <a:pt x="21590" y="137795"/>
                  </a:lnTo>
                  <a:lnTo>
                    <a:pt x="44450" y="127000"/>
                  </a:lnTo>
                  <a:lnTo>
                    <a:pt x="196850" y="56515"/>
                  </a:lnTo>
                  <a:lnTo>
                    <a:pt x="219710" y="45720"/>
                  </a:lnTo>
                  <a:lnTo>
                    <a:pt x="19875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33" name="Google Shape;2433;p66"/>
            <p:cNvSpPr/>
            <p:nvPr/>
          </p:nvSpPr>
          <p:spPr>
            <a:xfrm>
              <a:off x="7094219" y="6496050"/>
              <a:ext cx="219710" cy="137794"/>
            </a:xfrm>
            <a:custGeom>
              <a:avLst/>
              <a:gdLst/>
              <a:ahLst/>
              <a:cxnLst/>
              <a:rect l="l" t="t" r="r" b="b"/>
              <a:pathLst>
                <a:path w="219710" h="137794" extrusionOk="0">
                  <a:moveTo>
                    <a:pt x="175895" y="10160"/>
                  </a:moveTo>
                  <a:lnTo>
                    <a:pt x="23495" y="80645"/>
                  </a:lnTo>
                  <a:lnTo>
                    <a:pt x="0" y="91440"/>
                  </a:lnTo>
                  <a:lnTo>
                    <a:pt x="21590" y="137795"/>
                  </a:lnTo>
                  <a:lnTo>
                    <a:pt x="44450" y="127000"/>
                  </a:lnTo>
                  <a:lnTo>
                    <a:pt x="196850" y="56515"/>
                  </a:lnTo>
                  <a:lnTo>
                    <a:pt x="219711" y="45720"/>
                  </a:lnTo>
                  <a:lnTo>
                    <a:pt x="19875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34" name="Google Shape;2434;p66"/>
            <p:cNvSpPr/>
            <p:nvPr/>
          </p:nvSpPr>
          <p:spPr>
            <a:xfrm>
              <a:off x="192404" y="2169795"/>
              <a:ext cx="214629" cy="102869"/>
            </a:xfrm>
            <a:custGeom>
              <a:avLst/>
              <a:gdLst/>
              <a:ahLst/>
              <a:cxnLst/>
              <a:rect l="l" t="t" r="r" b="b"/>
              <a:pathLst>
                <a:path w="214629" h="102869" extrusionOk="0">
                  <a:moveTo>
                    <a:pt x="24765" y="47625"/>
                  </a:moveTo>
                  <a:lnTo>
                    <a:pt x="0" y="53975"/>
                  </a:lnTo>
                  <a:lnTo>
                    <a:pt x="13335" y="102870"/>
                  </a:lnTo>
                  <a:lnTo>
                    <a:pt x="37465" y="96520"/>
                  </a:lnTo>
                  <a:lnTo>
                    <a:pt x="189865" y="55880"/>
                  </a:lnTo>
                  <a:lnTo>
                    <a:pt x="214630" y="48895"/>
                  </a:lnTo>
                  <a:lnTo>
                    <a:pt x="201295" y="0"/>
                  </a:lnTo>
                  <a:lnTo>
                    <a:pt x="177165" y="635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35" name="Google Shape;2435;p66"/>
            <p:cNvSpPr/>
            <p:nvPr/>
          </p:nvSpPr>
          <p:spPr>
            <a:xfrm>
              <a:off x="827405" y="2531745"/>
              <a:ext cx="214630" cy="102869"/>
            </a:xfrm>
            <a:custGeom>
              <a:avLst/>
              <a:gdLst/>
              <a:ahLst/>
              <a:cxnLst/>
              <a:rect l="l" t="t" r="r" b="b"/>
              <a:pathLst>
                <a:path w="214630" h="102869" extrusionOk="0">
                  <a:moveTo>
                    <a:pt x="214630" y="48895"/>
                  </a:moveTo>
                  <a:lnTo>
                    <a:pt x="201295" y="0"/>
                  </a:lnTo>
                  <a:lnTo>
                    <a:pt x="177165" y="6350"/>
                  </a:lnTo>
                  <a:lnTo>
                    <a:pt x="24765" y="47625"/>
                  </a:lnTo>
                  <a:lnTo>
                    <a:pt x="0" y="53975"/>
                  </a:lnTo>
                  <a:lnTo>
                    <a:pt x="13335" y="102870"/>
                  </a:lnTo>
                  <a:lnTo>
                    <a:pt x="37465" y="96520"/>
                  </a:lnTo>
                  <a:lnTo>
                    <a:pt x="189865" y="558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36" name="Google Shape;2436;p66"/>
            <p:cNvSpPr/>
            <p:nvPr/>
          </p:nvSpPr>
          <p:spPr>
            <a:xfrm>
              <a:off x="1462405" y="2893695"/>
              <a:ext cx="214630" cy="102869"/>
            </a:xfrm>
            <a:custGeom>
              <a:avLst/>
              <a:gdLst/>
              <a:ahLst/>
              <a:cxnLst/>
              <a:rect l="l" t="t" r="r" b="b"/>
              <a:pathLst>
                <a:path w="214630" h="102869" extrusionOk="0">
                  <a:moveTo>
                    <a:pt x="214630" y="48895"/>
                  </a:moveTo>
                  <a:lnTo>
                    <a:pt x="201295" y="0"/>
                  </a:lnTo>
                  <a:lnTo>
                    <a:pt x="177165" y="6350"/>
                  </a:lnTo>
                  <a:lnTo>
                    <a:pt x="24765" y="47625"/>
                  </a:lnTo>
                  <a:lnTo>
                    <a:pt x="0" y="53975"/>
                  </a:lnTo>
                  <a:lnTo>
                    <a:pt x="13335" y="102870"/>
                  </a:lnTo>
                  <a:lnTo>
                    <a:pt x="37465" y="96520"/>
                  </a:lnTo>
                  <a:lnTo>
                    <a:pt x="189865" y="558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37" name="Google Shape;2437;p66"/>
            <p:cNvSpPr/>
            <p:nvPr/>
          </p:nvSpPr>
          <p:spPr>
            <a:xfrm>
              <a:off x="2097404" y="3255645"/>
              <a:ext cx="214630" cy="102870"/>
            </a:xfrm>
            <a:custGeom>
              <a:avLst/>
              <a:gdLst/>
              <a:ahLst/>
              <a:cxnLst/>
              <a:rect l="l" t="t" r="r" b="b"/>
              <a:pathLst>
                <a:path w="214630" h="102870" extrusionOk="0">
                  <a:moveTo>
                    <a:pt x="37465" y="96520"/>
                  </a:moveTo>
                  <a:lnTo>
                    <a:pt x="189865" y="55880"/>
                  </a:lnTo>
                  <a:lnTo>
                    <a:pt x="214630" y="48895"/>
                  </a:lnTo>
                  <a:lnTo>
                    <a:pt x="201295" y="0"/>
                  </a:lnTo>
                  <a:lnTo>
                    <a:pt x="177165" y="6350"/>
                  </a:lnTo>
                  <a:lnTo>
                    <a:pt x="24765" y="47625"/>
                  </a:lnTo>
                  <a:lnTo>
                    <a:pt x="0" y="53975"/>
                  </a:lnTo>
                  <a:lnTo>
                    <a:pt x="13335" y="10287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38" name="Google Shape;2438;p66"/>
            <p:cNvSpPr/>
            <p:nvPr/>
          </p:nvSpPr>
          <p:spPr>
            <a:xfrm>
              <a:off x="2732404" y="3617595"/>
              <a:ext cx="214630" cy="102870"/>
            </a:xfrm>
            <a:custGeom>
              <a:avLst/>
              <a:gdLst/>
              <a:ahLst/>
              <a:cxnLst/>
              <a:rect l="l" t="t" r="r" b="b"/>
              <a:pathLst>
                <a:path w="214630" h="102870" extrusionOk="0">
                  <a:moveTo>
                    <a:pt x="214630" y="48895"/>
                  </a:moveTo>
                  <a:lnTo>
                    <a:pt x="201295" y="0"/>
                  </a:lnTo>
                  <a:lnTo>
                    <a:pt x="177165" y="6350"/>
                  </a:lnTo>
                  <a:lnTo>
                    <a:pt x="24765" y="47625"/>
                  </a:lnTo>
                  <a:lnTo>
                    <a:pt x="0" y="53975"/>
                  </a:lnTo>
                  <a:lnTo>
                    <a:pt x="13335" y="102870"/>
                  </a:lnTo>
                  <a:lnTo>
                    <a:pt x="37465" y="96520"/>
                  </a:lnTo>
                  <a:lnTo>
                    <a:pt x="189865" y="558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39" name="Google Shape;2439;p66"/>
            <p:cNvSpPr/>
            <p:nvPr/>
          </p:nvSpPr>
          <p:spPr>
            <a:xfrm>
              <a:off x="3367404" y="3979545"/>
              <a:ext cx="214629" cy="102870"/>
            </a:xfrm>
            <a:custGeom>
              <a:avLst/>
              <a:gdLst/>
              <a:ahLst/>
              <a:cxnLst/>
              <a:rect l="l" t="t" r="r" b="b"/>
              <a:pathLst>
                <a:path w="214629" h="102870" extrusionOk="0">
                  <a:moveTo>
                    <a:pt x="214630" y="48895"/>
                  </a:moveTo>
                  <a:lnTo>
                    <a:pt x="201295" y="0"/>
                  </a:lnTo>
                  <a:lnTo>
                    <a:pt x="177165" y="6350"/>
                  </a:lnTo>
                  <a:lnTo>
                    <a:pt x="24765" y="47625"/>
                  </a:lnTo>
                  <a:lnTo>
                    <a:pt x="0" y="53975"/>
                  </a:lnTo>
                  <a:lnTo>
                    <a:pt x="13335" y="102870"/>
                  </a:lnTo>
                  <a:lnTo>
                    <a:pt x="37465" y="96520"/>
                  </a:lnTo>
                  <a:lnTo>
                    <a:pt x="189865" y="558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40" name="Google Shape;2440;p66"/>
            <p:cNvSpPr/>
            <p:nvPr/>
          </p:nvSpPr>
          <p:spPr>
            <a:xfrm>
              <a:off x="4002404" y="4341495"/>
              <a:ext cx="214629" cy="102870"/>
            </a:xfrm>
            <a:custGeom>
              <a:avLst/>
              <a:gdLst/>
              <a:ahLst/>
              <a:cxnLst/>
              <a:rect l="l" t="t" r="r" b="b"/>
              <a:pathLst>
                <a:path w="214629" h="102870" extrusionOk="0">
                  <a:moveTo>
                    <a:pt x="214630" y="48895"/>
                  </a:moveTo>
                  <a:lnTo>
                    <a:pt x="201295" y="0"/>
                  </a:lnTo>
                  <a:lnTo>
                    <a:pt x="177165" y="6350"/>
                  </a:lnTo>
                  <a:lnTo>
                    <a:pt x="24765" y="47625"/>
                  </a:lnTo>
                  <a:lnTo>
                    <a:pt x="0" y="53975"/>
                  </a:lnTo>
                  <a:lnTo>
                    <a:pt x="13335" y="102870"/>
                  </a:lnTo>
                  <a:lnTo>
                    <a:pt x="37465" y="96520"/>
                  </a:lnTo>
                  <a:lnTo>
                    <a:pt x="189865" y="558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41" name="Google Shape;2441;p66"/>
            <p:cNvSpPr/>
            <p:nvPr/>
          </p:nvSpPr>
          <p:spPr>
            <a:xfrm>
              <a:off x="4637404" y="4703445"/>
              <a:ext cx="214629" cy="102870"/>
            </a:xfrm>
            <a:custGeom>
              <a:avLst/>
              <a:gdLst/>
              <a:ahLst/>
              <a:cxnLst/>
              <a:rect l="l" t="t" r="r" b="b"/>
              <a:pathLst>
                <a:path w="214629" h="102870" extrusionOk="0">
                  <a:moveTo>
                    <a:pt x="214630" y="48895"/>
                  </a:moveTo>
                  <a:lnTo>
                    <a:pt x="201295" y="0"/>
                  </a:lnTo>
                  <a:lnTo>
                    <a:pt x="177165" y="6350"/>
                  </a:lnTo>
                  <a:lnTo>
                    <a:pt x="24765" y="47625"/>
                  </a:lnTo>
                  <a:lnTo>
                    <a:pt x="0" y="53975"/>
                  </a:lnTo>
                  <a:lnTo>
                    <a:pt x="13335" y="102870"/>
                  </a:lnTo>
                  <a:lnTo>
                    <a:pt x="37465" y="96520"/>
                  </a:lnTo>
                  <a:lnTo>
                    <a:pt x="189865" y="558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42" name="Google Shape;2442;p66"/>
            <p:cNvSpPr/>
            <p:nvPr/>
          </p:nvSpPr>
          <p:spPr>
            <a:xfrm>
              <a:off x="5272404" y="5065395"/>
              <a:ext cx="214629" cy="102870"/>
            </a:xfrm>
            <a:custGeom>
              <a:avLst/>
              <a:gdLst/>
              <a:ahLst/>
              <a:cxnLst/>
              <a:rect l="l" t="t" r="r" b="b"/>
              <a:pathLst>
                <a:path w="214629" h="102870" extrusionOk="0">
                  <a:moveTo>
                    <a:pt x="177165" y="6350"/>
                  </a:moveTo>
                  <a:lnTo>
                    <a:pt x="24765" y="47625"/>
                  </a:lnTo>
                  <a:lnTo>
                    <a:pt x="0" y="53975"/>
                  </a:lnTo>
                  <a:lnTo>
                    <a:pt x="13335" y="102870"/>
                  </a:lnTo>
                  <a:lnTo>
                    <a:pt x="37465" y="96520"/>
                  </a:lnTo>
                  <a:lnTo>
                    <a:pt x="189865" y="55880"/>
                  </a:lnTo>
                  <a:lnTo>
                    <a:pt x="214630" y="48895"/>
                  </a:lnTo>
                  <a:lnTo>
                    <a:pt x="20129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43" name="Google Shape;2443;p66"/>
            <p:cNvSpPr/>
            <p:nvPr/>
          </p:nvSpPr>
          <p:spPr>
            <a:xfrm>
              <a:off x="5907404" y="5427345"/>
              <a:ext cx="214629" cy="102870"/>
            </a:xfrm>
            <a:custGeom>
              <a:avLst/>
              <a:gdLst/>
              <a:ahLst/>
              <a:cxnLst/>
              <a:rect l="l" t="t" r="r" b="b"/>
              <a:pathLst>
                <a:path w="214629" h="102870" extrusionOk="0">
                  <a:moveTo>
                    <a:pt x="177165" y="6350"/>
                  </a:moveTo>
                  <a:lnTo>
                    <a:pt x="24765" y="47625"/>
                  </a:lnTo>
                  <a:lnTo>
                    <a:pt x="0" y="53975"/>
                  </a:lnTo>
                  <a:lnTo>
                    <a:pt x="13335" y="102870"/>
                  </a:lnTo>
                  <a:lnTo>
                    <a:pt x="37465" y="96520"/>
                  </a:lnTo>
                  <a:lnTo>
                    <a:pt x="189865" y="55880"/>
                  </a:lnTo>
                  <a:lnTo>
                    <a:pt x="214630" y="48895"/>
                  </a:lnTo>
                  <a:lnTo>
                    <a:pt x="20129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44" name="Google Shape;2444;p66"/>
            <p:cNvSpPr/>
            <p:nvPr/>
          </p:nvSpPr>
          <p:spPr>
            <a:xfrm>
              <a:off x="6542405" y="5789295"/>
              <a:ext cx="214629" cy="102870"/>
            </a:xfrm>
            <a:custGeom>
              <a:avLst/>
              <a:gdLst/>
              <a:ahLst/>
              <a:cxnLst/>
              <a:rect l="l" t="t" r="r" b="b"/>
              <a:pathLst>
                <a:path w="214629" h="102870" extrusionOk="0">
                  <a:moveTo>
                    <a:pt x="177164" y="6350"/>
                  </a:moveTo>
                  <a:lnTo>
                    <a:pt x="24764" y="47625"/>
                  </a:lnTo>
                  <a:lnTo>
                    <a:pt x="0" y="53975"/>
                  </a:lnTo>
                  <a:lnTo>
                    <a:pt x="13335" y="102870"/>
                  </a:lnTo>
                  <a:lnTo>
                    <a:pt x="37464" y="96520"/>
                  </a:lnTo>
                  <a:lnTo>
                    <a:pt x="189864" y="55880"/>
                  </a:lnTo>
                  <a:lnTo>
                    <a:pt x="214630" y="48895"/>
                  </a:lnTo>
                  <a:lnTo>
                    <a:pt x="20129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45" name="Google Shape;2445;p66"/>
            <p:cNvSpPr/>
            <p:nvPr/>
          </p:nvSpPr>
          <p:spPr>
            <a:xfrm>
              <a:off x="7177405" y="6151245"/>
              <a:ext cx="214629" cy="102870"/>
            </a:xfrm>
            <a:custGeom>
              <a:avLst/>
              <a:gdLst/>
              <a:ahLst/>
              <a:cxnLst/>
              <a:rect l="l" t="t" r="r" b="b"/>
              <a:pathLst>
                <a:path w="214629" h="102870" extrusionOk="0">
                  <a:moveTo>
                    <a:pt x="177164" y="6350"/>
                  </a:moveTo>
                  <a:lnTo>
                    <a:pt x="24764" y="47625"/>
                  </a:lnTo>
                  <a:lnTo>
                    <a:pt x="0" y="53975"/>
                  </a:lnTo>
                  <a:lnTo>
                    <a:pt x="13335" y="102870"/>
                  </a:lnTo>
                  <a:lnTo>
                    <a:pt x="37464" y="96520"/>
                  </a:lnTo>
                  <a:lnTo>
                    <a:pt x="189864" y="55880"/>
                  </a:lnTo>
                  <a:lnTo>
                    <a:pt x="214630" y="48895"/>
                  </a:lnTo>
                  <a:lnTo>
                    <a:pt x="20129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46" name="Google Shape;2446;p66"/>
            <p:cNvSpPr/>
            <p:nvPr/>
          </p:nvSpPr>
          <p:spPr>
            <a:xfrm>
              <a:off x="7812405" y="6513194"/>
              <a:ext cx="214629" cy="102870"/>
            </a:xfrm>
            <a:custGeom>
              <a:avLst/>
              <a:gdLst/>
              <a:ahLst/>
              <a:cxnLst/>
              <a:rect l="l" t="t" r="r" b="b"/>
              <a:pathLst>
                <a:path w="214629" h="102870" extrusionOk="0">
                  <a:moveTo>
                    <a:pt x="177164" y="6350"/>
                  </a:moveTo>
                  <a:lnTo>
                    <a:pt x="24764" y="47625"/>
                  </a:lnTo>
                  <a:lnTo>
                    <a:pt x="0" y="53975"/>
                  </a:lnTo>
                  <a:lnTo>
                    <a:pt x="13335" y="102870"/>
                  </a:lnTo>
                  <a:lnTo>
                    <a:pt x="37464" y="96520"/>
                  </a:lnTo>
                  <a:lnTo>
                    <a:pt x="189864" y="55880"/>
                  </a:lnTo>
                  <a:lnTo>
                    <a:pt x="214630" y="48895"/>
                  </a:lnTo>
                  <a:lnTo>
                    <a:pt x="20129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47" name="Google Shape;2447;p66"/>
            <p:cNvSpPr/>
            <p:nvPr/>
          </p:nvSpPr>
          <p:spPr>
            <a:xfrm>
              <a:off x="233045" y="1827529"/>
              <a:ext cx="206374" cy="63500"/>
            </a:xfrm>
            <a:custGeom>
              <a:avLst/>
              <a:gdLst/>
              <a:ahLst/>
              <a:cxnLst/>
              <a:rect l="l" t="t" r="r" b="b"/>
              <a:pathLst>
                <a:path w="206374" h="63500" extrusionOk="0">
                  <a:moveTo>
                    <a:pt x="206375" y="50800"/>
                  </a:moveTo>
                  <a:lnTo>
                    <a:pt x="203200" y="0"/>
                  </a:lnTo>
                  <a:lnTo>
                    <a:pt x="177800" y="1905"/>
                  </a:lnTo>
                  <a:lnTo>
                    <a:pt x="25400" y="11430"/>
                  </a:lnTo>
                  <a:lnTo>
                    <a:pt x="0" y="12700"/>
                  </a:lnTo>
                  <a:lnTo>
                    <a:pt x="3175" y="63500"/>
                  </a:lnTo>
                  <a:lnTo>
                    <a:pt x="28575" y="62230"/>
                  </a:lnTo>
                  <a:lnTo>
                    <a:pt x="180975" y="5270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48" name="Google Shape;2448;p66"/>
            <p:cNvSpPr/>
            <p:nvPr/>
          </p:nvSpPr>
          <p:spPr>
            <a:xfrm>
              <a:off x="868044" y="2189479"/>
              <a:ext cx="206375" cy="63500"/>
            </a:xfrm>
            <a:custGeom>
              <a:avLst/>
              <a:gdLst/>
              <a:ahLst/>
              <a:cxnLst/>
              <a:rect l="l" t="t" r="r" b="b"/>
              <a:pathLst>
                <a:path w="206375" h="63500" extrusionOk="0">
                  <a:moveTo>
                    <a:pt x="206375" y="50800"/>
                  </a:moveTo>
                  <a:lnTo>
                    <a:pt x="203200" y="0"/>
                  </a:lnTo>
                  <a:lnTo>
                    <a:pt x="177800" y="1905"/>
                  </a:lnTo>
                  <a:lnTo>
                    <a:pt x="25400" y="11430"/>
                  </a:lnTo>
                  <a:lnTo>
                    <a:pt x="0" y="12700"/>
                  </a:lnTo>
                  <a:lnTo>
                    <a:pt x="3175" y="63500"/>
                  </a:lnTo>
                  <a:lnTo>
                    <a:pt x="28575" y="62230"/>
                  </a:lnTo>
                  <a:lnTo>
                    <a:pt x="180975" y="5270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49" name="Google Shape;2449;p66"/>
            <p:cNvSpPr/>
            <p:nvPr/>
          </p:nvSpPr>
          <p:spPr>
            <a:xfrm>
              <a:off x="1503044" y="2551429"/>
              <a:ext cx="206375" cy="63500"/>
            </a:xfrm>
            <a:custGeom>
              <a:avLst/>
              <a:gdLst/>
              <a:ahLst/>
              <a:cxnLst/>
              <a:rect l="l" t="t" r="r" b="b"/>
              <a:pathLst>
                <a:path w="206375" h="63500" extrusionOk="0">
                  <a:moveTo>
                    <a:pt x="206375" y="50800"/>
                  </a:moveTo>
                  <a:lnTo>
                    <a:pt x="203200" y="0"/>
                  </a:lnTo>
                  <a:lnTo>
                    <a:pt x="177800" y="1905"/>
                  </a:lnTo>
                  <a:lnTo>
                    <a:pt x="25400" y="11430"/>
                  </a:lnTo>
                  <a:lnTo>
                    <a:pt x="0" y="12700"/>
                  </a:lnTo>
                  <a:lnTo>
                    <a:pt x="3175" y="63500"/>
                  </a:lnTo>
                  <a:lnTo>
                    <a:pt x="28575" y="62230"/>
                  </a:lnTo>
                  <a:lnTo>
                    <a:pt x="180975" y="5270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50" name="Google Shape;2450;p66"/>
            <p:cNvSpPr/>
            <p:nvPr/>
          </p:nvSpPr>
          <p:spPr>
            <a:xfrm>
              <a:off x="2138045" y="2913379"/>
              <a:ext cx="206375" cy="63500"/>
            </a:xfrm>
            <a:custGeom>
              <a:avLst/>
              <a:gdLst/>
              <a:ahLst/>
              <a:cxnLst/>
              <a:rect l="l" t="t" r="r" b="b"/>
              <a:pathLst>
                <a:path w="206375" h="63500" extrusionOk="0">
                  <a:moveTo>
                    <a:pt x="206375" y="50800"/>
                  </a:moveTo>
                  <a:lnTo>
                    <a:pt x="203200" y="0"/>
                  </a:lnTo>
                  <a:lnTo>
                    <a:pt x="177800" y="1905"/>
                  </a:lnTo>
                  <a:lnTo>
                    <a:pt x="25400" y="11430"/>
                  </a:lnTo>
                  <a:lnTo>
                    <a:pt x="0" y="12700"/>
                  </a:lnTo>
                  <a:lnTo>
                    <a:pt x="3175" y="63500"/>
                  </a:lnTo>
                  <a:lnTo>
                    <a:pt x="28575" y="62230"/>
                  </a:lnTo>
                  <a:lnTo>
                    <a:pt x="180975" y="5270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51" name="Google Shape;2451;p66"/>
            <p:cNvSpPr/>
            <p:nvPr/>
          </p:nvSpPr>
          <p:spPr>
            <a:xfrm>
              <a:off x="2773045" y="3275329"/>
              <a:ext cx="206375" cy="63500"/>
            </a:xfrm>
            <a:custGeom>
              <a:avLst/>
              <a:gdLst/>
              <a:ahLst/>
              <a:cxnLst/>
              <a:rect l="l" t="t" r="r" b="b"/>
              <a:pathLst>
                <a:path w="206375" h="63500" extrusionOk="0">
                  <a:moveTo>
                    <a:pt x="206375" y="50800"/>
                  </a:moveTo>
                  <a:lnTo>
                    <a:pt x="203200" y="0"/>
                  </a:lnTo>
                  <a:lnTo>
                    <a:pt x="177800" y="1905"/>
                  </a:lnTo>
                  <a:lnTo>
                    <a:pt x="25400" y="11430"/>
                  </a:lnTo>
                  <a:lnTo>
                    <a:pt x="0" y="12700"/>
                  </a:lnTo>
                  <a:lnTo>
                    <a:pt x="3175" y="63500"/>
                  </a:lnTo>
                  <a:lnTo>
                    <a:pt x="28575" y="62230"/>
                  </a:lnTo>
                  <a:lnTo>
                    <a:pt x="180975" y="5270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52" name="Google Shape;2452;p66"/>
            <p:cNvSpPr/>
            <p:nvPr/>
          </p:nvSpPr>
          <p:spPr>
            <a:xfrm>
              <a:off x="3408045" y="3637279"/>
              <a:ext cx="206375" cy="63500"/>
            </a:xfrm>
            <a:custGeom>
              <a:avLst/>
              <a:gdLst/>
              <a:ahLst/>
              <a:cxnLst/>
              <a:rect l="l" t="t" r="r" b="b"/>
              <a:pathLst>
                <a:path w="206375" h="63500" extrusionOk="0">
                  <a:moveTo>
                    <a:pt x="206375" y="50800"/>
                  </a:moveTo>
                  <a:lnTo>
                    <a:pt x="203200" y="0"/>
                  </a:lnTo>
                  <a:lnTo>
                    <a:pt x="177800" y="1905"/>
                  </a:lnTo>
                  <a:lnTo>
                    <a:pt x="25400" y="11430"/>
                  </a:lnTo>
                  <a:lnTo>
                    <a:pt x="0" y="12700"/>
                  </a:lnTo>
                  <a:lnTo>
                    <a:pt x="3175" y="63500"/>
                  </a:lnTo>
                  <a:lnTo>
                    <a:pt x="28575" y="62230"/>
                  </a:lnTo>
                  <a:lnTo>
                    <a:pt x="180975" y="5270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53" name="Google Shape;2453;p66"/>
            <p:cNvSpPr/>
            <p:nvPr/>
          </p:nvSpPr>
          <p:spPr>
            <a:xfrm>
              <a:off x="4043045" y="3999229"/>
              <a:ext cx="206375" cy="63500"/>
            </a:xfrm>
            <a:custGeom>
              <a:avLst/>
              <a:gdLst/>
              <a:ahLst/>
              <a:cxnLst/>
              <a:rect l="l" t="t" r="r" b="b"/>
              <a:pathLst>
                <a:path w="206375" h="63500" extrusionOk="0">
                  <a:moveTo>
                    <a:pt x="206375" y="50800"/>
                  </a:moveTo>
                  <a:lnTo>
                    <a:pt x="203200" y="0"/>
                  </a:lnTo>
                  <a:lnTo>
                    <a:pt x="177800" y="1905"/>
                  </a:lnTo>
                  <a:lnTo>
                    <a:pt x="25400" y="11430"/>
                  </a:lnTo>
                  <a:lnTo>
                    <a:pt x="0" y="12700"/>
                  </a:lnTo>
                  <a:lnTo>
                    <a:pt x="3175" y="63500"/>
                  </a:lnTo>
                  <a:lnTo>
                    <a:pt x="28575" y="62230"/>
                  </a:lnTo>
                  <a:lnTo>
                    <a:pt x="180975" y="5270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54" name="Google Shape;2454;p66"/>
            <p:cNvSpPr/>
            <p:nvPr/>
          </p:nvSpPr>
          <p:spPr>
            <a:xfrm>
              <a:off x="4678045" y="4361179"/>
              <a:ext cx="206375" cy="63500"/>
            </a:xfrm>
            <a:custGeom>
              <a:avLst/>
              <a:gdLst/>
              <a:ahLst/>
              <a:cxnLst/>
              <a:rect l="l" t="t" r="r" b="b"/>
              <a:pathLst>
                <a:path w="206375" h="63500" extrusionOk="0">
                  <a:moveTo>
                    <a:pt x="206375" y="50800"/>
                  </a:moveTo>
                  <a:lnTo>
                    <a:pt x="203200" y="0"/>
                  </a:lnTo>
                  <a:lnTo>
                    <a:pt x="177800" y="1905"/>
                  </a:lnTo>
                  <a:lnTo>
                    <a:pt x="25400" y="11430"/>
                  </a:lnTo>
                  <a:lnTo>
                    <a:pt x="0" y="12700"/>
                  </a:lnTo>
                  <a:lnTo>
                    <a:pt x="3175" y="63500"/>
                  </a:lnTo>
                  <a:lnTo>
                    <a:pt x="28575" y="62230"/>
                  </a:lnTo>
                  <a:lnTo>
                    <a:pt x="180975" y="5270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55" name="Google Shape;2455;p66"/>
            <p:cNvSpPr/>
            <p:nvPr/>
          </p:nvSpPr>
          <p:spPr>
            <a:xfrm>
              <a:off x="5313045" y="4723129"/>
              <a:ext cx="206375" cy="63500"/>
            </a:xfrm>
            <a:custGeom>
              <a:avLst/>
              <a:gdLst/>
              <a:ahLst/>
              <a:cxnLst/>
              <a:rect l="l" t="t" r="r" b="b"/>
              <a:pathLst>
                <a:path w="206375" h="63500" extrusionOk="0">
                  <a:moveTo>
                    <a:pt x="203200" y="0"/>
                  </a:moveTo>
                  <a:lnTo>
                    <a:pt x="177800" y="1905"/>
                  </a:lnTo>
                  <a:lnTo>
                    <a:pt x="25400" y="11430"/>
                  </a:lnTo>
                  <a:lnTo>
                    <a:pt x="0" y="12700"/>
                  </a:lnTo>
                  <a:lnTo>
                    <a:pt x="3175" y="63500"/>
                  </a:lnTo>
                  <a:lnTo>
                    <a:pt x="28575" y="62230"/>
                  </a:lnTo>
                  <a:lnTo>
                    <a:pt x="180975" y="52705"/>
                  </a:lnTo>
                  <a:lnTo>
                    <a:pt x="206375" y="5080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56" name="Google Shape;2456;p66"/>
            <p:cNvSpPr/>
            <p:nvPr/>
          </p:nvSpPr>
          <p:spPr>
            <a:xfrm>
              <a:off x="5948045" y="5085079"/>
              <a:ext cx="206375" cy="63500"/>
            </a:xfrm>
            <a:custGeom>
              <a:avLst/>
              <a:gdLst/>
              <a:ahLst/>
              <a:cxnLst/>
              <a:rect l="l" t="t" r="r" b="b"/>
              <a:pathLst>
                <a:path w="206375" h="63500" extrusionOk="0">
                  <a:moveTo>
                    <a:pt x="177800" y="1905"/>
                  </a:moveTo>
                  <a:lnTo>
                    <a:pt x="25400" y="11430"/>
                  </a:lnTo>
                  <a:lnTo>
                    <a:pt x="0" y="12700"/>
                  </a:lnTo>
                  <a:lnTo>
                    <a:pt x="3175" y="63500"/>
                  </a:lnTo>
                  <a:lnTo>
                    <a:pt x="28575" y="62230"/>
                  </a:lnTo>
                  <a:lnTo>
                    <a:pt x="180975" y="52705"/>
                  </a:lnTo>
                  <a:lnTo>
                    <a:pt x="206375" y="50800"/>
                  </a:lnTo>
                  <a:lnTo>
                    <a:pt x="20320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57" name="Google Shape;2457;p66"/>
            <p:cNvSpPr/>
            <p:nvPr/>
          </p:nvSpPr>
          <p:spPr>
            <a:xfrm>
              <a:off x="6583044" y="5447029"/>
              <a:ext cx="206375" cy="63500"/>
            </a:xfrm>
            <a:custGeom>
              <a:avLst/>
              <a:gdLst/>
              <a:ahLst/>
              <a:cxnLst/>
              <a:rect l="l" t="t" r="r" b="b"/>
              <a:pathLst>
                <a:path w="206375" h="63500" extrusionOk="0">
                  <a:moveTo>
                    <a:pt x="177800" y="1905"/>
                  </a:moveTo>
                  <a:lnTo>
                    <a:pt x="25400" y="11430"/>
                  </a:lnTo>
                  <a:lnTo>
                    <a:pt x="0" y="12700"/>
                  </a:lnTo>
                  <a:lnTo>
                    <a:pt x="3175" y="63500"/>
                  </a:lnTo>
                  <a:lnTo>
                    <a:pt x="28575" y="62230"/>
                  </a:lnTo>
                  <a:lnTo>
                    <a:pt x="180975" y="52705"/>
                  </a:lnTo>
                  <a:lnTo>
                    <a:pt x="206375" y="50800"/>
                  </a:lnTo>
                  <a:lnTo>
                    <a:pt x="20320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58" name="Google Shape;2458;p66"/>
            <p:cNvSpPr/>
            <p:nvPr/>
          </p:nvSpPr>
          <p:spPr>
            <a:xfrm>
              <a:off x="7218044" y="5808979"/>
              <a:ext cx="206375" cy="63500"/>
            </a:xfrm>
            <a:custGeom>
              <a:avLst/>
              <a:gdLst/>
              <a:ahLst/>
              <a:cxnLst/>
              <a:rect l="l" t="t" r="r" b="b"/>
              <a:pathLst>
                <a:path w="206375" h="63500" extrusionOk="0">
                  <a:moveTo>
                    <a:pt x="177800" y="1905"/>
                  </a:moveTo>
                  <a:lnTo>
                    <a:pt x="25400" y="11430"/>
                  </a:lnTo>
                  <a:lnTo>
                    <a:pt x="0" y="12700"/>
                  </a:lnTo>
                  <a:lnTo>
                    <a:pt x="3175" y="63500"/>
                  </a:lnTo>
                  <a:lnTo>
                    <a:pt x="28575" y="62230"/>
                  </a:lnTo>
                  <a:lnTo>
                    <a:pt x="180975" y="52705"/>
                  </a:lnTo>
                  <a:lnTo>
                    <a:pt x="206375" y="50800"/>
                  </a:lnTo>
                  <a:lnTo>
                    <a:pt x="20320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59" name="Google Shape;2459;p66"/>
            <p:cNvSpPr/>
            <p:nvPr/>
          </p:nvSpPr>
          <p:spPr>
            <a:xfrm>
              <a:off x="7853044" y="6170929"/>
              <a:ext cx="206375" cy="63500"/>
            </a:xfrm>
            <a:custGeom>
              <a:avLst/>
              <a:gdLst/>
              <a:ahLst/>
              <a:cxnLst/>
              <a:rect l="l" t="t" r="r" b="b"/>
              <a:pathLst>
                <a:path w="206375" h="63500" extrusionOk="0">
                  <a:moveTo>
                    <a:pt x="177800" y="1905"/>
                  </a:moveTo>
                  <a:lnTo>
                    <a:pt x="25400" y="11430"/>
                  </a:lnTo>
                  <a:lnTo>
                    <a:pt x="0" y="12700"/>
                  </a:lnTo>
                  <a:lnTo>
                    <a:pt x="3175" y="63500"/>
                  </a:lnTo>
                  <a:lnTo>
                    <a:pt x="28575" y="62230"/>
                  </a:lnTo>
                  <a:lnTo>
                    <a:pt x="180975" y="52705"/>
                  </a:lnTo>
                  <a:lnTo>
                    <a:pt x="206375" y="50800"/>
                  </a:lnTo>
                  <a:lnTo>
                    <a:pt x="20320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60" name="Google Shape;2460;p66"/>
            <p:cNvSpPr/>
            <p:nvPr/>
          </p:nvSpPr>
          <p:spPr>
            <a:xfrm>
              <a:off x="8488044" y="6532880"/>
              <a:ext cx="206375" cy="63500"/>
            </a:xfrm>
            <a:custGeom>
              <a:avLst/>
              <a:gdLst/>
              <a:ahLst/>
              <a:cxnLst/>
              <a:rect l="l" t="t" r="r" b="b"/>
              <a:pathLst>
                <a:path w="206375" h="63500" extrusionOk="0">
                  <a:moveTo>
                    <a:pt x="177800" y="1905"/>
                  </a:moveTo>
                  <a:lnTo>
                    <a:pt x="25400" y="11430"/>
                  </a:lnTo>
                  <a:lnTo>
                    <a:pt x="0" y="12700"/>
                  </a:lnTo>
                  <a:lnTo>
                    <a:pt x="3175" y="63500"/>
                  </a:lnTo>
                  <a:lnTo>
                    <a:pt x="28575" y="62230"/>
                  </a:lnTo>
                  <a:lnTo>
                    <a:pt x="180975" y="52705"/>
                  </a:lnTo>
                  <a:lnTo>
                    <a:pt x="206375" y="50800"/>
                  </a:lnTo>
                  <a:lnTo>
                    <a:pt x="20320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61" name="Google Shape;2461;p66"/>
            <p:cNvSpPr/>
            <p:nvPr/>
          </p:nvSpPr>
          <p:spPr>
            <a:xfrm>
              <a:off x="222250" y="1457325"/>
              <a:ext cx="209550" cy="80010"/>
            </a:xfrm>
            <a:custGeom>
              <a:avLst/>
              <a:gdLst/>
              <a:ahLst/>
              <a:cxnLst/>
              <a:rect l="l" t="t" r="r" b="b"/>
              <a:pathLst>
                <a:path w="209550" h="80010" extrusionOk="0">
                  <a:moveTo>
                    <a:pt x="32385" y="3810"/>
                  </a:moveTo>
                  <a:lnTo>
                    <a:pt x="6985" y="0"/>
                  </a:lnTo>
                  <a:lnTo>
                    <a:pt x="0" y="50800"/>
                  </a:lnTo>
                  <a:lnTo>
                    <a:pt x="24765" y="53975"/>
                  </a:lnTo>
                  <a:lnTo>
                    <a:pt x="177165" y="76200"/>
                  </a:lnTo>
                  <a:lnTo>
                    <a:pt x="202565" y="80010"/>
                  </a:lnTo>
                  <a:lnTo>
                    <a:pt x="209550" y="29845"/>
                  </a:lnTo>
                  <a:lnTo>
                    <a:pt x="184785" y="2603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62" name="Google Shape;2462;p66"/>
            <p:cNvSpPr/>
            <p:nvPr/>
          </p:nvSpPr>
          <p:spPr>
            <a:xfrm>
              <a:off x="857250" y="1819275"/>
              <a:ext cx="209550" cy="80010"/>
            </a:xfrm>
            <a:custGeom>
              <a:avLst/>
              <a:gdLst/>
              <a:ahLst/>
              <a:cxnLst/>
              <a:rect l="l" t="t" r="r" b="b"/>
              <a:pathLst>
                <a:path w="209550" h="80010" extrusionOk="0">
                  <a:moveTo>
                    <a:pt x="6985" y="0"/>
                  </a:moveTo>
                  <a:lnTo>
                    <a:pt x="0" y="50800"/>
                  </a:lnTo>
                  <a:lnTo>
                    <a:pt x="24765" y="53975"/>
                  </a:lnTo>
                  <a:lnTo>
                    <a:pt x="177165" y="76200"/>
                  </a:lnTo>
                  <a:lnTo>
                    <a:pt x="202565" y="80010"/>
                  </a:lnTo>
                  <a:lnTo>
                    <a:pt x="209550" y="29845"/>
                  </a:lnTo>
                  <a:lnTo>
                    <a:pt x="184785" y="26035"/>
                  </a:lnTo>
                  <a:lnTo>
                    <a:pt x="32385" y="381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63" name="Google Shape;2463;p66"/>
            <p:cNvSpPr/>
            <p:nvPr/>
          </p:nvSpPr>
          <p:spPr>
            <a:xfrm>
              <a:off x="1492250" y="2181225"/>
              <a:ext cx="209550" cy="80010"/>
            </a:xfrm>
            <a:custGeom>
              <a:avLst/>
              <a:gdLst/>
              <a:ahLst/>
              <a:cxnLst/>
              <a:rect l="l" t="t" r="r" b="b"/>
              <a:pathLst>
                <a:path w="209550" h="80010" extrusionOk="0">
                  <a:moveTo>
                    <a:pt x="6985" y="0"/>
                  </a:moveTo>
                  <a:lnTo>
                    <a:pt x="0" y="50800"/>
                  </a:lnTo>
                  <a:lnTo>
                    <a:pt x="24765" y="53975"/>
                  </a:lnTo>
                  <a:lnTo>
                    <a:pt x="177165" y="76200"/>
                  </a:lnTo>
                  <a:lnTo>
                    <a:pt x="202565" y="80010"/>
                  </a:lnTo>
                  <a:lnTo>
                    <a:pt x="209550" y="29845"/>
                  </a:lnTo>
                  <a:lnTo>
                    <a:pt x="184785" y="26035"/>
                  </a:lnTo>
                  <a:lnTo>
                    <a:pt x="32385" y="381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64" name="Google Shape;2464;p66"/>
            <p:cNvSpPr/>
            <p:nvPr/>
          </p:nvSpPr>
          <p:spPr>
            <a:xfrm>
              <a:off x="2127250" y="2543175"/>
              <a:ext cx="209550" cy="80010"/>
            </a:xfrm>
            <a:custGeom>
              <a:avLst/>
              <a:gdLst/>
              <a:ahLst/>
              <a:cxnLst/>
              <a:rect l="l" t="t" r="r" b="b"/>
              <a:pathLst>
                <a:path w="209550" h="80010" extrusionOk="0">
                  <a:moveTo>
                    <a:pt x="6985" y="0"/>
                  </a:moveTo>
                  <a:lnTo>
                    <a:pt x="0" y="50800"/>
                  </a:lnTo>
                  <a:lnTo>
                    <a:pt x="24765" y="53975"/>
                  </a:lnTo>
                  <a:lnTo>
                    <a:pt x="177165" y="76200"/>
                  </a:lnTo>
                  <a:lnTo>
                    <a:pt x="202565" y="80010"/>
                  </a:lnTo>
                  <a:lnTo>
                    <a:pt x="209550" y="29845"/>
                  </a:lnTo>
                  <a:lnTo>
                    <a:pt x="184785" y="26035"/>
                  </a:lnTo>
                  <a:lnTo>
                    <a:pt x="32385" y="381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65" name="Google Shape;2465;p66"/>
            <p:cNvSpPr/>
            <p:nvPr/>
          </p:nvSpPr>
          <p:spPr>
            <a:xfrm>
              <a:off x="2762250" y="2905125"/>
              <a:ext cx="209550" cy="80010"/>
            </a:xfrm>
            <a:custGeom>
              <a:avLst/>
              <a:gdLst/>
              <a:ahLst/>
              <a:cxnLst/>
              <a:rect l="l" t="t" r="r" b="b"/>
              <a:pathLst>
                <a:path w="209550" h="80010" extrusionOk="0">
                  <a:moveTo>
                    <a:pt x="177165" y="76200"/>
                  </a:moveTo>
                  <a:lnTo>
                    <a:pt x="202565" y="80010"/>
                  </a:lnTo>
                  <a:lnTo>
                    <a:pt x="209550" y="29845"/>
                  </a:lnTo>
                  <a:lnTo>
                    <a:pt x="184785" y="26035"/>
                  </a:lnTo>
                  <a:lnTo>
                    <a:pt x="32385" y="3810"/>
                  </a:lnTo>
                  <a:lnTo>
                    <a:pt x="6985" y="0"/>
                  </a:lnTo>
                  <a:lnTo>
                    <a:pt x="0" y="50800"/>
                  </a:lnTo>
                  <a:lnTo>
                    <a:pt x="24765" y="5397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66" name="Google Shape;2466;p66"/>
            <p:cNvSpPr/>
            <p:nvPr/>
          </p:nvSpPr>
          <p:spPr>
            <a:xfrm>
              <a:off x="3397250" y="3267075"/>
              <a:ext cx="209550" cy="80009"/>
            </a:xfrm>
            <a:custGeom>
              <a:avLst/>
              <a:gdLst/>
              <a:ahLst/>
              <a:cxnLst/>
              <a:rect l="l" t="t" r="r" b="b"/>
              <a:pathLst>
                <a:path w="209550" h="80009" extrusionOk="0">
                  <a:moveTo>
                    <a:pt x="177165" y="76200"/>
                  </a:moveTo>
                  <a:lnTo>
                    <a:pt x="202565" y="80010"/>
                  </a:lnTo>
                  <a:lnTo>
                    <a:pt x="209550" y="29845"/>
                  </a:lnTo>
                  <a:lnTo>
                    <a:pt x="184785" y="26035"/>
                  </a:lnTo>
                  <a:lnTo>
                    <a:pt x="32385" y="3810"/>
                  </a:lnTo>
                  <a:lnTo>
                    <a:pt x="6985" y="0"/>
                  </a:lnTo>
                  <a:lnTo>
                    <a:pt x="0" y="50800"/>
                  </a:lnTo>
                  <a:lnTo>
                    <a:pt x="24765" y="5397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67" name="Google Shape;2467;p66"/>
            <p:cNvSpPr/>
            <p:nvPr/>
          </p:nvSpPr>
          <p:spPr>
            <a:xfrm>
              <a:off x="4032250" y="3629025"/>
              <a:ext cx="209550" cy="80009"/>
            </a:xfrm>
            <a:custGeom>
              <a:avLst/>
              <a:gdLst/>
              <a:ahLst/>
              <a:cxnLst/>
              <a:rect l="l" t="t" r="r" b="b"/>
              <a:pathLst>
                <a:path w="209550" h="80009" extrusionOk="0">
                  <a:moveTo>
                    <a:pt x="177165" y="76200"/>
                  </a:moveTo>
                  <a:lnTo>
                    <a:pt x="202565" y="80010"/>
                  </a:lnTo>
                  <a:lnTo>
                    <a:pt x="209550" y="29845"/>
                  </a:lnTo>
                  <a:lnTo>
                    <a:pt x="184785" y="26035"/>
                  </a:lnTo>
                  <a:lnTo>
                    <a:pt x="32385" y="3810"/>
                  </a:lnTo>
                  <a:lnTo>
                    <a:pt x="6985" y="0"/>
                  </a:lnTo>
                  <a:lnTo>
                    <a:pt x="0" y="50800"/>
                  </a:lnTo>
                  <a:lnTo>
                    <a:pt x="24765" y="5397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68" name="Google Shape;2468;p66"/>
            <p:cNvSpPr/>
            <p:nvPr/>
          </p:nvSpPr>
          <p:spPr>
            <a:xfrm>
              <a:off x="4667250" y="3990975"/>
              <a:ext cx="209550" cy="80009"/>
            </a:xfrm>
            <a:custGeom>
              <a:avLst/>
              <a:gdLst/>
              <a:ahLst/>
              <a:cxnLst/>
              <a:rect l="l" t="t" r="r" b="b"/>
              <a:pathLst>
                <a:path w="209550" h="80009" extrusionOk="0">
                  <a:moveTo>
                    <a:pt x="177165" y="76200"/>
                  </a:moveTo>
                  <a:lnTo>
                    <a:pt x="202565" y="80010"/>
                  </a:lnTo>
                  <a:lnTo>
                    <a:pt x="209550" y="29845"/>
                  </a:lnTo>
                  <a:lnTo>
                    <a:pt x="184785" y="26035"/>
                  </a:lnTo>
                  <a:lnTo>
                    <a:pt x="32385" y="3810"/>
                  </a:lnTo>
                  <a:lnTo>
                    <a:pt x="6985" y="0"/>
                  </a:lnTo>
                  <a:lnTo>
                    <a:pt x="0" y="50800"/>
                  </a:lnTo>
                  <a:lnTo>
                    <a:pt x="24765" y="5397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69" name="Google Shape;2469;p66"/>
            <p:cNvSpPr/>
            <p:nvPr/>
          </p:nvSpPr>
          <p:spPr>
            <a:xfrm>
              <a:off x="5302250" y="4352925"/>
              <a:ext cx="209550" cy="80009"/>
            </a:xfrm>
            <a:custGeom>
              <a:avLst/>
              <a:gdLst/>
              <a:ahLst/>
              <a:cxnLst/>
              <a:rect l="l" t="t" r="r" b="b"/>
              <a:pathLst>
                <a:path w="209550" h="80009" extrusionOk="0">
                  <a:moveTo>
                    <a:pt x="177165" y="76200"/>
                  </a:moveTo>
                  <a:lnTo>
                    <a:pt x="202565" y="80010"/>
                  </a:lnTo>
                  <a:lnTo>
                    <a:pt x="209550" y="29845"/>
                  </a:lnTo>
                  <a:lnTo>
                    <a:pt x="184785" y="26035"/>
                  </a:lnTo>
                  <a:lnTo>
                    <a:pt x="32385" y="3810"/>
                  </a:lnTo>
                  <a:lnTo>
                    <a:pt x="6985" y="0"/>
                  </a:lnTo>
                  <a:lnTo>
                    <a:pt x="0" y="50800"/>
                  </a:lnTo>
                  <a:lnTo>
                    <a:pt x="24765" y="5397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70" name="Google Shape;2470;p66"/>
            <p:cNvSpPr/>
            <p:nvPr/>
          </p:nvSpPr>
          <p:spPr>
            <a:xfrm>
              <a:off x="5937250" y="4714875"/>
              <a:ext cx="209550" cy="80009"/>
            </a:xfrm>
            <a:custGeom>
              <a:avLst/>
              <a:gdLst/>
              <a:ahLst/>
              <a:cxnLst/>
              <a:rect l="l" t="t" r="r" b="b"/>
              <a:pathLst>
                <a:path w="209550" h="80009" extrusionOk="0">
                  <a:moveTo>
                    <a:pt x="177165" y="76200"/>
                  </a:moveTo>
                  <a:lnTo>
                    <a:pt x="202565" y="80010"/>
                  </a:lnTo>
                  <a:lnTo>
                    <a:pt x="209550" y="29845"/>
                  </a:lnTo>
                  <a:lnTo>
                    <a:pt x="184785" y="26035"/>
                  </a:lnTo>
                  <a:lnTo>
                    <a:pt x="32385" y="3810"/>
                  </a:lnTo>
                  <a:lnTo>
                    <a:pt x="6985" y="0"/>
                  </a:lnTo>
                  <a:lnTo>
                    <a:pt x="0" y="50800"/>
                  </a:lnTo>
                  <a:lnTo>
                    <a:pt x="24765" y="5397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71" name="Google Shape;2471;p66"/>
            <p:cNvSpPr/>
            <p:nvPr/>
          </p:nvSpPr>
          <p:spPr>
            <a:xfrm>
              <a:off x="6572250" y="5076825"/>
              <a:ext cx="209550" cy="80009"/>
            </a:xfrm>
            <a:custGeom>
              <a:avLst/>
              <a:gdLst/>
              <a:ahLst/>
              <a:cxnLst/>
              <a:rect l="l" t="t" r="r" b="b"/>
              <a:pathLst>
                <a:path w="209550" h="80009" extrusionOk="0">
                  <a:moveTo>
                    <a:pt x="177165" y="76200"/>
                  </a:moveTo>
                  <a:lnTo>
                    <a:pt x="202565" y="80010"/>
                  </a:lnTo>
                  <a:lnTo>
                    <a:pt x="209550" y="29845"/>
                  </a:lnTo>
                  <a:lnTo>
                    <a:pt x="184785" y="26035"/>
                  </a:lnTo>
                  <a:lnTo>
                    <a:pt x="32385" y="3810"/>
                  </a:lnTo>
                  <a:lnTo>
                    <a:pt x="6985" y="0"/>
                  </a:lnTo>
                  <a:lnTo>
                    <a:pt x="0" y="50800"/>
                  </a:lnTo>
                  <a:lnTo>
                    <a:pt x="24765" y="5397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72" name="Google Shape;2472;p66"/>
            <p:cNvSpPr/>
            <p:nvPr/>
          </p:nvSpPr>
          <p:spPr>
            <a:xfrm>
              <a:off x="7207250" y="5438775"/>
              <a:ext cx="209550" cy="80009"/>
            </a:xfrm>
            <a:custGeom>
              <a:avLst/>
              <a:gdLst/>
              <a:ahLst/>
              <a:cxnLst/>
              <a:rect l="l" t="t" r="r" b="b"/>
              <a:pathLst>
                <a:path w="209550" h="80009" extrusionOk="0">
                  <a:moveTo>
                    <a:pt x="177165" y="76200"/>
                  </a:moveTo>
                  <a:lnTo>
                    <a:pt x="202565" y="80010"/>
                  </a:lnTo>
                  <a:lnTo>
                    <a:pt x="209550" y="29845"/>
                  </a:lnTo>
                  <a:lnTo>
                    <a:pt x="184785" y="26035"/>
                  </a:lnTo>
                  <a:lnTo>
                    <a:pt x="32385" y="3810"/>
                  </a:lnTo>
                  <a:lnTo>
                    <a:pt x="6985" y="0"/>
                  </a:lnTo>
                  <a:lnTo>
                    <a:pt x="0" y="50800"/>
                  </a:lnTo>
                  <a:lnTo>
                    <a:pt x="24765" y="5397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73" name="Google Shape;2473;p66"/>
            <p:cNvSpPr/>
            <p:nvPr/>
          </p:nvSpPr>
          <p:spPr>
            <a:xfrm>
              <a:off x="7842250" y="5800725"/>
              <a:ext cx="209550" cy="80009"/>
            </a:xfrm>
            <a:custGeom>
              <a:avLst/>
              <a:gdLst/>
              <a:ahLst/>
              <a:cxnLst/>
              <a:rect l="l" t="t" r="r" b="b"/>
              <a:pathLst>
                <a:path w="209550" h="80009" extrusionOk="0">
                  <a:moveTo>
                    <a:pt x="32385" y="3810"/>
                  </a:moveTo>
                  <a:lnTo>
                    <a:pt x="6985" y="0"/>
                  </a:lnTo>
                  <a:lnTo>
                    <a:pt x="0" y="50800"/>
                  </a:lnTo>
                  <a:lnTo>
                    <a:pt x="24765" y="53975"/>
                  </a:lnTo>
                  <a:lnTo>
                    <a:pt x="177165" y="76200"/>
                  </a:lnTo>
                  <a:lnTo>
                    <a:pt x="202565" y="80010"/>
                  </a:lnTo>
                  <a:lnTo>
                    <a:pt x="209550" y="29845"/>
                  </a:lnTo>
                  <a:lnTo>
                    <a:pt x="184785" y="2603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74" name="Google Shape;2474;p66"/>
            <p:cNvSpPr/>
            <p:nvPr/>
          </p:nvSpPr>
          <p:spPr>
            <a:xfrm>
              <a:off x="8477250" y="6162675"/>
              <a:ext cx="209550" cy="80009"/>
            </a:xfrm>
            <a:custGeom>
              <a:avLst/>
              <a:gdLst/>
              <a:ahLst/>
              <a:cxnLst/>
              <a:rect l="l" t="t" r="r" b="b"/>
              <a:pathLst>
                <a:path w="209550" h="80009" extrusionOk="0">
                  <a:moveTo>
                    <a:pt x="177165" y="76200"/>
                  </a:moveTo>
                  <a:lnTo>
                    <a:pt x="202565" y="80010"/>
                  </a:lnTo>
                  <a:lnTo>
                    <a:pt x="209550" y="29845"/>
                  </a:lnTo>
                  <a:lnTo>
                    <a:pt x="184785" y="26035"/>
                  </a:lnTo>
                  <a:lnTo>
                    <a:pt x="32385" y="3810"/>
                  </a:lnTo>
                  <a:lnTo>
                    <a:pt x="6985" y="0"/>
                  </a:lnTo>
                  <a:lnTo>
                    <a:pt x="0" y="50800"/>
                  </a:lnTo>
                  <a:lnTo>
                    <a:pt x="24765" y="5397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75" name="Google Shape;2475;p66"/>
            <p:cNvSpPr/>
            <p:nvPr/>
          </p:nvSpPr>
          <p:spPr>
            <a:xfrm>
              <a:off x="9112250" y="6524625"/>
              <a:ext cx="209550" cy="80009"/>
            </a:xfrm>
            <a:custGeom>
              <a:avLst/>
              <a:gdLst/>
              <a:ahLst/>
              <a:cxnLst/>
              <a:rect l="l" t="t" r="r" b="b"/>
              <a:pathLst>
                <a:path w="209550" h="80009" extrusionOk="0">
                  <a:moveTo>
                    <a:pt x="32385" y="3810"/>
                  </a:moveTo>
                  <a:lnTo>
                    <a:pt x="6985" y="0"/>
                  </a:lnTo>
                  <a:lnTo>
                    <a:pt x="0" y="50800"/>
                  </a:lnTo>
                  <a:lnTo>
                    <a:pt x="24765" y="53975"/>
                  </a:lnTo>
                  <a:lnTo>
                    <a:pt x="177165" y="76200"/>
                  </a:lnTo>
                  <a:lnTo>
                    <a:pt x="202565" y="80010"/>
                  </a:lnTo>
                  <a:lnTo>
                    <a:pt x="209550" y="29845"/>
                  </a:lnTo>
                  <a:lnTo>
                    <a:pt x="184785" y="2603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76" name="Google Shape;2476;p66"/>
            <p:cNvSpPr/>
            <p:nvPr/>
          </p:nvSpPr>
          <p:spPr>
            <a:xfrm>
              <a:off x="164464" y="1076960"/>
              <a:ext cx="217169" cy="117475"/>
            </a:xfrm>
            <a:custGeom>
              <a:avLst/>
              <a:gdLst/>
              <a:ahLst/>
              <a:cxnLst/>
              <a:rect l="l" t="t" r="r" b="b"/>
              <a:pathLst>
                <a:path w="217169" h="117475" extrusionOk="0">
                  <a:moveTo>
                    <a:pt x="40640" y="8255"/>
                  </a:moveTo>
                  <a:lnTo>
                    <a:pt x="16510" y="0"/>
                  </a:lnTo>
                  <a:lnTo>
                    <a:pt x="0" y="47625"/>
                  </a:lnTo>
                  <a:lnTo>
                    <a:pt x="24130" y="55880"/>
                  </a:lnTo>
                  <a:lnTo>
                    <a:pt x="176530" y="109220"/>
                  </a:lnTo>
                  <a:lnTo>
                    <a:pt x="200025" y="117475"/>
                  </a:lnTo>
                  <a:lnTo>
                    <a:pt x="217170" y="69215"/>
                  </a:lnTo>
                  <a:lnTo>
                    <a:pt x="193040" y="6096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77" name="Google Shape;2477;p66"/>
            <p:cNvSpPr/>
            <p:nvPr/>
          </p:nvSpPr>
          <p:spPr>
            <a:xfrm>
              <a:off x="799465" y="1438910"/>
              <a:ext cx="217170" cy="117475"/>
            </a:xfrm>
            <a:custGeom>
              <a:avLst/>
              <a:gdLst/>
              <a:ahLst/>
              <a:cxnLst/>
              <a:rect l="l" t="t" r="r" b="b"/>
              <a:pathLst>
                <a:path w="217170" h="117475" extrusionOk="0">
                  <a:moveTo>
                    <a:pt x="40640" y="8255"/>
                  </a:moveTo>
                  <a:lnTo>
                    <a:pt x="16510" y="0"/>
                  </a:lnTo>
                  <a:lnTo>
                    <a:pt x="0" y="47625"/>
                  </a:lnTo>
                  <a:lnTo>
                    <a:pt x="24130" y="55880"/>
                  </a:lnTo>
                  <a:lnTo>
                    <a:pt x="176530" y="109220"/>
                  </a:lnTo>
                  <a:lnTo>
                    <a:pt x="200025" y="117475"/>
                  </a:lnTo>
                  <a:lnTo>
                    <a:pt x="217170" y="69215"/>
                  </a:lnTo>
                  <a:lnTo>
                    <a:pt x="193040" y="6096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78" name="Google Shape;2478;p66"/>
            <p:cNvSpPr/>
            <p:nvPr/>
          </p:nvSpPr>
          <p:spPr>
            <a:xfrm>
              <a:off x="1434464" y="1800860"/>
              <a:ext cx="217170" cy="117475"/>
            </a:xfrm>
            <a:custGeom>
              <a:avLst/>
              <a:gdLst/>
              <a:ahLst/>
              <a:cxnLst/>
              <a:rect l="l" t="t" r="r" b="b"/>
              <a:pathLst>
                <a:path w="217170" h="117475" extrusionOk="0">
                  <a:moveTo>
                    <a:pt x="40640" y="8255"/>
                  </a:moveTo>
                  <a:lnTo>
                    <a:pt x="16510" y="0"/>
                  </a:lnTo>
                  <a:lnTo>
                    <a:pt x="0" y="47625"/>
                  </a:lnTo>
                  <a:lnTo>
                    <a:pt x="24130" y="55880"/>
                  </a:lnTo>
                  <a:lnTo>
                    <a:pt x="176530" y="109220"/>
                  </a:lnTo>
                  <a:lnTo>
                    <a:pt x="200025" y="117475"/>
                  </a:lnTo>
                  <a:lnTo>
                    <a:pt x="217170" y="69215"/>
                  </a:lnTo>
                  <a:lnTo>
                    <a:pt x="193040" y="6096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79" name="Google Shape;2479;p66"/>
            <p:cNvSpPr/>
            <p:nvPr/>
          </p:nvSpPr>
          <p:spPr>
            <a:xfrm>
              <a:off x="2069464" y="2162810"/>
              <a:ext cx="217170" cy="117475"/>
            </a:xfrm>
            <a:custGeom>
              <a:avLst/>
              <a:gdLst/>
              <a:ahLst/>
              <a:cxnLst/>
              <a:rect l="l" t="t" r="r" b="b"/>
              <a:pathLst>
                <a:path w="217170" h="117475" extrusionOk="0">
                  <a:moveTo>
                    <a:pt x="176530" y="109220"/>
                  </a:moveTo>
                  <a:lnTo>
                    <a:pt x="200025" y="117475"/>
                  </a:lnTo>
                  <a:lnTo>
                    <a:pt x="217170" y="69215"/>
                  </a:lnTo>
                  <a:lnTo>
                    <a:pt x="193040" y="60960"/>
                  </a:lnTo>
                  <a:lnTo>
                    <a:pt x="40640" y="8255"/>
                  </a:lnTo>
                  <a:lnTo>
                    <a:pt x="16510" y="0"/>
                  </a:lnTo>
                  <a:lnTo>
                    <a:pt x="0" y="47625"/>
                  </a:lnTo>
                  <a:lnTo>
                    <a:pt x="24130" y="558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80" name="Google Shape;2480;p66"/>
            <p:cNvSpPr/>
            <p:nvPr/>
          </p:nvSpPr>
          <p:spPr>
            <a:xfrm>
              <a:off x="2704464" y="2524760"/>
              <a:ext cx="217170" cy="117475"/>
            </a:xfrm>
            <a:custGeom>
              <a:avLst/>
              <a:gdLst/>
              <a:ahLst/>
              <a:cxnLst/>
              <a:rect l="l" t="t" r="r" b="b"/>
              <a:pathLst>
                <a:path w="217170" h="117475" extrusionOk="0">
                  <a:moveTo>
                    <a:pt x="176530" y="109220"/>
                  </a:moveTo>
                  <a:lnTo>
                    <a:pt x="200025" y="117475"/>
                  </a:lnTo>
                  <a:lnTo>
                    <a:pt x="217170" y="69215"/>
                  </a:lnTo>
                  <a:lnTo>
                    <a:pt x="193040" y="60960"/>
                  </a:lnTo>
                  <a:lnTo>
                    <a:pt x="40640" y="8255"/>
                  </a:lnTo>
                  <a:lnTo>
                    <a:pt x="16510" y="0"/>
                  </a:lnTo>
                  <a:lnTo>
                    <a:pt x="0" y="47625"/>
                  </a:lnTo>
                  <a:lnTo>
                    <a:pt x="24130" y="558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81" name="Google Shape;2481;p66"/>
            <p:cNvSpPr/>
            <p:nvPr/>
          </p:nvSpPr>
          <p:spPr>
            <a:xfrm>
              <a:off x="3339465" y="2886710"/>
              <a:ext cx="217169" cy="117475"/>
            </a:xfrm>
            <a:custGeom>
              <a:avLst/>
              <a:gdLst/>
              <a:ahLst/>
              <a:cxnLst/>
              <a:rect l="l" t="t" r="r" b="b"/>
              <a:pathLst>
                <a:path w="217169" h="117475" extrusionOk="0">
                  <a:moveTo>
                    <a:pt x="176530" y="109220"/>
                  </a:moveTo>
                  <a:lnTo>
                    <a:pt x="200025" y="117475"/>
                  </a:lnTo>
                  <a:lnTo>
                    <a:pt x="217170" y="69215"/>
                  </a:lnTo>
                  <a:lnTo>
                    <a:pt x="193040" y="60960"/>
                  </a:lnTo>
                  <a:lnTo>
                    <a:pt x="40640" y="8255"/>
                  </a:lnTo>
                  <a:lnTo>
                    <a:pt x="16510" y="0"/>
                  </a:lnTo>
                  <a:lnTo>
                    <a:pt x="0" y="47625"/>
                  </a:lnTo>
                  <a:lnTo>
                    <a:pt x="24130" y="558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82" name="Google Shape;2482;p66"/>
            <p:cNvSpPr/>
            <p:nvPr/>
          </p:nvSpPr>
          <p:spPr>
            <a:xfrm>
              <a:off x="3974465" y="3248660"/>
              <a:ext cx="217169" cy="117474"/>
            </a:xfrm>
            <a:custGeom>
              <a:avLst/>
              <a:gdLst/>
              <a:ahLst/>
              <a:cxnLst/>
              <a:rect l="l" t="t" r="r" b="b"/>
              <a:pathLst>
                <a:path w="217169" h="117474" extrusionOk="0">
                  <a:moveTo>
                    <a:pt x="176530" y="109220"/>
                  </a:moveTo>
                  <a:lnTo>
                    <a:pt x="200025" y="117475"/>
                  </a:lnTo>
                  <a:lnTo>
                    <a:pt x="217170" y="69215"/>
                  </a:lnTo>
                  <a:lnTo>
                    <a:pt x="193040" y="60960"/>
                  </a:lnTo>
                  <a:lnTo>
                    <a:pt x="40640" y="8255"/>
                  </a:lnTo>
                  <a:lnTo>
                    <a:pt x="16510" y="0"/>
                  </a:lnTo>
                  <a:lnTo>
                    <a:pt x="0" y="47625"/>
                  </a:lnTo>
                  <a:lnTo>
                    <a:pt x="24130" y="558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83" name="Google Shape;2483;p66"/>
            <p:cNvSpPr/>
            <p:nvPr/>
          </p:nvSpPr>
          <p:spPr>
            <a:xfrm>
              <a:off x="4609465" y="3610609"/>
              <a:ext cx="217169" cy="117475"/>
            </a:xfrm>
            <a:custGeom>
              <a:avLst/>
              <a:gdLst/>
              <a:ahLst/>
              <a:cxnLst/>
              <a:rect l="l" t="t" r="r" b="b"/>
              <a:pathLst>
                <a:path w="217169" h="117475" extrusionOk="0">
                  <a:moveTo>
                    <a:pt x="200025" y="117475"/>
                  </a:moveTo>
                  <a:lnTo>
                    <a:pt x="217170" y="69215"/>
                  </a:lnTo>
                  <a:lnTo>
                    <a:pt x="193040" y="60960"/>
                  </a:lnTo>
                  <a:lnTo>
                    <a:pt x="40640" y="8255"/>
                  </a:lnTo>
                  <a:lnTo>
                    <a:pt x="16510" y="0"/>
                  </a:lnTo>
                  <a:lnTo>
                    <a:pt x="0" y="47625"/>
                  </a:lnTo>
                  <a:lnTo>
                    <a:pt x="24130" y="55880"/>
                  </a:lnTo>
                  <a:lnTo>
                    <a:pt x="176530" y="10922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84" name="Google Shape;2484;p66"/>
            <p:cNvSpPr/>
            <p:nvPr/>
          </p:nvSpPr>
          <p:spPr>
            <a:xfrm>
              <a:off x="5244465" y="3972559"/>
              <a:ext cx="217169" cy="117475"/>
            </a:xfrm>
            <a:custGeom>
              <a:avLst/>
              <a:gdLst/>
              <a:ahLst/>
              <a:cxnLst/>
              <a:rect l="l" t="t" r="r" b="b"/>
              <a:pathLst>
                <a:path w="217169" h="117475" extrusionOk="0">
                  <a:moveTo>
                    <a:pt x="176530" y="109220"/>
                  </a:moveTo>
                  <a:lnTo>
                    <a:pt x="200025" y="117475"/>
                  </a:lnTo>
                  <a:lnTo>
                    <a:pt x="217170" y="69215"/>
                  </a:lnTo>
                  <a:lnTo>
                    <a:pt x="193040" y="60960"/>
                  </a:lnTo>
                  <a:lnTo>
                    <a:pt x="40640" y="8255"/>
                  </a:lnTo>
                  <a:lnTo>
                    <a:pt x="16510" y="0"/>
                  </a:lnTo>
                  <a:lnTo>
                    <a:pt x="0" y="47625"/>
                  </a:lnTo>
                  <a:lnTo>
                    <a:pt x="24130" y="558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85" name="Google Shape;2485;p66"/>
            <p:cNvSpPr/>
            <p:nvPr/>
          </p:nvSpPr>
          <p:spPr>
            <a:xfrm>
              <a:off x="5879465" y="4334509"/>
              <a:ext cx="217169" cy="117475"/>
            </a:xfrm>
            <a:custGeom>
              <a:avLst/>
              <a:gdLst/>
              <a:ahLst/>
              <a:cxnLst/>
              <a:rect l="l" t="t" r="r" b="b"/>
              <a:pathLst>
                <a:path w="217169" h="117475" extrusionOk="0">
                  <a:moveTo>
                    <a:pt x="176530" y="109220"/>
                  </a:moveTo>
                  <a:lnTo>
                    <a:pt x="200025" y="117475"/>
                  </a:lnTo>
                  <a:lnTo>
                    <a:pt x="217170" y="69215"/>
                  </a:lnTo>
                  <a:lnTo>
                    <a:pt x="193040" y="60960"/>
                  </a:lnTo>
                  <a:lnTo>
                    <a:pt x="40640" y="8255"/>
                  </a:lnTo>
                  <a:lnTo>
                    <a:pt x="16510" y="0"/>
                  </a:lnTo>
                  <a:lnTo>
                    <a:pt x="0" y="47625"/>
                  </a:lnTo>
                  <a:lnTo>
                    <a:pt x="24130" y="558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86" name="Google Shape;2486;p66"/>
            <p:cNvSpPr/>
            <p:nvPr/>
          </p:nvSpPr>
          <p:spPr>
            <a:xfrm>
              <a:off x="6514465" y="4696459"/>
              <a:ext cx="217169" cy="117475"/>
            </a:xfrm>
            <a:custGeom>
              <a:avLst/>
              <a:gdLst/>
              <a:ahLst/>
              <a:cxnLst/>
              <a:rect l="l" t="t" r="r" b="b"/>
              <a:pathLst>
                <a:path w="217169" h="117475" extrusionOk="0">
                  <a:moveTo>
                    <a:pt x="176530" y="109220"/>
                  </a:moveTo>
                  <a:lnTo>
                    <a:pt x="200025" y="117475"/>
                  </a:lnTo>
                  <a:lnTo>
                    <a:pt x="217170" y="69215"/>
                  </a:lnTo>
                  <a:lnTo>
                    <a:pt x="193040" y="60960"/>
                  </a:lnTo>
                  <a:lnTo>
                    <a:pt x="40640" y="8255"/>
                  </a:lnTo>
                  <a:lnTo>
                    <a:pt x="16510" y="0"/>
                  </a:lnTo>
                  <a:lnTo>
                    <a:pt x="0" y="47625"/>
                  </a:lnTo>
                  <a:lnTo>
                    <a:pt x="24130" y="558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87" name="Google Shape;2487;p66"/>
            <p:cNvSpPr/>
            <p:nvPr/>
          </p:nvSpPr>
          <p:spPr>
            <a:xfrm>
              <a:off x="7149465" y="5058409"/>
              <a:ext cx="217169" cy="117475"/>
            </a:xfrm>
            <a:custGeom>
              <a:avLst/>
              <a:gdLst/>
              <a:ahLst/>
              <a:cxnLst/>
              <a:rect l="l" t="t" r="r" b="b"/>
              <a:pathLst>
                <a:path w="217169" h="117475" extrusionOk="0">
                  <a:moveTo>
                    <a:pt x="16510" y="0"/>
                  </a:moveTo>
                  <a:lnTo>
                    <a:pt x="0" y="47625"/>
                  </a:lnTo>
                  <a:lnTo>
                    <a:pt x="24130" y="55880"/>
                  </a:lnTo>
                  <a:lnTo>
                    <a:pt x="176530" y="109220"/>
                  </a:lnTo>
                  <a:lnTo>
                    <a:pt x="200025" y="117475"/>
                  </a:lnTo>
                  <a:lnTo>
                    <a:pt x="217170" y="69215"/>
                  </a:lnTo>
                  <a:lnTo>
                    <a:pt x="193040" y="60960"/>
                  </a:lnTo>
                  <a:lnTo>
                    <a:pt x="40640" y="825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88" name="Google Shape;2488;p66"/>
            <p:cNvSpPr/>
            <p:nvPr/>
          </p:nvSpPr>
          <p:spPr>
            <a:xfrm>
              <a:off x="7784465" y="5420359"/>
              <a:ext cx="217169" cy="117475"/>
            </a:xfrm>
            <a:custGeom>
              <a:avLst/>
              <a:gdLst/>
              <a:ahLst/>
              <a:cxnLst/>
              <a:rect l="l" t="t" r="r" b="b"/>
              <a:pathLst>
                <a:path w="217169" h="117475" extrusionOk="0">
                  <a:moveTo>
                    <a:pt x="200025" y="117475"/>
                  </a:moveTo>
                  <a:lnTo>
                    <a:pt x="217170" y="69215"/>
                  </a:lnTo>
                  <a:lnTo>
                    <a:pt x="193040" y="60960"/>
                  </a:lnTo>
                  <a:lnTo>
                    <a:pt x="40640" y="8255"/>
                  </a:lnTo>
                  <a:lnTo>
                    <a:pt x="16510" y="0"/>
                  </a:lnTo>
                  <a:lnTo>
                    <a:pt x="0" y="47625"/>
                  </a:lnTo>
                  <a:lnTo>
                    <a:pt x="24130" y="55880"/>
                  </a:lnTo>
                  <a:lnTo>
                    <a:pt x="176530" y="10922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89" name="Google Shape;2489;p66"/>
            <p:cNvSpPr/>
            <p:nvPr/>
          </p:nvSpPr>
          <p:spPr>
            <a:xfrm>
              <a:off x="8419465" y="5782309"/>
              <a:ext cx="217169" cy="117475"/>
            </a:xfrm>
            <a:custGeom>
              <a:avLst/>
              <a:gdLst/>
              <a:ahLst/>
              <a:cxnLst/>
              <a:rect l="l" t="t" r="r" b="b"/>
              <a:pathLst>
                <a:path w="217169" h="117475" extrusionOk="0">
                  <a:moveTo>
                    <a:pt x="200025" y="117475"/>
                  </a:moveTo>
                  <a:lnTo>
                    <a:pt x="217170" y="69215"/>
                  </a:lnTo>
                  <a:lnTo>
                    <a:pt x="193040" y="60960"/>
                  </a:lnTo>
                  <a:lnTo>
                    <a:pt x="40640" y="8255"/>
                  </a:lnTo>
                  <a:lnTo>
                    <a:pt x="16510" y="0"/>
                  </a:lnTo>
                  <a:lnTo>
                    <a:pt x="0" y="47625"/>
                  </a:lnTo>
                  <a:lnTo>
                    <a:pt x="24130" y="55880"/>
                  </a:lnTo>
                  <a:lnTo>
                    <a:pt x="176530" y="10922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90" name="Google Shape;2490;p66"/>
            <p:cNvSpPr/>
            <p:nvPr/>
          </p:nvSpPr>
          <p:spPr>
            <a:xfrm>
              <a:off x="9054465" y="6144259"/>
              <a:ext cx="217169" cy="117475"/>
            </a:xfrm>
            <a:custGeom>
              <a:avLst/>
              <a:gdLst/>
              <a:ahLst/>
              <a:cxnLst/>
              <a:rect l="l" t="t" r="r" b="b"/>
              <a:pathLst>
                <a:path w="217169" h="117475" extrusionOk="0">
                  <a:moveTo>
                    <a:pt x="200025" y="117475"/>
                  </a:moveTo>
                  <a:lnTo>
                    <a:pt x="217170" y="69215"/>
                  </a:lnTo>
                  <a:lnTo>
                    <a:pt x="193040" y="60960"/>
                  </a:lnTo>
                  <a:lnTo>
                    <a:pt x="40640" y="8255"/>
                  </a:lnTo>
                  <a:lnTo>
                    <a:pt x="16510" y="0"/>
                  </a:lnTo>
                  <a:lnTo>
                    <a:pt x="0" y="47625"/>
                  </a:lnTo>
                  <a:lnTo>
                    <a:pt x="24130" y="55880"/>
                  </a:lnTo>
                  <a:lnTo>
                    <a:pt x="176530" y="10922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91" name="Google Shape;2491;p66"/>
            <p:cNvSpPr/>
            <p:nvPr/>
          </p:nvSpPr>
          <p:spPr>
            <a:xfrm>
              <a:off x="9689465" y="6506209"/>
              <a:ext cx="217169" cy="117475"/>
            </a:xfrm>
            <a:custGeom>
              <a:avLst/>
              <a:gdLst/>
              <a:ahLst/>
              <a:cxnLst/>
              <a:rect l="l" t="t" r="r" b="b"/>
              <a:pathLst>
                <a:path w="217169" h="117475" extrusionOk="0">
                  <a:moveTo>
                    <a:pt x="40640" y="8255"/>
                  </a:moveTo>
                  <a:lnTo>
                    <a:pt x="16510" y="0"/>
                  </a:lnTo>
                  <a:lnTo>
                    <a:pt x="0" y="47625"/>
                  </a:lnTo>
                  <a:lnTo>
                    <a:pt x="24130" y="55880"/>
                  </a:lnTo>
                  <a:lnTo>
                    <a:pt x="176530" y="109220"/>
                  </a:lnTo>
                  <a:lnTo>
                    <a:pt x="200025" y="117475"/>
                  </a:lnTo>
                  <a:lnTo>
                    <a:pt x="217170" y="69215"/>
                  </a:lnTo>
                  <a:lnTo>
                    <a:pt x="193040" y="6096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92" name="Google Shape;2492;p66"/>
            <p:cNvSpPr/>
            <p:nvPr/>
          </p:nvSpPr>
          <p:spPr>
            <a:xfrm>
              <a:off x="65405" y="698500"/>
              <a:ext cx="220979" cy="149860"/>
            </a:xfrm>
            <a:custGeom>
              <a:avLst/>
              <a:gdLst/>
              <a:ahLst/>
              <a:cxnLst/>
              <a:rect l="l" t="t" r="r" b="b"/>
              <a:pathLst>
                <a:path w="220979" h="149860" extrusionOk="0">
                  <a:moveTo>
                    <a:pt x="46355" y="12065"/>
                  </a:moveTo>
                  <a:lnTo>
                    <a:pt x="23495" y="0"/>
                  </a:lnTo>
                  <a:lnTo>
                    <a:pt x="0" y="44450"/>
                  </a:lnTo>
                  <a:lnTo>
                    <a:pt x="22225" y="56515"/>
                  </a:lnTo>
                  <a:lnTo>
                    <a:pt x="174625" y="138430"/>
                  </a:lnTo>
                  <a:lnTo>
                    <a:pt x="196850" y="149860"/>
                  </a:lnTo>
                  <a:lnTo>
                    <a:pt x="220980" y="105410"/>
                  </a:lnTo>
                  <a:lnTo>
                    <a:pt x="198755" y="9334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93" name="Google Shape;2493;p66"/>
            <p:cNvSpPr/>
            <p:nvPr/>
          </p:nvSpPr>
          <p:spPr>
            <a:xfrm>
              <a:off x="700405" y="1060450"/>
              <a:ext cx="220980" cy="149860"/>
            </a:xfrm>
            <a:custGeom>
              <a:avLst/>
              <a:gdLst/>
              <a:ahLst/>
              <a:cxnLst/>
              <a:rect l="l" t="t" r="r" b="b"/>
              <a:pathLst>
                <a:path w="220980" h="149860" extrusionOk="0">
                  <a:moveTo>
                    <a:pt x="46355" y="12065"/>
                  </a:moveTo>
                  <a:lnTo>
                    <a:pt x="23495" y="0"/>
                  </a:lnTo>
                  <a:lnTo>
                    <a:pt x="0" y="44450"/>
                  </a:lnTo>
                  <a:lnTo>
                    <a:pt x="22225" y="56515"/>
                  </a:lnTo>
                  <a:lnTo>
                    <a:pt x="174625" y="138430"/>
                  </a:lnTo>
                  <a:lnTo>
                    <a:pt x="196850" y="149860"/>
                  </a:lnTo>
                  <a:lnTo>
                    <a:pt x="220980" y="105410"/>
                  </a:lnTo>
                  <a:lnTo>
                    <a:pt x="198755" y="9334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94" name="Google Shape;2494;p66"/>
            <p:cNvSpPr/>
            <p:nvPr/>
          </p:nvSpPr>
          <p:spPr>
            <a:xfrm>
              <a:off x="1335405" y="1422400"/>
              <a:ext cx="220980" cy="149860"/>
            </a:xfrm>
            <a:custGeom>
              <a:avLst/>
              <a:gdLst/>
              <a:ahLst/>
              <a:cxnLst/>
              <a:rect l="l" t="t" r="r" b="b"/>
              <a:pathLst>
                <a:path w="220980" h="149860" extrusionOk="0">
                  <a:moveTo>
                    <a:pt x="23495" y="0"/>
                  </a:moveTo>
                  <a:lnTo>
                    <a:pt x="0" y="44450"/>
                  </a:lnTo>
                  <a:lnTo>
                    <a:pt x="22225" y="56515"/>
                  </a:lnTo>
                  <a:lnTo>
                    <a:pt x="174625" y="138430"/>
                  </a:lnTo>
                  <a:lnTo>
                    <a:pt x="196850" y="149860"/>
                  </a:lnTo>
                  <a:lnTo>
                    <a:pt x="220980" y="105410"/>
                  </a:lnTo>
                  <a:lnTo>
                    <a:pt x="198755" y="93345"/>
                  </a:lnTo>
                  <a:lnTo>
                    <a:pt x="46355" y="1206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95" name="Google Shape;2495;p66"/>
            <p:cNvSpPr/>
            <p:nvPr/>
          </p:nvSpPr>
          <p:spPr>
            <a:xfrm>
              <a:off x="1970404" y="1784350"/>
              <a:ext cx="220980" cy="149860"/>
            </a:xfrm>
            <a:custGeom>
              <a:avLst/>
              <a:gdLst/>
              <a:ahLst/>
              <a:cxnLst/>
              <a:rect l="l" t="t" r="r" b="b"/>
              <a:pathLst>
                <a:path w="220980" h="149860" extrusionOk="0">
                  <a:moveTo>
                    <a:pt x="174625" y="138430"/>
                  </a:moveTo>
                  <a:lnTo>
                    <a:pt x="196850" y="149860"/>
                  </a:lnTo>
                  <a:lnTo>
                    <a:pt x="220980" y="105410"/>
                  </a:lnTo>
                  <a:lnTo>
                    <a:pt x="198755" y="93345"/>
                  </a:lnTo>
                  <a:lnTo>
                    <a:pt x="46355" y="12065"/>
                  </a:lnTo>
                  <a:lnTo>
                    <a:pt x="23495" y="0"/>
                  </a:lnTo>
                  <a:lnTo>
                    <a:pt x="0" y="44450"/>
                  </a:lnTo>
                  <a:lnTo>
                    <a:pt x="22225"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96" name="Google Shape;2496;p66"/>
            <p:cNvSpPr/>
            <p:nvPr/>
          </p:nvSpPr>
          <p:spPr>
            <a:xfrm>
              <a:off x="2605404" y="2146300"/>
              <a:ext cx="220980" cy="149860"/>
            </a:xfrm>
            <a:custGeom>
              <a:avLst/>
              <a:gdLst/>
              <a:ahLst/>
              <a:cxnLst/>
              <a:rect l="l" t="t" r="r" b="b"/>
              <a:pathLst>
                <a:path w="220980" h="149860" extrusionOk="0">
                  <a:moveTo>
                    <a:pt x="174625" y="138430"/>
                  </a:moveTo>
                  <a:lnTo>
                    <a:pt x="196850" y="149860"/>
                  </a:lnTo>
                  <a:lnTo>
                    <a:pt x="220980" y="105410"/>
                  </a:lnTo>
                  <a:lnTo>
                    <a:pt x="198755" y="93345"/>
                  </a:lnTo>
                  <a:lnTo>
                    <a:pt x="46355" y="12065"/>
                  </a:lnTo>
                  <a:lnTo>
                    <a:pt x="23495" y="0"/>
                  </a:lnTo>
                  <a:lnTo>
                    <a:pt x="0" y="44450"/>
                  </a:lnTo>
                  <a:lnTo>
                    <a:pt x="22225"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97" name="Google Shape;2497;p66"/>
            <p:cNvSpPr/>
            <p:nvPr/>
          </p:nvSpPr>
          <p:spPr>
            <a:xfrm>
              <a:off x="3240404" y="2508250"/>
              <a:ext cx="220979" cy="149860"/>
            </a:xfrm>
            <a:custGeom>
              <a:avLst/>
              <a:gdLst/>
              <a:ahLst/>
              <a:cxnLst/>
              <a:rect l="l" t="t" r="r" b="b"/>
              <a:pathLst>
                <a:path w="220979" h="149860" extrusionOk="0">
                  <a:moveTo>
                    <a:pt x="174625" y="138430"/>
                  </a:moveTo>
                  <a:lnTo>
                    <a:pt x="196850" y="149860"/>
                  </a:lnTo>
                  <a:lnTo>
                    <a:pt x="220980" y="105410"/>
                  </a:lnTo>
                  <a:lnTo>
                    <a:pt x="198755" y="93345"/>
                  </a:lnTo>
                  <a:lnTo>
                    <a:pt x="46355" y="12065"/>
                  </a:lnTo>
                  <a:lnTo>
                    <a:pt x="23495" y="0"/>
                  </a:lnTo>
                  <a:lnTo>
                    <a:pt x="0" y="44450"/>
                  </a:lnTo>
                  <a:lnTo>
                    <a:pt x="22225"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98" name="Google Shape;2498;p66"/>
            <p:cNvSpPr/>
            <p:nvPr/>
          </p:nvSpPr>
          <p:spPr>
            <a:xfrm>
              <a:off x="3875404" y="2870200"/>
              <a:ext cx="220979" cy="149860"/>
            </a:xfrm>
            <a:custGeom>
              <a:avLst/>
              <a:gdLst/>
              <a:ahLst/>
              <a:cxnLst/>
              <a:rect l="l" t="t" r="r" b="b"/>
              <a:pathLst>
                <a:path w="220979" h="149860" extrusionOk="0">
                  <a:moveTo>
                    <a:pt x="196850" y="149860"/>
                  </a:moveTo>
                  <a:lnTo>
                    <a:pt x="220980" y="105410"/>
                  </a:lnTo>
                  <a:lnTo>
                    <a:pt x="198755" y="93345"/>
                  </a:lnTo>
                  <a:lnTo>
                    <a:pt x="46355" y="12065"/>
                  </a:lnTo>
                  <a:lnTo>
                    <a:pt x="23495" y="0"/>
                  </a:lnTo>
                  <a:lnTo>
                    <a:pt x="0" y="44450"/>
                  </a:lnTo>
                  <a:lnTo>
                    <a:pt x="22225" y="56515"/>
                  </a:lnTo>
                  <a:lnTo>
                    <a:pt x="174625" y="13843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499" name="Google Shape;2499;p66"/>
            <p:cNvSpPr/>
            <p:nvPr/>
          </p:nvSpPr>
          <p:spPr>
            <a:xfrm>
              <a:off x="4510404" y="3232150"/>
              <a:ext cx="220979" cy="149859"/>
            </a:xfrm>
            <a:custGeom>
              <a:avLst/>
              <a:gdLst/>
              <a:ahLst/>
              <a:cxnLst/>
              <a:rect l="l" t="t" r="r" b="b"/>
              <a:pathLst>
                <a:path w="220979" h="149859" extrusionOk="0">
                  <a:moveTo>
                    <a:pt x="174625" y="138430"/>
                  </a:moveTo>
                  <a:lnTo>
                    <a:pt x="196850" y="149860"/>
                  </a:lnTo>
                  <a:lnTo>
                    <a:pt x="220980" y="105410"/>
                  </a:lnTo>
                  <a:lnTo>
                    <a:pt x="198755" y="93345"/>
                  </a:lnTo>
                  <a:lnTo>
                    <a:pt x="46355" y="12065"/>
                  </a:lnTo>
                  <a:lnTo>
                    <a:pt x="23495" y="0"/>
                  </a:lnTo>
                  <a:lnTo>
                    <a:pt x="0" y="44450"/>
                  </a:lnTo>
                  <a:lnTo>
                    <a:pt x="22225"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00" name="Google Shape;2500;p66"/>
            <p:cNvSpPr/>
            <p:nvPr/>
          </p:nvSpPr>
          <p:spPr>
            <a:xfrm>
              <a:off x="5145404" y="3594100"/>
              <a:ext cx="220979" cy="149859"/>
            </a:xfrm>
            <a:custGeom>
              <a:avLst/>
              <a:gdLst/>
              <a:ahLst/>
              <a:cxnLst/>
              <a:rect l="l" t="t" r="r" b="b"/>
              <a:pathLst>
                <a:path w="220979" h="149859" extrusionOk="0">
                  <a:moveTo>
                    <a:pt x="174625" y="138430"/>
                  </a:moveTo>
                  <a:lnTo>
                    <a:pt x="196850" y="149860"/>
                  </a:lnTo>
                  <a:lnTo>
                    <a:pt x="220980" y="105410"/>
                  </a:lnTo>
                  <a:lnTo>
                    <a:pt x="198755" y="93345"/>
                  </a:lnTo>
                  <a:lnTo>
                    <a:pt x="46355" y="12065"/>
                  </a:lnTo>
                  <a:lnTo>
                    <a:pt x="23495" y="0"/>
                  </a:lnTo>
                  <a:lnTo>
                    <a:pt x="0" y="44450"/>
                  </a:lnTo>
                  <a:lnTo>
                    <a:pt x="22225"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01" name="Google Shape;2501;p66"/>
            <p:cNvSpPr/>
            <p:nvPr/>
          </p:nvSpPr>
          <p:spPr>
            <a:xfrm>
              <a:off x="5780404" y="3956050"/>
              <a:ext cx="220979" cy="149859"/>
            </a:xfrm>
            <a:custGeom>
              <a:avLst/>
              <a:gdLst/>
              <a:ahLst/>
              <a:cxnLst/>
              <a:rect l="l" t="t" r="r" b="b"/>
              <a:pathLst>
                <a:path w="220979" h="149859" extrusionOk="0">
                  <a:moveTo>
                    <a:pt x="174625" y="138430"/>
                  </a:moveTo>
                  <a:lnTo>
                    <a:pt x="196850" y="149860"/>
                  </a:lnTo>
                  <a:lnTo>
                    <a:pt x="220980" y="105410"/>
                  </a:lnTo>
                  <a:lnTo>
                    <a:pt x="198755" y="93345"/>
                  </a:lnTo>
                  <a:lnTo>
                    <a:pt x="46355" y="12065"/>
                  </a:lnTo>
                  <a:lnTo>
                    <a:pt x="23495" y="0"/>
                  </a:lnTo>
                  <a:lnTo>
                    <a:pt x="0" y="44450"/>
                  </a:lnTo>
                  <a:lnTo>
                    <a:pt x="22225"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02" name="Google Shape;2502;p66"/>
            <p:cNvSpPr/>
            <p:nvPr/>
          </p:nvSpPr>
          <p:spPr>
            <a:xfrm>
              <a:off x="6415404" y="4318000"/>
              <a:ext cx="220979" cy="149859"/>
            </a:xfrm>
            <a:custGeom>
              <a:avLst/>
              <a:gdLst/>
              <a:ahLst/>
              <a:cxnLst/>
              <a:rect l="l" t="t" r="r" b="b"/>
              <a:pathLst>
                <a:path w="220979" h="149859" extrusionOk="0">
                  <a:moveTo>
                    <a:pt x="23495" y="0"/>
                  </a:moveTo>
                  <a:lnTo>
                    <a:pt x="0" y="44450"/>
                  </a:lnTo>
                  <a:lnTo>
                    <a:pt x="22225" y="56515"/>
                  </a:lnTo>
                  <a:lnTo>
                    <a:pt x="174625" y="138430"/>
                  </a:lnTo>
                  <a:lnTo>
                    <a:pt x="196850" y="149860"/>
                  </a:lnTo>
                  <a:lnTo>
                    <a:pt x="220980" y="105410"/>
                  </a:lnTo>
                  <a:lnTo>
                    <a:pt x="198755" y="93345"/>
                  </a:lnTo>
                  <a:lnTo>
                    <a:pt x="46355" y="1206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03" name="Google Shape;2503;p66"/>
            <p:cNvSpPr/>
            <p:nvPr/>
          </p:nvSpPr>
          <p:spPr>
            <a:xfrm>
              <a:off x="7050405" y="4679950"/>
              <a:ext cx="220979" cy="149859"/>
            </a:xfrm>
            <a:custGeom>
              <a:avLst/>
              <a:gdLst/>
              <a:ahLst/>
              <a:cxnLst/>
              <a:rect l="l" t="t" r="r" b="b"/>
              <a:pathLst>
                <a:path w="220979" h="149859" extrusionOk="0">
                  <a:moveTo>
                    <a:pt x="196850" y="149860"/>
                  </a:moveTo>
                  <a:lnTo>
                    <a:pt x="220980" y="105410"/>
                  </a:lnTo>
                  <a:lnTo>
                    <a:pt x="198755" y="93345"/>
                  </a:lnTo>
                  <a:lnTo>
                    <a:pt x="46355" y="12065"/>
                  </a:lnTo>
                  <a:lnTo>
                    <a:pt x="23495" y="0"/>
                  </a:lnTo>
                  <a:lnTo>
                    <a:pt x="0" y="44450"/>
                  </a:lnTo>
                  <a:lnTo>
                    <a:pt x="22225" y="56515"/>
                  </a:lnTo>
                  <a:lnTo>
                    <a:pt x="174625" y="13843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04" name="Google Shape;2504;p66"/>
            <p:cNvSpPr/>
            <p:nvPr/>
          </p:nvSpPr>
          <p:spPr>
            <a:xfrm>
              <a:off x="7685405" y="5041900"/>
              <a:ext cx="220979" cy="149859"/>
            </a:xfrm>
            <a:custGeom>
              <a:avLst/>
              <a:gdLst/>
              <a:ahLst/>
              <a:cxnLst/>
              <a:rect l="l" t="t" r="r" b="b"/>
              <a:pathLst>
                <a:path w="220979" h="149859" extrusionOk="0">
                  <a:moveTo>
                    <a:pt x="196850" y="149860"/>
                  </a:moveTo>
                  <a:lnTo>
                    <a:pt x="220980" y="105410"/>
                  </a:lnTo>
                  <a:lnTo>
                    <a:pt x="198755" y="93345"/>
                  </a:lnTo>
                  <a:lnTo>
                    <a:pt x="46355" y="12065"/>
                  </a:lnTo>
                  <a:lnTo>
                    <a:pt x="23495" y="0"/>
                  </a:lnTo>
                  <a:lnTo>
                    <a:pt x="0" y="44450"/>
                  </a:lnTo>
                  <a:lnTo>
                    <a:pt x="22225" y="56515"/>
                  </a:lnTo>
                  <a:lnTo>
                    <a:pt x="174625" y="13843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05" name="Google Shape;2505;p66"/>
            <p:cNvSpPr/>
            <p:nvPr/>
          </p:nvSpPr>
          <p:spPr>
            <a:xfrm>
              <a:off x="8320405" y="5403850"/>
              <a:ext cx="220979" cy="149859"/>
            </a:xfrm>
            <a:custGeom>
              <a:avLst/>
              <a:gdLst/>
              <a:ahLst/>
              <a:cxnLst/>
              <a:rect l="l" t="t" r="r" b="b"/>
              <a:pathLst>
                <a:path w="220979" h="149859" extrusionOk="0">
                  <a:moveTo>
                    <a:pt x="196850" y="149860"/>
                  </a:moveTo>
                  <a:lnTo>
                    <a:pt x="220980" y="105410"/>
                  </a:lnTo>
                  <a:lnTo>
                    <a:pt x="198755" y="93345"/>
                  </a:lnTo>
                  <a:lnTo>
                    <a:pt x="46355" y="12065"/>
                  </a:lnTo>
                  <a:lnTo>
                    <a:pt x="23495" y="0"/>
                  </a:lnTo>
                  <a:lnTo>
                    <a:pt x="0" y="44450"/>
                  </a:lnTo>
                  <a:lnTo>
                    <a:pt x="22225" y="56515"/>
                  </a:lnTo>
                  <a:lnTo>
                    <a:pt x="174625" y="13843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06" name="Google Shape;2506;p66"/>
            <p:cNvSpPr/>
            <p:nvPr/>
          </p:nvSpPr>
          <p:spPr>
            <a:xfrm>
              <a:off x="8955405" y="5765800"/>
              <a:ext cx="220979" cy="149859"/>
            </a:xfrm>
            <a:custGeom>
              <a:avLst/>
              <a:gdLst/>
              <a:ahLst/>
              <a:cxnLst/>
              <a:rect l="l" t="t" r="r" b="b"/>
              <a:pathLst>
                <a:path w="220979" h="149859" extrusionOk="0">
                  <a:moveTo>
                    <a:pt x="196850" y="149860"/>
                  </a:moveTo>
                  <a:lnTo>
                    <a:pt x="220980" y="105410"/>
                  </a:lnTo>
                  <a:lnTo>
                    <a:pt x="198755" y="93345"/>
                  </a:lnTo>
                  <a:lnTo>
                    <a:pt x="46355" y="12065"/>
                  </a:lnTo>
                  <a:lnTo>
                    <a:pt x="23495" y="0"/>
                  </a:lnTo>
                  <a:lnTo>
                    <a:pt x="0" y="44450"/>
                  </a:lnTo>
                  <a:lnTo>
                    <a:pt x="22225" y="56515"/>
                  </a:lnTo>
                  <a:lnTo>
                    <a:pt x="174625" y="13843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07" name="Google Shape;2507;p66"/>
            <p:cNvSpPr/>
            <p:nvPr/>
          </p:nvSpPr>
          <p:spPr>
            <a:xfrm>
              <a:off x="9590405" y="6127750"/>
              <a:ext cx="220979" cy="149859"/>
            </a:xfrm>
            <a:custGeom>
              <a:avLst/>
              <a:gdLst/>
              <a:ahLst/>
              <a:cxnLst/>
              <a:rect l="l" t="t" r="r" b="b"/>
              <a:pathLst>
                <a:path w="220979" h="149859" extrusionOk="0">
                  <a:moveTo>
                    <a:pt x="196850" y="149860"/>
                  </a:moveTo>
                  <a:lnTo>
                    <a:pt x="220980" y="105410"/>
                  </a:lnTo>
                  <a:lnTo>
                    <a:pt x="198755" y="93345"/>
                  </a:lnTo>
                  <a:lnTo>
                    <a:pt x="46355" y="12065"/>
                  </a:lnTo>
                  <a:lnTo>
                    <a:pt x="23495" y="0"/>
                  </a:lnTo>
                  <a:lnTo>
                    <a:pt x="0" y="44450"/>
                  </a:lnTo>
                  <a:lnTo>
                    <a:pt x="22225" y="56515"/>
                  </a:lnTo>
                  <a:lnTo>
                    <a:pt x="174625" y="13843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08" name="Google Shape;2508;p66"/>
            <p:cNvSpPr/>
            <p:nvPr/>
          </p:nvSpPr>
          <p:spPr>
            <a:xfrm>
              <a:off x="10225405" y="6489700"/>
              <a:ext cx="220979" cy="149859"/>
            </a:xfrm>
            <a:custGeom>
              <a:avLst/>
              <a:gdLst/>
              <a:ahLst/>
              <a:cxnLst/>
              <a:rect l="l" t="t" r="r" b="b"/>
              <a:pathLst>
                <a:path w="220979" h="149859" extrusionOk="0">
                  <a:moveTo>
                    <a:pt x="46355" y="12065"/>
                  </a:moveTo>
                  <a:lnTo>
                    <a:pt x="23495" y="0"/>
                  </a:lnTo>
                  <a:lnTo>
                    <a:pt x="0" y="44450"/>
                  </a:lnTo>
                  <a:lnTo>
                    <a:pt x="22225" y="56515"/>
                  </a:lnTo>
                  <a:lnTo>
                    <a:pt x="174625" y="138430"/>
                  </a:lnTo>
                  <a:lnTo>
                    <a:pt x="196850" y="149860"/>
                  </a:lnTo>
                  <a:lnTo>
                    <a:pt x="220980" y="105410"/>
                  </a:lnTo>
                  <a:lnTo>
                    <a:pt x="198755" y="9334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09" name="Google Shape;2509;p66"/>
            <p:cNvSpPr/>
            <p:nvPr/>
          </p:nvSpPr>
          <p:spPr>
            <a:xfrm>
              <a:off x="10880725" y="6851650"/>
              <a:ext cx="15875" cy="6350"/>
            </a:xfrm>
            <a:custGeom>
              <a:avLst/>
              <a:gdLst/>
              <a:ahLst/>
              <a:cxnLst/>
              <a:rect l="l" t="t" r="r" b="b"/>
              <a:pathLst>
                <a:path w="15875" h="6350" extrusionOk="0">
                  <a:moveTo>
                    <a:pt x="0" y="6350"/>
                  </a:moveTo>
                  <a:lnTo>
                    <a:pt x="15875" y="6350"/>
                  </a:lnTo>
                  <a:lnTo>
                    <a:pt x="317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10" name="Google Shape;2510;p66"/>
            <p:cNvSpPr/>
            <p:nvPr/>
          </p:nvSpPr>
          <p:spPr>
            <a:xfrm>
              <a:off x="0" y="352425"/>
              <a:ext cx="151129" cy="147955"/>
            </a:xfrm>
            <a:custGeom>
              <a:avLst/>
              <a:gdLst/>
              <a:ahLst/>
              <a:cxnLst/>
              <a:rect l="l" t="t" r="r" b="b"/>
              <a:pathLst>
                <a:path w="151129" h="147955" extrusionOk="0">
                  <a:moveTo>
                    <a:pt x="100965" y="133350"/>
                  </a:moveTo>
                  <a:lnTo>
                    <a:pt x="121920" y="147955"/>
                  </a:lnTo>
                  <a:lnTo>
                    <a:pt x="151130" y="106680"/>
                  </a:lnTo>
                  <a:lnTo>
                    <a:pt x="130175" y="92075"/>
                  </a:lnTo>
                  <a:lnTo>
                    <a:pt x="0" y="0"/>
                  </a:lnTo>
                  <a:lnTo>
                    <a:pt x="0" y="6223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11" name="Google Shape;2511;p66"/>
            <p:cNvSpPr/>
            <p:nvPr/>
          </p:nvSpPr>
          <p:spPr>
            <a:xfrm>
              <a:off x="563244" y="684530"/>
              <a:ext cx="222885" cy="177800"/>
            </a:xfrm>
            <a:custGeom>
              <a:avLst/>
              <a:gdLst/>
              <a:ahLst/>
              <a:cxnLst/>
              <a:rect l="l" t="t" r="r" b="b"/>
              <a:pathLst>
                <a:path w="222885" h="177800" extrusionOk="0">
                  <a:moveTo>
                    <a:pt x="49530" y="14605"/>
                  </a:moveTo>
                  <a:lnTo>
                    <a:pt x="29210" y="0"/>
                  </a:lnTo>
                  <a:lnTo>
                    <a:pt x="0" y="41910"/>
                  </a:lnTo>
                  <a:lnTo>
                    <a:pt x="20320" y="56515"/>
                  </a:lnTo>
                  <a:lnTo>
                    <a:pt x="172720" y="163195"/>
                  </a:lnTo>
                  <a:lnTo>
                    <a:pt x="193675" y="177800"/>
                  </a:lnTo>
                  <a:lnTo>
                    <a:pt x="222885" y="136525"/>
                  </a:lnTo>
                  <a:lnTo>
                    <a:pt x="201930" y="12192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12" name="Google Shape;2512;p66"/>
            <p:cNvSpPr/>
            <p:nvPr/>
          </p:nvSpPr>
          <p:spPr>
            <a:xfrm>
              <a:off x="1198244" y="1046480"/>
              <a:ext cx="222885" cy="177800"/>
            </a:xfrm>
            <a:custGeom>
              <a:avLst/>
              <a:gdLst/>
              <a:ahLst/>
              <a:cxnLst/>
              <a:rect l="l" t="t" r="r" b="b"/>
              <a:pathLst>
                <a:path w="222885" h="177800" extrusionOk="0">
                  <a:moveTo>
                    <a:pt x="49530" y="14605"/>
                  </a:moveTo>
                  <a:lnTo>
                    <a:pt x="29210" y="0"/>
                  </a:lnTo>
                  <a:lnTo>
                    <a:pt x="0" y="41910"/>
                  </a:lnTo>
                  <a:lnTo>
                    <a:pt x="20320" y="56515"/>
                  </a:lnTo>
                  <a:lnTo>
                    <a:pt x="172720" y="163195"/>
                  </a:lnTo>
                  <a:lnTo>
                    <a:pt x="193675" y="177800"/>
                  </a:lnTo>
                  <a:lnTo>
                    <a:pt x="222885" y="136525"/>
                  </a:lnTo>
                  <a:lnTo>
                    <a:pt x="201930" y="12192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13" name="Google Shape;2513;p66"/>
            <p:cNvSpPr/>
            <p:nvPr/>
          </p:nvSpPr>
          <p:spPr>
            <a:xfrm>
              <a:off x="1833245" y="1408430"/>
              <a:ext cx="222884" cy="177800"/>
            </a:xfrm>
            <a:custGeom>
              <a:avLst/>
              <a:gdLst/>
              <a:ahLst/>
              <a:cxnLst/>
              <a:rect l="l" t="t" r="r" b="b"/>
              <a:pathLst>
                <a:path w="222884" h="177800" extrusionOk="0">
                  <a:moveTo>
                    <a:pt x="193675" y="177800"/>
                  </a:moveTo>
                  <a:lnTo>
                    <a:pt x="222885" y="136525"/>
                  </a:lnTo>
                  <a:lnTo>
                    <a:pt x="201930" y="121920"/>
                  </a:lnTo>
                  <a:lnTo>
                    <a:pt x="49530" y="14605"/>
                  </a:lnTo>
                  <a:lnTo>
                    <a:pt x="29210" y="0"/>
                  </a:lnTo>
                  <a:lnTo>
                    <a:pt x="0" y="41910"/>
                  </a:lnTo>
                  <a:lnTo>
                    <a:pt x="20320" y="56515"/>
                  </a:lnTo>
                  <a:lnTo>
                    <a:pt x="172720" y="16319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14" name="Google Shape;2514;p66"/>
            <p:cNvSpPr/>
            <p:nvPr/>
          </p:nvSpPr>
          <p:spPr>
            <a:xfrm>
              <a:off x="2468245" y="1770379"/>
              <a:ext cx="222884" cy="177800"/>
            </a:xfrm>
            <a:custGeom>
              <a:avLst/>
              <a:gdLst/>
              <a:ahLst/>
              <a:cxnLst/>
              <a:rect l="l" t="t" r="r" b="b"/>
              <a:pathLst>
                <a:path w="222884" h="177800" extrusionOk="0">
                  <a:moveTo>
                    <a:pt x="193675" y="177800"/>
                  </a:moveTo>
                  <a:lnTo>
                    <a:pt x="222885" y="136525"/>
                  </a:lnTo>
                  <a:lnTo>
                    <a:pt x="201930" y="121920"/>
                  </a:lnTo>
                  <a:lnTo>
                    <a:pt x="49530" y="14605"/>
                  </a:lnTo>
                  <a:lnTo>
                    <a:pt x="29210" y="0"/>
                  </a:lnTo>
                  <a:lnTo>
                    <a:pt x="0" y="41910"/>
                  </a:lnTo>
                  <a:lnTo>
                    <a:pt x="20320" y="56515"/>
                  </a:lnTo>
                  <a:lnTo>
                    <a:pt x="172720" y="16319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15" name="Google Shape;2515;p66"/>
            <p:cNvSpPr/>
            <p:nvPr/>
          </p:nvSpPr>
          <p:spPr>
            <a:xfrm>
              <a:off x="3103245" y="2132329"/>
              <a:ext cx="222884" cy="177800"/>
            </a:xfrm>
            <a:custGeom>
              <a:avLst/>
              <a:gdLst/>
              <a:ahLst/>
              <a:cxnLst/>
              <a:rect l="l" t="t" r="r" b="b"/>
              <a:pathLst>
                <a:path w="222884" h="177800" extrusionOk="0">
                  <a:moveTo>
                    <a:pt x="193675" y="177800"/>
                  </a:moveTo>
                  <a:lnTo>
                    <a:pt x="222885" y="136525"/>
                  </a:lnTo>
                  <a:lnTo>
                    <a:pt x="201930" y="121920"/>
                  </a:lnTo>
                  <a:lnTo>
                    <a:pt x="49530" y="14605"/>
                  </a:lnTo>
                  <a:lnTo>
                    <a:pt x="29210" y="0"/>
                  </a:lnTo>
                  <a:lnTo>
                    <a:pt x="0" y="41910"/>
                  </a:lnTo>
                  <a:lnTo>
                    <a:pt x="20320" y="56515"/>
                  </a:lnTo>
                  <a:lnTo>
                    <a:pt x="172720" y="16319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16" name="Google Shape;2516;p66"/>
            <p:cNvSpPr/>
            <p:nvPr/>
          </p:nvSpPr>
          <p:spPr>
            <a:xfrm>
              <a:off x="3738245" y="2494279"/>
              <a:ext cx="222884" cy="177800"/>
            </a:xfrm>
            <a:custGeom>
              <a:avLst/>
              <a:gdLst/>
              <a:ahLst/>
              <a:cxnLst/>
              <a:rect l="l" t="t" r="r" b="b"/>
              <a:pathLst>
                <a:path w="222884" h="177800" extrusionOk="0">
                  <a:moveTo>
                    <a:pt x="172720" y="163195"/>
                  </a:moveTo>
                  <a:lnTo>
                    <a:pt x="193675" y="177800"/>
                  </a:lnTo>
                  <a:lnTo>
                    <a:pt x="222885" y="136525"/>
                  </a:lnTo>
                  <a:lnTo>
                    <a:pt x="201930" y="121920"/>
                  </a:lnTo>
                  <a:lnTo>
                    <a:pt x="49530" y="14605"/>
                  </a:lnTo>
                  <a:lnTo>
                    <a:pt x="29210" y="0"/>
                  </a:lnTo>
                  <a:lnTo>
                    <a:pt x="0" y="41910"/>
                  </a:lnTo>
                  <a:lnTo>
                    <a:pt x="20320"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17" name="Google Shape;2517;p66"/>
            <p:cNvSpPr/>
            <p:nvPr/>
          </p:nvSpPr>
          <p:spPr>
            <a:xfrm>
              <a:off x="4373245" y="2856229"/>
              <a:ext cx="222884" cy="177800"/>
            </a:xfrm>
            <a:custGeom>
              <a:avLst/>
              <a:gdLst/>
              <a:ahLst/>
              <a:cxnLst/>
              <a:rect l="l" t="t" r="r" b="b"/>
              <a:pathLst>
                <a:path w="222884" h="177800" extrusionOk="0">
                  <a:moveTo>
                    <a:pt x="172720" y="163195"/>
                  </a:moveTo>
                  <a:lnTo>
                    <a:pt x="193675" y="177800"/>
                  </a:lnTo>
                  <a:lnTo>
                    <a:pt x="222885" y="136525"/>
                  </a:lnTo>
                  <a:lnTo>
                    <a:pt x="201930" y="121920"/>
                  </a:lnTo>
                  <a:lnTo>
                    <a:pt x="49530" y="14605"/>
                  </a:lnTo>
                  <a:lnTo>
                    <a:pt x="29210" y="0"/>
                  </a:lnTo>
                  <a:lnTo>
                    <a:pt x="0" y="41910"/>
                  </a:lnTo>
                  <a:lnTo>
                    <a:pt x="20320"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18" name="Google Shape;2518;p66"/>
            <p:cNvSpPr/>
            <p:nvPr/>
          </p:nvSpPr>
          <p:spPr>
            <a:xfrm>
              <a:off x="5008245" y="3218179"/>
              <a:ext cx="222884" cy="177800"/>
            </a:xfrm>
            <a:custGeom>
              <a:avLst/>
              <a:gdLst/>
              <a:ahLst/>
              <a:cxnLst/>
              <a:rect l="l" t="t" r="r" b="b"/>
              <a:pathLst>
                <a:path w="222884" h="177800" extrusionOk="0">
                  <a:moveTo>
                    <a:pt x="172720" y="163195"/>
                  </a:moveTo>
                  <a:lnTo>
                    <a:pt x="193675" y="177800"/>
                  </a:lnTo>
                  <a:lnTo>
                    <a:pt x="222885" y="136525"/>
                  </a:lnTo>
                  <a:lnTo>
                    <a:pt x="201930" y="121920"/>
                  </a:lnTo>
                  <a:lnTo>
                    <a:pt x="49530" y="14605"/>
                  </a:lnTo>
                  <a:lnTo>
                    <a:pt x="29210" y="0"/>
                  </a:lnTo>
                  <a:lnTo>
                    <a:pt x="0" y="41910"/>
                  </a:lnTo>
                  <a:lnTo>
                    <a:pt x="20320"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19" name="Google Shape;2519;p66"/>
            <p:cNvSpPr/>
            <p:nvPr/>
          </p:nvSpPr>
          <p:spPr>
            <a:xfrm>
              <a:off x="5643245" y="3580129"/>
              <a:ext cx="222884" cy="177800"/>
            </a:xfrm>
            <a:custGeom>
              <a:avLst/>
              <a:gdLst/>
              <a:ahLst/>
              <a:cxnLst/>
              <a:rect l="l" t="t" r="r" b="b"/>
              <a:pathLst>
                <a:path w="222884" h="177800" extrusionOk="0">
                  <a:moveTo>
                    <a:pt x="172720" y="163195"/>
                  </a:moveTo>
                  <a:lnTo>
                    <a:pt x="193675" y="177800"/>
                  </a:lnTo>
                  <a:lnTo>
                    <a:pt x="222885" y="136525"/>
                  </a:lnTo>
                  <a:lnTo>
                    <a:pt x="201930" y="121920"/>
                  </a:lnTo>
                  <a:lnTo>
                    <a:pt x="49530" y="14605"/>
                  </a:lnTo>
                  <a:lnTo>
                    <a:pt x="29210" y="0"/>
                  </a:lnTo>
                  <a:lnTo>
                    <a:pt x="0" y="41910"/>
                  </a:lnTo>
                  <a:lnTo>
                    <a:pt x="20320"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20" name="Google Shape;2520;p66"/>
            <p:cNvSpPr/>
            <p:nvPr/>
          </p:nvSpPr>
          <p:spPr>
            <a:xfrm>
              <a:off x="6278245" y="3942079"/>
              <a:ext cx="222884" cy="177800"/>
            </a:xfrm>
            <a:custGeom>
              <a:avLst/>
              <a:gdLst/>
              <a:ahLst/>
              <a:cxnLst/>
              <a:rect l="l" t="t" r="r" b="b"/>
              <a:pathLst>
                <a:path w="222884" h="177800" extrusionOk="0">
                  <a:moveTo>
                    <a:pt x="193675" y="177800"/>
                  </a:moveTo>
                  <a:lnTo>
                    <a:pt x="222885" y="136525"/>
                  </a:lnTo>
                  <a:lnTo>
                    <a:pt x="201930" y="121920"/>
                  </a:lnTo>
                  <a:lnTo>
                    <a:pt x="49530" y="14605"/>
                  </a:lnTo>
                  <a:lnTo>
                    <a:pt x="29210" y="0"/>
                  </a:lnTo>
                  <a:lnTo>
                    <a:pt x="0" y="41910"/>
                  </a:lnTo>
                  <a:lnTo>
                    <a:pt x="20320" y="56515"/>
                  </a:lnTo>
                  <a:lnTo>
                    <a:pt x="172720" y="16319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21" name="Google Shape;2521;p66"/>
            <p:cNvSpPr/>
            <p:nvPr/>
          </p:nvSpPr>
          <p:spPr>
            <a:xfrm>
              <a:off x="6913244" y="4304029"/>
              <a:ext cx="222885" cy="177800"/>
            </a:xfrm>
            <a:custGeom>
              <a:avLst/>
              <a:gdLst/>
              <a:ahLst/>
              <a:cxnLst/>
              <a:rect l="l" t="t" r="r" b="b"/>
              <a:pathLst>
                <a:path w="222885" h="177800" extrusionOk="0">
                  <a:moveTo>
                    <a:pt x="193675" y="177800"/>
                  </a:moveTo>
                  <a:lnTo>
                    <a:pt x="222886" y="136525"/>
                  </a:lnTo>
                  <a:lnTo>
                    <a:pt x="201930" y="121920"/>
                  </a:lnTo>
                  <a:lnTo>
                    <a:pt x="49530" y="14605"/>
                  </a:lnTo>
                  <a:lnTo>
                    <a:pt x="29211" y="0"/>
                  </a:lnTo>
                  <a:lnTo>
                    <a:pt x="0" y="41910"/>
                  </a:lnTo>
                  <a:lnTo>
                    <a:pt x="20320" y="56515"/>
                  </a:lnTo>
                  <a:lnTo>
                    <a:pt x="172720" y="16319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22" name="Google Shape;2522;p66"/>
            <p:cNvSpPr/>
            <p:nvPr/>
          </p:nvSpPr>
          <p:spPr>
            <a:xfrm>
              <a:off x="7548244" y="4665979"/>
              <a:ext cx="222885" cy="177800"/>
            </a:xfrm>
            <a:custGeom>
              <a:avLst/>
              <a:gdLst/>
              <a:ahLst/>
              <a:cxnLst/>
              <a:rect l="l" t="t" r="r" b="b"/>
              <a:pathLst>
                <a:path w="222885" h="177800" extrusionOk="0">
                  <a:moveTo>
                    <a:pt x="193675" y="177800"/>
                  </a:moveTo>
                  <a:lnTo>
                    <a:pt x="222886" y="136525"/>
                  </a:lnTo>
                  <a:lnTo>
                    <a:pt x="201930" y="121920"/>
                  </a:lnTo>
                  <a:lnTo>
                    <a:pt x="49530" y="14605"/>
                  </a:lnTo>
                  <a:lnTo>
                    <a:pt x="29211" y="0"/>
                  </a:lnTo>
                  <a:lnTo>
                    <a:pt x="0" y="41910"/>
                  </a:lnTo>
                  <a:lnTo>
                    <a:pt x="20320" y="56515"/>
                  </a:lnTo>
                  <a:lnTo>
                    <a:pt x="172720" y="16319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23" name="Google Shape;2523;p66"/>
            <p:cNvSpPr/>
            <p:nvPr/>
          </p:nvSpPr>
          <p:spPr>
            <a:xfrm>
              <a:off x="8183244" y="5027929"/>
              <a:ext cx="222885" cy="177800"/>
            </a:xfrm>
            <a:custGeom>
              <a:avLst/>
              <a:gdLst/>
              <a:ahLst/>
              <a:cxnLst/>
              <a:rect l="l" t="t" r="r" b="b"/>
              <a:pathLst>
                <a:path w="222885" h="177800" extrusionOk="0">
                  <a:moveTo>
                    <a:pt x="193675" y="177800"/>
                  </a:moveTo>
                  <a:lnTo>
                    <a:pt x="222886" y="136525"/>
                  </a:lnTo>
                  <a:lnTo>
                    <a:pt x="201930" y="121920"/>
                  </a:lnTo>
                  <a:lnTo>
                    <a:pt x="49530" y="14605"/>
                  </a:lnTo>
                  <a:lnTo>
                    <a:pt x="29211" y="0"/>
                  </a:lnTo>
                  <a:lnTo>
                    <a:pt x="0" y="41910"/>
                  </a:lnTo>
                  <a:lnTo>
                    <a:pt x="20320" y="56515"/>
                  </a:lnTo>
                  <a:lnTo>
                    <a:pt x="172720" y="16319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24" name="Google Shape;2524;p66"/>
            <p:cNvSpPr/>
            <p:nvPr/>
          </p:nvSpPr>
          <p:spPr>
            <a:xfrm>
              <a:off x="8818244" y="5389879"/>
              <a:ext cx="222885" cy="177800"/>
            </a:xfrm>
            <a:custGeom>
              <a:avLst/>
              <a:gdLst/>
              <a:ahLst/>
              <a:cxnLst/>
              <a:rect l="l" t="t" r="r" b="b"/>
              <a:pathLst>
                <a:path w="222885" h="177800" extrusionOk="0">
                  <a:moveTo>
                    <a:pt x="193675" y="177800"/>
                  </a:moveTo>
                  <a:lnTo>
                    <a:pt x="222886" y="136525"/>
                  </a:lnTo>
                  <a:lnTo>
                    <a:pt x="201930" y="121920"/>
                  </a:lnTo>
                  <a:lnTo>
                    <a:pt x="49530" y="14605"/>
                  </a:lnTo>
                  <a:lnTo>
                    <a:pt x="29211" y="0"/>
                  </a:lnTo>
                  <a:lnTo>
                    <a:pt x="0" y="41910"/>
                  </a:lnTo>
                  <a:lnTo>
                    <a:pt x="20320" y="56515"/>
                  </a:lnTo>
                  <a:lnTo>
                    <a:pt x="172720" y="16319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25" name="Google Shape;2525;p66"/>
            <p:cNvSpPr/>
            <p:nvPr/>
          </p:nvSpPr>
          <p:spPr>
            <a:xfrm>
              <a:off x="9453244" y="5751829"/>
              <a:ext cx="222885" cy="177800"/>
            </a:xfrm>
            <a:custGeom>
              <a:avLst/>
              <a:gdLst/>
              <a:ahLst/>
              <a:cxnLst/>
              <a:rect l="l" t="t" r="r" b="b"/>
              <a:pathLst>
                <a:path w="222885" h="177800" extrusionOk="0">
                  <a:moveTo>
                    <a:pt x="193675" y="177800"/>
                  </a:moveTo>
                  <a:lnTo>
                    <a:pt x="222886" y="136525"/>
                  </a:lnTo>
                  <a:lnTo>
                    <a:pt x="201930" y="121920"/>
                  </a:lnTo>
                  <a:lnTo>
                    <a:pt x="49530" y="14605"/>
                  </a:lnTo>
                  <a:lnTo>
                    <a:pt x="29211" y="0"/>
                  </a:lnTo>
                  <a:lnTo>
                    <a:pt x="0" y="41910"/>
                  </a:lnTo>
                  <a:lnTo>
                    <a:pt x="20320" y="56515"/>
                  </a:lnTo>
                  <a:lnTo>
                    <a:pt x="172720" y="16319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26" name="Google Shape;2526;p66"/>
            <p:cNvSpPr/>
            <p:nvPr/>
          </p:nvSpPr>
          <p:spPr>
            <a:xfrm>
              <a:off x="10088244" y="6113779"/>
              <a:ext cx="222885" cy="177800"/>
            </a:xfrm>
            <a:custGeom>
              <a:avLst/>
              <a:gdLst/>
              <a:ahLst/>
              <a:cxnLst/>
              <a:rect l="l" t="t" r="r" b="b"/>
              <a:pathLst>
                <a:path w="222885" h="177800" extrusionOk="0">
                  <a:moveTo>
                    <a:pt x="193675" y="177800"/>
                  </a:moveTo>
                  <a:lnTo>
                    <a:pt x="222886" y="136525"/>
                  </a:lnTo>
                  <a:lnTo>
                    <a:pt x="201930" y="121920"/>
                  </a:lnTo>
                  <a:lnTo>
                    <a:pt x="49530" y="14605"/>
                  </a:lnTo>
                  <a:lnTo>
                    <a:pt x="29211" y="0"/>
                  </a:lnTo>
                  <a:lnTo>
                    <a:pt x="0" y="41910"/>
                  </a:lnTo>
                  <a:lnTo>
                    <a:pt x="20320" y="56515"/>
                  </a:lnTo>
                  <a:lnTo>
                    <a:pt x="172720" y="16319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27" name="Google Shape;2527;p66"/>
            <p:cNvSpPr/>
            <p:nvPr/>
          </p:nvSpPr>
          <p:spPr>
            <a:xfrm>
              <a:off x="10723244" y="6475729"/>
              <a:ext cx="222885" cy="177800"/>
            </a:xfrm>
            <a:custGeom>
              <a:avLst/>
              <a:gdLst/>
              <a:ahLst/>
              <a:cxnLst/>
              <a:rect l="l" t="t" r="r" b="b"/>
              <a:pathLst>
                <a:path w="222885" h="177800" extrusionOk="0">
                  <a:moveTo>
                    <a:pt x="49530" y="14605"/>
                  </a:moveTo>
                  <a:lnTo>
                    <a:pt x="29211" y="0"/>
                  </a:lnTo>
                  <a:lnTo>
                    <a:pt x="0" y="41910"/>
                  </a:lnTo>
                  <a:lnTo>
                    <a:pt x="20320" y="56515"/>
                  </a:lnTo>
                  <a:lnTo>
                    <a:pt x="172720" y="163195"/>
                  </a:lnTo>
                  <a:lnTo>
                    <a:pt x="193675" y="177800"/>
                  </a:lnTo>
                  <a:lnTo>
                    <a:pt x="222886" y="136525"/>
                  </a:lnTo>
                  <a:lnTo>
                    <a:pt x="201930" y="12192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28" name="Google Shape;2528;p66"/>
            <p:cNvSpPr/>
            <p:nvPr/>
          </p:nvSpPr>
          <p:spPr>
            <a:xfrm>
              <a:off x="11372850" y="6837680"/>
              <a:ext cx="43180" cy="20319"/>
            </a:xfrm>
            <a:custGeom>
              <a:avLst/>
              <a:gdLst/>
              <a:ahLst/>
              <a:cxnLst/>
              <a:rect l="l" t="t" r="r" b="b"/>
              <a:pathLst>
                <a:path w="43180" h="20319" extrusionOk="0">
                  <a:moveTo>
                    <a:pt x="14605" y="0"/>
                  </a:moveTo>
                  <a:lnTo>
                    <a:pt x="0" y="20320"/>
                  </a:lnTo>
                  <a:lnTo>
                    <a:pt x="43180" y="20320"/>
                  </a:lnTo>
                  <a:lnTo>
                    <a:pt x="34925" y="1460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29" name="Google Shape;2529;p66"/>
            <p:cNvSpPr/>
            <p:nvPr/>
          </p:nvSpPr>
          <p:spPr>
            <a:xfrm>
              <a:off x="392429" y="311784"/>
              <a:ext cx="224154" cy="199390"/>
            </a:xfrm>
            <a:custGeom>
              <a:avLst/>
              <a:gdLst/>
              <a:ahLst/>
              <a:cxnLst/>
              <a:rect l="l" t="t" r="r" b="b"/>
              <a:pathLst>
                <a:path w="224154" h="199390" extrusionOk="0">
                  <a:moveTo>
                    <a:pt x="19685" y="55245"/>
                  </a:moveTo>
                  <a:lnTo>
                    <a:pt x="172085" y="183515"/>
                  </a:lnTo>
                  <a:lnTo>
                    <a:pt x="191770" y="199390"/>
                  </a:lnTo>
                  <a:lnTo>
                    <a:pt x="224155" y="160655"/>
                  </a:lnTo>
                  <a:lnTo>
                    <a:pt x="205105" y="144145"/>
                  </a:lnTo>
                  <a:lnTo>
                    <a:pt x="52705" y="16510"/>
                  </a:lnTo>
                  <a:lnTo>
                    <a:pt x="33020" y="0"/>
                  </a:lnTo>
                  <a:lnTo>
                    <a:pt x="0" y="3873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30" name="Google Shape;2530;p66"/>
            <p:cNvSpPr/>
            <p:nvPr/>
          </p:nvSpPr>
          <p:spPr>
            <a:xfrm>
              <a:off x="1027430" y="673734"/>
              <a:ext cx="224155" cy="199390"/>
            </a:xfrm>
            <a:custGeom>
              <a:avLst/>
              <a:gdLst/>
              <a:ahLst/>
              <a:cxnLst/>
              <a:rect l="l" t="t" r="r" b="b"/>
              <a:pathLst>
                <a:path w="224155" h="199390" extrusionOk="0">
                  <a:moveTo>
                    <a:pt x="52705" y="16510"/>
                  </a:moveTo>
                  <a:lnTo>
                    <a:pt x="33020" y="0"/>
                  </a:lnTo>
                  <a:lnTo>
                    <a:pt x="0" y="38735"/>
                  </a:lnTo>
                  <a:lnTo>
                    <a:pt x="19685" y="55245"/>
                  </a:lnTo>
                  <a:lnTo>
                    <a:pt x="172085" y="183515"/>
                  </a:lnTo>
                  <a:lnTo>
                    <a:pt x="191770" y="199390"/>
                  </a:lnTo>
                  <a:lnTo>
                    <a:pt x="224155" y="160655"/>
                  </a:lnTo>
                  <a:lnTo>
                    <a:pt x="205105" y="14414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31" name="Google Shape;2531;p66"/>
            <p:cNvSpPr/>
            <p:nvPr/>
          </p:nvSpPr>
          <p:spPr>
            <a:xfrm>
              <a:off x="1662429" y="1035685"/>
              <a:ext cx="224155" cy="199389"/>
            </a:xfrm>
            <a:custGeom>
              <a:avLst/>
              <a:gdLst/>
              <a:ahLst/>
              <a:cxnLst/>
              <a:rect l="l" t="t" r="r" b="b"/>
              <a:pathLst>
                <a:path w="224155" h="199389" extrusionOk="0">
                  <a:moveTo>
                    <a:pt x="52705" y="16510"/>
                  </a:moveTo>
                  <a:lnTo>
                    <a:pt x="33020" y="0"/>
                  </a:lnTo>
                  <a:lnTo>
                    <a:pt x="0" y="38735"/>
                  </a:lnTo>
                  <a:lnTo>
                    <a:pt x="19685" y="55245"/>
                  </a:lnTo>
                  <a:lnTo>
                    <a:pt x="172085" y="183515"/>
                  </a:lnTo>
                  <a:lnTo>
                    <a:pt x="191770" y="199390"/>
                  </a:lnTo>
                  <a:lnTo>
                    <a:pt x="224155" y="160655"/>
                  </a:lnTo>
                  <a:lnTo>
                    <a:pt x="205105" y="14414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32" name="Google Shape;2532;p66"/>
            <p:cNvSpPr/>
            <p:nvPr/>
          </p:nvSpPr>
          <p:spPr>
            <a:xfrm>
              <a:off x="2297429" y="1397635"/>
              <a:ext cx="224155" cy="199389"/>
            </a:xfrm>
            <a:custGeom>
              <a:avLst/>
              <a:gdLst/>
              <a:ahLst/>
              <a:cxnLst/>
              <a:rect l="l" t="t" r="r" b="b"/>
              <a:pathLst>
                <a:path w="224155" h="199389" extrusionOk="0">
                  <a:moveTo>
                    <a:pt x="52705" y="16510"/>
                  </a:moveTo>
                  <a:lnTo>
                    <a:pt x="33020" y="0"/>
                  </a:lnTo>
                  <a:lnTo>
                    <a:pt x="0" y="38735"/>
                  </a:lnTo>
                  <a:lnTo>
                    <a:pt x="19685" y="55245"/>
                  </a:lnTo>
                  <a:lnTo>
                    <a:pt x="172085" y="183515"/>
                  </a:lnTo>
                  <a:lnTo>
                    <a:pt x="191770" y="199390"/>
                  </a:lnTo>
                  <a:lnTo>
                    <a:pt x="224155" y="160655"/>
                  </a:lnTo>
                  <a:lnTo>
                    <a:pt x="205105" y="14414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33" name="Google Shape;2533;p66"/>
            <p:cNvSpPr/>
            <p:nvPr/>
          </p:nvSpPr>
          <p:spPr>
            <a:xfrm>
              <a:off x="2932429" y="1759585"/>
              <a:ext cx="224155" cy="199389"/>
            </a:xfrm>
            <a:custGeom>
              <a:avLst/>
              <a:gdLst/>
              <a:ahLst/>
              <a:cxnLst/>
              <a:rect l="l" t="t" r="r" b="b"/>
              <a:pathLst>
                <a:path w="224155" h="199389" extrusionOk="0">
                  <a:moveTo>
                    <a:pt x="191770" y="199390"/>
                  </a:moveTo>
                  <a:lnTo>
                    <a:pt x="224155" y="160655"/>
                  </a:lnTo>
                  <a:lnTo>
                    <a:pt x="205105" y="144145"/>
                  </a:lnTo>
                  <a:lnTo>
                    <a:pt x="52705" y="16510"/>
                  </a:lnTo>
                  <a:lnTo>
                    <a:pt x="33020" y="0"/>
                  </a:lnTo>
                  <a:lnTo>
                    <a:pt x="0" y="38735"/>
                  </a:lnTo>
                  <a:lnTo>
                    <a:pt x="19685" y="55245"/>
                  </a:lnTo>
                  <a:lnTo>
                    <a:pt x="172085" y="183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34" name="Google Shape;2534;p66"/>
            <p:cNvSpPr/>
            <p:nvPr/>
          </p:nvSpPr>
          <p:spPr>
            <a:xfrm>
              <a:off x="3567429" y="2121535"/>
              <a:ext cx="224154" cy="199389"/>
            </a:xfrm>
            <a:custGeom>
              <a:avLst/>
              <a:gdLst/>
              <a:ahLst/>
              <a:cxnLst/>
              <a:rect l="l" t="t" r="r" b="b"/>
              <a:pathLst>
                <a:path w="224154" h="199389" extrusionOk="0">
                  <a:moveTo>
                    <a:pt x="191770" y="199390"/>
                  </a:moveTo>
                  <a:lnTo>
                    <a:pt x="224155" y="160655"/>
                  </a:lnTo>
                  <a:lnTo>
                    <a:pt x="205105" y="144145"/>
                  </a:lnTo>
                  <a:lnTo>
                    <a:pt x="52705" y="16510"/>
                  </a:lnTo>
                  <a:lnTo>
                    <a:pt x="33020" y="0"/>
                  </a:lnTo>
                  <a:lnTo>
                    <a:pt x="0" y="38735"/>
                  </a:lnTo>
                  <a:lnTo>
                    <a:pt x="19685" y="55245"/>
                  </a:lnTo>
                  <a:lnTo>
                    <a:pt x="172085" y="183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35" name="Google Shape;2535;p66"/>
            <p:cNvSpPr/>
            <p:nvPr/>
          </p:nvSpPr>
          <p:spPr>
            <a:xfrm>
              <a:off x="4202429" y="2483485"/>
              <a:ext cx="224154" cy="199389"/>
            </a:xfrm>
            <a:custGeom>
              <a:avLst/>
              <a:gdLst/>
              <a:ahLst/>
              <a:cxnLst/>
              <a:rect l="l" t="t" r="r" b="b"/>
              <a:pathLst>
                <a:path w="224154" h="199389" extrusionOk="0">
                  <a:moveTo>
                    <a:pt x="191770" y="199390"/>
                  </a:moveTo>
                  <a:lnTo>
                    <a:pt x="224155" y="160655"/>
                  </a:lnTo>
                  <a:lnTo>
                    <a:pt x="205105" y="144145"/>
                  </a:lnTo>
                  <a:lnTo>
                    <a:pt x="52705" y="16510"/>
                  </a:lnTo>
                  <a:lnTo>
                    <a:pt x="33020" y="0"/>
                  </a:lnTo>
                  <a:lnTo>
                    <a:pt x="0" y="38735"/>
                  </a:lnTo>
                  <a:lnTo>
                    <a:pt x="19685" y="55245"/>
                  </a:lnTo>
                  <a:lnTo>
                    <a:pt x="172085" y="183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36" name="Google Shape;2536;p66"/>
            <p:cNvSpPr/>
            <p:nvPr/>
          </p:nvSpPr>
          <p:spPr>
            <a:xfrm>
              <a:off x="4837429" y="2845435"/>
              <a:ext cx="224154" cy="199389"/>
            </a:xfrm>
            <a:custGeom>
              <a:avLst/>
              <a:gdLst/>
              <a:ahLst/>
              <a:cxnLst/>
              <a:rect l="l" t="t" r="r" b="b"/>
              <a:pathLst>
                <a:path w="224154" h="199389" extrusionOk="0">
                  <a:moveTo>
                    <a:pt x="191770" y="199390"/>
                  </a:moveTo>
                  <a:lnTo>
                    <a:pt x="224155" y="160655"/>
                  </a:lnTo>
                  <a:lnTo>
                    <a:pt x="205105" y="144145"/>
                  </a:lnTo>
                  <a:lnTo>
                    <a:pt x="52705" y="16510"/>
                  </a:lnTo>
                  <a:lnTo>
                    <a:pt x="33020" y="0"/>
                  </a:lnTo>
                  <a:lnTo>
                    <a:pt x="0" y="38735"/>
                  </a:lnTo>
                  <a:lnTo>
                    <a:pt x="19685" y="55245"/>
                  </a:lnTo>
                  <a:lnTo>
                    <a:pt x="172085" y="183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37" name="Google Shape;2537;p66"/>
            <p:cNvSpPr/>
            <p:nvPr/>
          </p:nvSpPr>
          <p:spPr>
            <a:xfrm>
              <a:off x="5472429" y="3207385"/>
              <a:ext cx="224154" cy="199389"/>
            </a:xfrm>
            <a:custGeom>
              <a:avLst/>
              <a:gdLst/>
              <a:ahLst/>
              <a:cxnLst/>
              <a:rect l="l" t="t" r="r" b="b"/>
              <a:pathLst>
                <a:path w="224154" h="199389" extrusionOk="0">
                  <a:moveTo>
                    <a:pt x="191770" y="199390"/>
                  </a:moveTo>
                  <a:lnTo>
                    <a:pt x="224155" y="160655"/>
                  </a:lnTo>
                  <a:lnTo>
                    <a:pt x="205105" y="144145"/>
                  </a:lnTo>
                  <a:lnTo>
                    <a:pt x="52705" y="16510"/>
                  </a:lnTo>
                  <a:lnTo>
                    <a:pt x="33020" y="0"/>
                  </a:lnTo>
                  <a:lnTo>
                    <a:pt x="0" y="38735"/>
                  </a:lnTo>
                  <a:lnTo>
                    <a:pt x="19685" y="55245"/>
                  </a:lnTo>
                  <a:lnTo>
                    <a:pt x="172085" y="183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38" name="Google Shape;2538;p66"/>
            <p:cNvSpPr/>
            <p:nvPr/>
          </p:nvSpPr>
          <p:spPr>
            <a:xfrm>
              <a:off x="6107429" y="3569334"/>
              <a:ext cx="224154" cy="199390"/>
            </a:xfrm>
            <a:custGeom>
              <a:avLst/>
              <a:gdLst/>
              <a:ahLst/>
              <a:cxnLst/>
              <a:rect l="l" t="t" r="r" b="b"/>
              <a:pathLst>
                <a:path w="224154" h="199390" extrusionOk="0">
                  <a:moveTo>
                    <a:pt x="191770" y="199390"/>
                  </a:moveTo>
                  <a:lnTo>
                    <a:pt x="224155" y="160655"/>
                  </a:lnTo>
                  <a:lnTo>
                    <a:pt x="205105" y="144145"/>
                  </a:lnTo>
                  <a:lnTo>
                    <a:pt x="52705" y="16510"/>
                  </a:lnTo>
                  <a:lnTo>
                    <a:pt x="33020" y="0"/>
                  </a:lnTo>
                  <a:lnTo>
                    <a:pt x="0" y="38735"/>
                  </a:lnTo>
                  <a:lnTo>
                    <a:pt x="19685" y="55245"/>
                  </a:lnTo>
                  <a:lnTo>
                    <a:pt x="172085" y="183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39" name="Google Shape;2539;p66"/>
            <p:cNvSpPr/>
            <p:nvPr/>
          </p:nvSpPr>
          <p:spPr>
            <a:xfrm>
              <a:off x="6742430" y="3931284"/>
              <a:ext cx="224154" cy="199390"/>
            </a:xfrm>
            <a:custGeom>
              <a:avLst/>
              <a:gdLst/>
              <a:ahLst/>
              <a:cxnLst/>
              <a:rect l="l" t="t" r="r" b="b"/>
              <a:pathLst>
                <a:path w="224154" h="199390" extrusionOk="0">
                  <a:moveTo>
                    <a:pt x="191770" y="199390"/>
                  </a:moveTo>
                  <a:lnTo>
                    <a:pt x="224155" y="160655"/>
                  </a:lnTo>
                  <a:lnTo>
                    <a:pt x="205105" y="144145"/>
                  </a:lnTo>
                  <a:lnTo>
                    <a:pt x="52705" y="16510"/>
                  </a:lnTo>
                  <a:lnTo>
                    <a:pt x="33020" y="0"/>
                  </a:lnTo>
                  <a:lnTo>
                    <a:pt x="0" y="38735"/>
                  </a:lnTo>
                  <a:lnTo>
                    <a:pt x="19685" y="55245"/>
                  </a:lnTo>
                  <a:lnTo>
                    <a:pt x="172085" y="183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40" name="Google Shape;2540;p66"/>
            <p:cNvSpPr/>
            <p:nvPr/>
          </p:nvSpPr>
          <p:spPr>
            <a:xfrm>
              <a:off x="7377430" y="4293234"/>
              <a:ext cx="224154" cy="199390"/>
            </a:xfrm>
            <a:custGeom>
              <a:avLst/>
              <a:gdLst/>
              <a:ahLst/>
              <a:cxnLst/>
              <a:rect l="l" t="t" r="r" b="b"/>
              <a:pathLst>
                <a:path w="224154" h="199390" extrusionOk="0">
                  <a:moveTo>
                    <a:pt x="191770" y="199390"/>
                  </a:moveTo>
                  <a:lnTo>
                    <a:pt x="224155" y="160655"/>
                  </a:lnTo>
                  <a:lnTo>
                    <a:pt x="205105" y="144145"/>
                  </a:lnTo>
                  <a:lnTo>
                    <a:pt x="52705" y="16510"/>
                  </a:lnTo>
                  <a:lnTo>
                    <a:pt x="33020" y="0"/>
                  </a:lnTo>
                  <a:lnTo>
                    <a:pt x="0" y="38735"/>
                  </a:lnTo>
                  <a:lnTo>
                    <a:pt x="19685" y="55245"/>
                  </a:lnTo>
                  <a:lnTo>
                    <a:pt x="172085" y="183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41" name="Google Shape;2541;p66"/>
            <p:cNvSpPr/>
            <p:nvPr/>
          </p:nvSpPr>
          <p:spPr>
            <a:xfrm>
              <a:off x="8012430" y="4655184"/>
              <a:ext cx="224154" cy="199390"/>
            </a:xfrm>
            <a:custGeom>
              <a:avLst/>
              <a:gdLst/>
              <a:ahLst/>
              <a:cxnLst/>
              <a:rect l="l" t="t" r="r" b="b"/>
              <a:pathLst>
                <a:path w="224154" h="199390" extrusionOk="0">
                  <a:moveTo>
                    <a:pt x="191770" y="199390"/>
                  </a:moveTo>
                  <a:lnTo>
                    <a:pt x="224155" y="160655"/>
                  </a:lnTo>
                  <a:lnTo>
                    <a:pt x="205105" y="144145"/>
                  </a:lnTo>
                  <a:lnTo>
                    <a:pt x="52705" y="16510"/>
                  </a:lnTo>
                  <a:lnTo>
                    <a:pt x="33020" y="0"/>
                  </a:lnTo>
                  <a:lnTo>
                    <a:pt x="0" y="38735"/>
                  </a:lnTo>
                  <a:lnTo>
                    <a:pt x="19685" y="55245"/>
                  </a:lnTo>
                  <a:lnTo>
                    <a:pt x="172085" y="183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42" name="Google Shape;2542;p66"/>
            <p:cNvSpPr/>
            <p:nvPr/>
          </p:nvSpPr>
          <p:spPr>
            <a:xfrm>
              <a:off x="8647430" y="5017134"/>
              <a:ext cx="224154" cy="199390"/>
            </a:xfrm>
            <a:custGeom>
              <a:avLst/>
              <a:gdLst/>
              <a:ahLst/>
              <a:cxnLst/>
              <a:rect l="l" t="t" r="r" b="b"/>
              <a:pathLst>
                <a:path w="224154" h="199390" extrusionOk="0">
                  <a:moveTo>
                    <a:pt x="172085" y="183515"/>
                  </a:moveTo>
                  <a:lnTo>
                    <a:pt x="191770" y="199390"/>
                  </a:lnTo>
                  <a:lnTo>
                    <a:pt x="224155" y="160655"/>
                  </a:lnTo>
                  <a:lnTo>
                    <a:pt x="205105" y="144145"/>
                  </a:lnTo>
                  <a:lnTo>
                    <a:pt x="52705" y="16510"/>
                  </a:lnTo>
                  <a:lnTo>
                    <a:pt x="33020" y="0"/>
                  </a:lnTo>
                  <a:lnTo>
                    <a:pt x="0" y="38735"/>
                  </a:lnTo>
                  <a:lnTo>
                    <a:pt x="19685" y="5524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43" name="Google Shape;2543;p66"/>
            <p:cNvSpPr/>
            <p:nvPr/>
          </p:nvSpPr>
          <p:spPr>
            <a:xfrm>
              <a:off x="9282430" y="5379084"/>
              <a:ext cx="224154" cy="199390"/>
            </a:xfrm>
            <a:custGeom>
              <a:avLst/>
              <a:gdLst/>
              <a:ahLst/>
              <a:cxnLst/>
              <a:rect l="l" t="t" r="r" b="b"/>
              <a:pathLst>
                <a:path w="224154" h="199390" extrusionOk="0">
                  <a:moveTo>
                    <a:pt x="172085" y="183515"/>
                  </a:moveTo>
                  <a:lnTo>
                    <a:pt x="191770" y="199390"/>
                  </a:lnTo>
                  <a:lnTo>
                    <a:pt x="224155" y="160655"/>
                  </a:lnTo>
                  <a:lnTo>
                    <a:pt x="205105" y="144145"/>
                  </a:lnTo>
                  <a:lnTo>
                    <a:pt x="52705" y="16510"/>
                  </a:lnTo>
                  <a:lnTo>
                    <a:pt x="33020" y="0"/>
                  </a:lnTo>
                  <a:lnTo>
                    <a:pt x="0" y="38735"/>
                  </a:lnTo>
                  <a:lnTo>
                    <a:pt x="19685" y="5524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44" name="Google Shape;2544;p66"/>
            <p:cNvSpPr/>
            <p:nvPr/>
          </p:nvSpPr>
          <p:spPr>
            <a:xfrm>
              <a:off x="9917430" y="5741034"/>
              <a:ext cx="224154" cy="199390"/>
            </a:xfrm>
            <a:custGeom>
              <a:avLst/>
              <a:gdLst/>
              <a:ahLst/>
              <a:cxnLst/>
              <a:rect l="l" t="t" r="r" b="b"/>
              <a:pathLst>
                <a:path w="224154" h="199390" extrusionOk="0">
                  <a:moveTo>
                    <a:pt x="191770" y="199390"/>
                  </a:moveTo>
                  <a:lnTo>
                    <a:pt x="224155" y="160655"/>
                  </a:lnTo>
                  <a:lnTo>
                    <a:pt x="205105" y="144145"/>
                  </a:lnTo>
                  <a:lnTo>
                    <a:pt x="52705" y="16510"/>
                  </a:lnTo>
                  <a:lnTo>
                    <a:pt x="33020" y="0"/>
                  </a:lnTo>
                  <a:lnTo>
                    <a:pt x="0" y="38735"/>
                  </a:lnTo>
                  <a:lnTo>
                    <a:pt x="19685" y="55245"/>
                  </a:lnTo>
                  <a:lnTo>
                    <a:pt x="172085" y="183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45" name="Google Shape;2545;p66"/>
            <p:cNvSpPr/>
            <p:nvPr/>
          </p:nvSpPr>
          <p:spPr>
            <a:xfrm>
              <a:off x="10552430" y="6102984"/>
              <a:ext cx="224154" cy="199390"/>
            </a:xfrm>
            <a:custGeom>
              <a:avLst/>
              <a:gdLst/>
              <a:ahLst/>
              <a:cxnLst/>
              <a:rect l="l" t="t" r="r" b="b"/>
              <a:pathLst>
                <a:path w="224154" h="199390" extrusionOk="0">
                  <a:moveTo>
                    <a:pt x="191770" y="199390"/>
                  </a:moveTo>
                  <a:lnTo>
                    <a:pt x="224155" y="160655"/>
                  </a:lnTo>
                  <a:lnTo>
                    <a:pt x="205105" y="144145"/>
                  </a:lnTo>
                  <a:lnTo>
                    <a:pt x="52705" y="16510"/>
                  </a:lnTo>
                  <a:lnTo>
                    <a:pt x="33020" y="0"/>
                  </a:lnTo>
                  <a:lnTo>
                    <a:pt x="0" y="38735"/>
                  </a:lnTo>
                  <a:lnTo>
                    <a:pt x="19685" y="55245"/>
                  </a:lnTo>
                  <a:lnTo>
                    <a:pt x="172085" y="183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46" name="Google Shape;2546;p66"/>
            <p:cNvSpPr/>
            <p:nvPr/>
          </p:nvSpPr>
          <p:spPr>
            <a:xfrm>
              <a:off x="11187430" y="6464934"/>
              <a:ext cx="224154" cy="199390"/>
            </a:xfrm>
            <a:custGeom>
              <a:avLst/>
              <a:gdLst/>
              <a:ahLst/>
              <a:cxnLst/>
              <a:rect l="l" t="t" r="r" b="b"/>
              <a:pathLst>
                <a:path w="224154" h="199390" extrusionOk="0">
                  <a:moveTo>
                    <a:pt x="224155" y="160655"/>
                  </a:moveTo>
                  <a:lnTo>
                    <a:pt x="205105" y="144145"/>
                  </a:lnTo>
                  <a:lnTo>
                    <a:pt x="52705" y="16510"/>
                  </a:lnTo>
                  <a:lnTo>
                    <a:pt x="33020" y="0"/>
                  </a:lnTo>
                  <a:lnTo>
                    <a:pt x="0" y="38735"/>
                  </a:lnTo>
                  <a:lnTo>
                    <a:pt x="19685" y="55245"/>
                  </a:lnTo>
                  <a:lnTo>
                    <a:pt x="172085" y="183515"/>
                  </a:lnTo>
                  <a:lnTo>
                    <a:pt x="191770" y="19939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47" name="Google Shape;2547;p66"/>
            <p:cNvSpPr/>
            <p:nvPr/>
          </p:nvSpPr>
          <p:spPr>
            <a:xfrm>
              <a:off x="11829415" y="6826884"/>
              <a:ext cx="62865" cy="31115"/>
            </a:xfrm>
            <a:custGeom>
              <a:avLst/>
              <a:gdLst/>
              <a:ahLst/>
              <a:cxnLst/>
              <a:rect l="l" t="t" r="r" b="b"/>
              <a:pathLst>
                <a:path w="62865" h="31115" extrusionOk="0">
                  <a:moveTo>
                    <a:pt x="26035" y="0"/>
                  </a:moveTo>
                  <a:lnTo>
                    <a:pt x="0" y="31115"/>
                  </a:lnTo>
                  <a:lnTo>
                    <a:pt x="62865" y="31115"/>
                  </a:lnTo>
                  <a:lnTo>
                    <a:pt x="45720" y="1651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48" name="Google Shape;2548;p66"/>
            <p:cNvSpPr/>
            <p:nvPr/>
          </p:nvSpPr>
          <p:spPr>
            <a:xfrm>
              <a:off x="218440" y="0"/>
              <a:ext cx="201294" cy="157479"/>
            </a:xfrm>
            <a:custGeom>
              <a:avLst/>
              <a:gdLst/>
              <a:ahLst/>
              <a:cxnLst/>
              <a:rect l="l" t="t" r="r" b="b"/>
              <a:pathLst>
                <a:path w="201294" h="157479" extrusionOk="0">
                  <a:moveTo>
                    <a:pt x="166370" y="157480"/>
                  </a:moveTo>
                  <a:lnTo>
                    <a:pt x="201295" y="120650"/>
                  </a:lnTo>
                  <a:lnTo>
                    <a:pt x="182880" y="103505"/>
                  </a:lnTo>
                  <a:lnTo>
                    <a:pt x="74295" y="0"/>
                  </a:lnTo>
                  <a:lnTo>
                    <a:pt x="0" y="0"/>
                  </a:lnTo>
                  <a:lnTo>
                    <a:pt x="147955" y="14033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49" name="Google Shape;2549;p66"/>
            <p:cNvSpPr/>
            <p:nvPr/>
          </p:nvSpPr>
          <p:spPr>
            <a:xfrm>
              <a:off x="830580" y="303529"/>
              <a:ext cx="224155" cy="215900"/>
            </a:xfrm>
            <a:custGeom>
              <a:avLst/>
              <a:gdLst/>
              <a:ahLst/>
              <a:cxnLst/>
              <a:rect l="l" t="t" r="r" b="b"/>
              <a:pathLst>
                <a:path w="224155" h="215900" extrusionOk="0">
                  <a:moveTo>
                    <a:pt x="18415" y="54610"/>
                  </a:moveTo>
                  <a:lnTo>
                    <a:pt x="170815" y="198755"/>
                  </a:lnTo>
                  <a:lnTo>
                    <a:pt x="189230" y="215900"/>
                  </a:lnTo>
                  <a:lnTo>
                    <a:pt x="224155" y="179070"/>
                  </a:lnTo>
                  <a:lnTo>
                    <a:pt x="205740" y="161925"/>
                  </a:lnTo>
                  <a:lnTo>
                    <a:pt x="53340" y="17145"/>
                  </a:lnTo>
                  <a:lnTo>
                    <a:pt x="34925" y="0"/>
                  </a:lnTo>
                  <a:lnTo>
                    <a:pt x="0" y="3683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50" name="Google Shape;2550;p66"/>
            <p:cNvSpPr/>
            <p:nvPr/>
          </p:nvSpPr>
          <p:spPr>
            <a:xfrm>
              <a:off x="1465580" y="665480"/>
              <a:ext cx="224155" cy="215900"/>
            </a:xfrm>
            <a:custGeom>
              <a:avLst/>
              <a:gdLst/>
              <a:ahLst/>
              <a:cxnLst/>
              <a:rect l="l" t="t" r="r" b="b"/>
              <a:pathLst>
                <a:path w="224155" h="215900" extrusionOk="0">
                  <a:moveTo>
                    <a:pt x="53340" y="17145"/>
                  </a:moveTo>
                  <a:lnTo>
                    <a:pt x="34925" y="0"/>
                  </a:lnTo>
                  <a:lnTo>
                    <a:pt x="0" y="36830"/>
                  </a:lnTo>
                  <a:lnTo>
                    <a:pt x="18415" y="54610"/>
                  </a:lnTo>
                  <a:lnTo>
                    <a:pt x="170815" y="198755"/>
                  </a:lnTo>
                  <a:lnTo>
                    <a:pt x="189230" y="215900"/>
                  </a:lnTo>
                  <a:lnTo>
                    <a:pt x="224155" y="179070"/>
                  </a:lnTo>
                  <a:lnTo>
                    <a:pt x="205740" y="16192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51" name="Google Shape;2551;p66"/>
            <p:cNvSpPr/>
            <p:nvPr/>
          </p:nvSpPr>
          <p:spPr>
            <a:xfrm>
              <a:off x="2100579" y="1027430"/>
              <a:ext cx="224155" cy="215900"/>
            </a:xfrm>
            <a:custGeom>
              <a:avLst/>
              <a:gdLst/>
              <a:ahLst/>
              <a:cxnLst/>
              <a:rect l="l" t="t" r="r" b="b"/>
              <a:pathLst>
                <a:path w="224155" h="215900" extrusionOk="0">
                  <a:moveTo>
                    <a:pt x="53340" y="17145"/>
                  </a:moveTo>
                  <a:lnTo>
                    <a:pt x="34925" y="0"/>
                  </a:lnTo>
                  <a:lnTo>
                    <a:pt x="0" y="36830"/>
                  </a:lnTo>
                  <a:lnTo>
                    <a:pt x="18415" y="54610"/>
                  </a:lnTo>
                  <a:lnTo>
                    <a:pt x="170815" y="198755"/>
                  </a:lnTo>
                  <a:lnTo>
                    <a:pt x="189230" y="215900"/>
                  </a:lnTo>
                  <a:lnTo>
                    <a:pt x="224155" y="179070"/>
                  </a:lnTo>
                  <a:lnTo>
                    <a:pt x="205740" y="16192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52" name="Google Shape;2552;p66"/>
            <p:cNvSpPr/>
            <p:nvPr/>
          </p:nvSpPr>
          <p:spPr>
            <a:xfrm>
              <a:off x="2735579" y="1389380"/>
              <a:ext cx="224155" cy="215900"/>
            </a:xfrm>
            <a:custGeom>
              <a:avLst/>
              <a:gdLst/>
              <a:ahLst/>
              <a:cxnLst/>
              <a:rect l="l" t="t" r="r" b="b"/>
              <a:pathLst>
                <a:path w="224155" h="215900" extrusionOk="0">
                  <a:moveTo>
                    <a:pt x="34925" y="0"/>
                  </a:moveTo>
                  <a:lnTo>
                    <a:pt x="0" y="36830"/>
                  </a:lnTo>
                  <a:lnTo>
                    <a:pt x="18415" y="54610"/>
                  </a:lnTo>
                  <a:lnTo>
                    <a:pt x="170815" y="198755"/>
                  </a:lnTo>
                  <a:lnTo>
                    <a:pt x="189230" y="215900"/>
                  </a:lnTo>
                  <a:lnTo>
                    <a:pt x="224155" y="179070"/>
                  </a:lnTo>
                  <a:lnTo>
                    <a:pt x="205740" y="161925"/>
                  </a:lnTo>
                  <a:lnTo>
                    <a:pt x="53340" y="1714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53" name="Google Shape;2553;p66"/>
            <p:cNvSpPr/>
            <p:nvPr/>
          </p:nvSpPr>
          <p:spPr>
            <a:xfrm>
              <a:off x="3370579" y="1751329"/>
              <a:ext cx="224154" cy="215900"/>
            </a:xfrm>
            <a:custGeom>
              <a:avLst/>
              <a:gdLst/>
              <a:ahLst/>
              <a:cxnLst/>
              <a:rect l="l" t="t" r="r" b="b"/>
              <a:pathLst>
                <a:path w="224154" h="215900" extrusionOk="0">
                  <a:moveTo>
                    <a:pt x="34925" y="0"/>
                  </a:moveTo>
                  <a:lnTo>
                    <a:pt x="0" y="36830"/>
                  </a:lnTo>
                  <a:lnTo>
                    <a:pt x="18415" y="54610"/>
                  </a:lnTo>
                  <a:lnTo>
                    <a:pt x="170815" y="198755"/>
                  </a:lnTo>
                  <a:lnTo>
                    <a:pt x="189230" y="215900"/>
                  </a:lnTo>
                  <a:lnTo>
                    <a:pt x="224155" y="179070"/>
                  </a:lnTo>
                  <a:lnTo>
                    <a:pt x="205740" y="161925"/>
                  </a:lnTo>
                  <a:lnTo>
                    <a:pt x="53340" y="1714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54" name="Google Shape;2554;p66"/>
            <p:cNvSpPr/>
            <p:nvPr/>
          </p:nvSpPr>
          <p:spPr>
            <a:xfrm>
              <a:off x="4005579" y="2113279"/>
              <a:ext cx="224154" cy="215900"/>
            </a:xfrm>
            <a:custGeom>
              <a:avLst/>
              <a:gdLst/>
              <a:ahLst/>
              <a:cxnLst/>
              <a:rect l="l" t="t" r="r" b="b"/>
              <a:pathLst>
                <a:path w="224154" h="215900" extrusionOk="0">
                  <a:moveTo>
                    <a:pt x="34925" y="0"/>
                  </a:moveTo>
                  <a:lnTo>
                    <a:pt x="0" y="36830"/>
                  </a:lnTo>
                  <a:lnTo>
                    <a:pt x="18415" y="54610"/>
                  </a:lnTo>
                  <a:lnTo>
                    <a:pt x="170815" y="198755"/>
                  </a:lnTo>
                  <a:lnTo>
                    <a:pt x="189230" y="215900"/>
                  </a:lnTo>
                  <a:lnTo>
                    <a:pt x="224155" y="179070"/>
                  </a:lnTo>
                  <a:lnTo>
                    <a:pt x="205740" y="161925"/>
                  </a:lnTo>
                  <a:lnTo>
                    <a:pt x="53340" y="1714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55" name="Google Shape;2555;p66"/>
            <p:cNvSpPr/>
            <p:nvPr/>
          </p:nvSpPr>
          <p:spPr>
            <a:xfrm>
              <a:off x="4640579" y="2475229"/>
              <a:ext cx="224154" cy="215900"/>
            </a:xfrm>
            <a:custGeom>
              <a:avLst/>
              <a:gdLst/>
              <a:ahLst/>
              <a:cxnLst/>
              <a:rect l="l" t="t" r="r" b="b"/>
              <a:pathLst>
                <a:path w="224154" h="215900" extrusionOk="0">
                  <a:moveTo>
                    <a:pt x="34925" y="0"/>
                  </a:moveTo>
                  <a:lnTo>
                    <a:pt x="0" y="36830"/>
                  </a:lnTo>
                  <a:lnTo>
                    <a:pt x="18415" y="54610"/>
                  </a:lnTo>
                  <a:lnTo>
                    <a:pt x="170815" y="198755"/>
                  </a:lnTo>
                  <a:lnTo>
                    <a:pt x="189230" y="215900"/>
                  </a:lnTo>
                  <a:lnTo>
                    <a:pt x="224155" y="179070"/>
                  </a:lnTo>
                  <a:lnTo>
                    <a:pt x="205740" y="161925"/>
                  </a:lnTo>
                  <a:lnTo>
                    <a:pt x="53340" y="1714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56" name="Google Shape;2556;p66"/>
            <p:cNvSpPr/>
            <p:nvPr/>
          </p:nvSpPr>
          <p:spPr>
            <a:xfrm>
              <a:off x="5275579" y="2837179"/>
              <a:ext cx="224154" cy="215900"/>
            </a:xfrm>
            <a:custGeom>
              <a:avLst/>
              <a:gdLst/>
              <a:ahLst/>
              <a:cxnLst/>
              <a:rect l="l" t="t" r="r" b="b"/>
              <a:pathLst>
                <a:path w="224154" h="215900" extrusionOk="0">
                  <a:moveTo>
                    <a:pt x="34925" y="0"/>
                  </a:moveTo>
                  <a:lnTo>
                    <a:pt x="0" y="36830"/>
                  </a:lnTo>
                  <a:lnTo>
                    <a:pt x="18415" y="54610"/>
                  </a:lnTo>
                  <a:lnTo>
                    <a:pt x="170815" y="198755"/>
                  </a:lnTo>
                  <a:lnTo>
                    <a:pt x="189230" y="215900"/>
                  </a:lnTo>
                  <a:lnTo>
                    <a:pt x="224155" y="179070"/>
                  </a:lnTo>
                  <a:lnTo>
                    <a:pt x="205740" y="161925"/>
                  </a:lnTo>
                  <a:lnTo>
                    <a:pt x="53340" y="1714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57" name="Google Shape;2557;p66"/>
            <p:cNvSpPr/>
            <p:nvPr/>
          </p:nvSpPr>
          <p:spPr>
            <a:xfrm>
              <a:off x="5910579" y="3199129"/>
              <a:ext cx="224154" cy="215900"/>
            </a:xfrm>
            <a:custGeom>
              <a:avLst/>
              <a:gdLst/>
              <a:ahLst/>
              <a:cxnLst/>
              <a:rect l="l" t="t" r="r" b="b"/>
              <a:pathLst>
                <a:path w="224154" h="215900" extrusionOk="0">
                  <a:moveTo>
                    <a:pt x="34925" y="0"/>
                  </a:moveTo>
                  <a:lnTo>
                    <a:pt x="0" y="36830"/>
                  </a:lnTo>
                  <a:lnTo>
                    <a:pt x="18415" y="54610"/>
                  </a:lnTo>
                  <a:lnTo>
                    <a:pt x="170815" y="198755"/>
                  </a:lnTo>
                  <a:lnTo>
                    <a:pt x="189230" y="215900"/>
                  </a:lnTo>
                  <a:lnTo>
                    <a:pt x="224155" y="179070"/>
                  </a:lnTo>
                  <a:lnTo>
                    <a:pt x="205740" y="161925"/>
                  </a:lnTo>
                  <a:lnTo>
                    <a:pt x="53340" y="1714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58" name="Google Shape;2558;p66"/>
            <p:cNvSpPr/>
            <p:nvPr/>
          </p:nvSpPr>
          <p:spPr>
            <a:xfrm>
              <a:off x="6545580" y="3561079"/>
              <a:ext cx="224154" cy="215900"/>
            </a:xfrm>
            <a:custGeom>
              <a:avLst/>
              <a:gdLst/>
              <a:ahLst/>
              <a:cxnLst/>
              <a:rect l="l" t="t" r="r" b="b"/>
              <a:pathLst>
                <a:path w="224154" h="215900" extrusionOk="0">
                  <a:moveTo>
                    <a:pt x="34925" y="0"/>
                  </a:moveTo>
                  <a:lnTo>
                    <a:pt x="0" y="36830"/>
                  </a:lnTo>
                  <a:lnTo>
                    <a:pt x="18414" y="54610"/>
                  </a:lnTo>
                  <a:lnTo>
                    <a:pt x="170814" y="198755"/>
                  </a:lnTo>
                  <a:lnTo>
                    <a:pt x="189230" y="215900"/>
                  </a:lnTo>
                  <a:lnTo>
                    <a:pt x="224155" y="179070"/>
                  </a:lnTo>
                  <a:lnTo>
                    <a:pt x="205739" y="161925"/>
                  </a:lnTo>
                  <a:lnTo>
                    <a:pt x="53339" y="1714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59" name="Google Shape;2559;p66"/>
            <p:cNvSpPr/>
            <p:nvPr/>
          </p:nvSpPr>
          <p:spPr>
            <a:xfrm>
              <a:off x="7180580" y="3923029"/>
              <a:ext cx="224154" cy="215900"/>
            </a:xfrm>
            <a:custGeom>
              <a:avLst/>
              <a:gdLst/>
              <a:ahLst/>
              <a:cxnLst/>
              <a:rect l="l" t="t" r="r" b="b"/>
              <a:pathLst>
                <a:path w="224154" h="215900" extrusionOk="0">
                  <a:moveTo>
                    <a:pt x="170814" y="198755"/>
                  </a:moveTo>
                  <a:lnTo>
                    <a:pt x="189230" y="215900"/>
                  </a:lnTo>
                  <a:lnTo>
                    <a:pt x="224155" y="179070"/>
                  </a:lnTo>
                  <a:lnTo>
                    <a:pt x="205739" y="161925"/>
                  </a:lnTo>
                  <a:lnTo>
                    <a:pt x="53339" y="17145"/>
                  </a:lnTo>
                  <a:lnTo>
                    <a:pt x="34925" y="0"/>
                  </a:lnTo>
                  <a:lnTo>
                    <a:pt x="0" y="36830"/>
                  </a:lnTo>
                  <a:lnTo>
                    <a:pt x="18414" y="5461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60" name="Google Shape;2560;p66"/>
            <p:cNvSpPr/>
            <p:nvPr/>
          </p:nvSpPr>
          <p:spPr>
            <a:xfrm>
              <a:off x="7815580" y="4284979"/>
              <a:ext cx="224154" cy="215900"/>
            </a:xfrm>
            <a:custGeom>
              <a:avLst/>
              <a:gdLst/>
              <a:ahLst/>
              <a:cxnLst/>
              <a:rect l="l" t="t" r="r" b="b"/>
              <a:pathLst>
                <a:path w="224154" h="215900" extrusionOk="0">
                  <a:moveTo>
                    <a:pt x="170814" y="198755"/>
                  </a:moveTo>
                  <a:lnTo>
                    <a:pt x="189230" y="215900"/>
                  </a:lnTo>
                  <a:lnTo>
                    <a:pt x="224155" y="179070"/>
                  </a:lnTo>
                  <a:lnTo>
                    <a:pt x="205739" y="161925"/>
                  </a:lnTo>
                  <a:lnTo>
                    <a:pt x="53339" y="17145"/>
                  </a:lnTo>
                  <a:lnTo>
                    <a:pt x="34925" y="0"/>
                  </a:lnTo>
                  <a:lnTo>
                    <a:pt x="0" y="36830"/>
                  </a:lnTo>
                  <a:lnTo>
                    <a:pt x="18414" y="5461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61" name="Google Shape;2561;p66"/>
            <p:cNvSpPr/>
            <p:nvPr/>
          </p:nvSpPr>
          <p:spPr>
            <a:xfrm>
              <a:off x="8450580" y="4646929"/>
              <a:ext cx="224154" cy="215900"/>
            </a:xfrm>
            <a:custGeom>
              <a:avLst/>
              <a:gdLst/>
              <a:ahLst/>
              <a:cxnLst/>
              <a:rect l="l" t="t" r="r" b="b"/>
              <a:pathLst>
                <a:path w="224154" h="215900" extrusionOk="0">
                  <a:moveTo>
                    <a:pt x="170814" y="198755"/>
                  </a:moveTo>
                  <a:lnTo>
                    <a:pt x="189230" y="215900"/>
                  </a:lnTo>
                  <a:lnTo>
                    <a:pt x="224155" y="179070"/>
                  </a:lnTo>
                  <a:lnTo>
                    <a:pt x="205739" y="161925"/>
                  </a:lnTo>
                  <a:lnTo>
                    <a:pt x="53339" y="17145"/>
                  </a:lnTo>
                  <a:lnTo>
                    <a:pt x="34925" y="0"/>
                  </a:lnTo>
                  <a:lnTo>
                    <a:pt x="0" y="36830"/>
                  </a:lnTo>
                  <a:lnTo>
                    <a:pt x="18414" y="5461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62" name="Google Shape;2562;p66"/>
            <p:cNvSpPr/>
            <p:nvPr/>
          </p:nvSpPr>
          <p:spPr>
            <a:xfrm>
              <a:off x="9085580" y="5008879"/>
              <a:ext cx="224154" cy="215900"/>
            </a:xfrm>
            <a:custGeom>
              <a:avLst/>
              <a:gdLst/>
              <a:ahLst/>
              <a:cxnLst/>
              <a:rect l="l" t="t" r="r" b="b"/>
              <a:pathLst>
                <a:path w="224154" h="215900" extrusionOk="0">
                  <a:moveTo>
                    <a:pt x="170814" y="198755"/>
                  </a:moveTo>
                  <a:lnTo>
                    <a:pt x="189230" y="215900"/>
                  </a:lnTo>
                  <a:lnTo>
                    <a:pt x="224155" y="179070"/>
                  </a:lnTo>
                  <a:lnTo>
                    <a:pt x="205739" y="161925"/>
                  </a:lnTo>
                  <a:lnTo>
                    <a:pt x="53339" y="17145"/>
                  </a:lnTo>
                  <a:lnTo>
                    <a:pt x="34925" y="0"/>
                  </a:lnTo>
                  <a:lnTo>
                    <a:pt x="0" y="36830"/>
                  </a:lnTo>
                  <a:lnTo>
                    <a:pt x="18414" y="5461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63" name="Google Shape;2563;p66"/>
            <p:cNvSpPr/>
            <p:nvPr/>
          </p:nvSpPr>
          <p:spPr>
            <a:xfrm>
              <a:off x="9720580" y="5370829"/>
              <a:ext cx="224154" cy="215900"/>
            </a:xfrm>
            <a:custGeom>
              <a:avLst/>
              <a:gdLst/>
              <a:ahLst/>
              <a:cxnLst/>
              <a:rect l="l" t="t" r="r" b="b"/>
              <a:pathLst>
                <a:path w="224154" h="215900" extrusionOk="0">
                  <a:moveTo>
                    <a:pt x="205739" y="161925"/>
                  </a:moveTo>
                  <a:lnTo>
                    <a:pt x="53339" y="17145"/>
                  </a:lnTo>
                  <a:lnTo>
                    <a:pt x="34925" y="0"/>
                  </a:lnTo>
                  <a:lnTo>
                    <a:pt x="0" y="36830"/>
                  </a:lnTo>
                  <a:lnTo>
                    <a:pt x="18414" y="54610"/>
                  </a:lnTo>
                  <a:lnTo>
                    <a:pt x="170814" y="198755"/>
                  </a:lnTo>
                  <a:lnTo>
                    <a:pt x="189230" y="215900"/>
                  </a:lnTo>
                  <a:lnTo>
                    <a:pt x="224155" y="17907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64" name="Google Shape;2564;p66"/>
            <p:cNvSpPr/>
            <p:nvPr/>
          </p:nvSpPr>
          <p:spPr>
            <a:xfrm>
              <a:off x="10355580" y="5732779"/>
              <a:ext cx="224154" cy="215900"/>
            </a:xfrm>
            <a:custGeom>
              <a:avLst/>
              <a:gdLst/>
              <a:ahLst/>
              <a:cxnLst/>
              <a:rect l="l" t="t" r="r" b="b"/>
              <a:pathLst>
                <a:path w="224154" h="215900" extrusionOk="0">
                  <a:moveTo>
                    <a:pt x="205739" y="161925"/>
                  </a:moveTo>
                  <a:lnTo>
                    <a:pt x="53339" y="17145"/>
                  </a:lnTo>
                  <a:lnTo>
                    <a:pt x="34925" y="0"/>
                  </a:lnTo>
                  <a:lnTo>
                    <a:pt x="0" y="36830"/>
                  </a:lnTo>
                  <a:lnTo>
                    <a:pt x="18414" y="54610"/>
                  </a:lnTo>
                  <a:lnTo>
                    <a:pt x="170814" y="198755"/>
                  </a:lnTo>
                  <a:lnTo>
                    <a:pt x="189230" y="215900"/>
                  </a:lnTo>
                  <a:lnTo>
                    <a:pt x="224155" y="17907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65" name="Google Shape;2565;p66"/>
            <p:cNvSpPr/>
            <p:nvPr/>
          </p:nvSpPr>
          <p:spPr>
            <a:xfrm>
              <a:off x="10990580" y="6094729"/>
              <a:ext cx="224154" cy="215900"/>
            </a:xfrm>
            <a:custGeom>
              <a:avLst/>
              <a:gdLst/>
              <a:ahLst/>
              <a:cxnLst/>
              <a:rect l="l" t="t" r="r" b="b"/>
              <a:pathLst>
                <a:path w="224154" h="215900" extrusionOk="0">
                  <a:moveTo>
                    <a:pt x="205739" y="161925"/>
                  </a:moveTo>
                  <a:lnTo>
                    <a:pt x="53339" y="17145"/>
                  </a:lnTo>
                  <a:lnTo>
                    <a:pt x="34925" y="0"/>
                  </a:lnTo>
                  <a:lnTo>
                    <a:pt x="0" y="36830"/>
                  </a:lnTo>
                  <a:lnTo>
                    <a:pt x="18414" y="54610"/>
                  </a:lnTo>
                  <a:lnTo>
                    <a:pt x="170814" y="198755"/>
                  </a:lnTo>
                  <a:lnTo>
                    <a:pt x="189230" y="215900"/>
                  </a:lnTo>
                  <a:lnTo>
                    <a:pt x="224155" y="17907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66" name="Google Shape;2566;p66"/>
            <p:cNvSpPr/>
            <p:nvPr/>
          </p:nvSpPr>
          <p:spPr>
            <a:xfrm>
              <a:off x="11625580" y="6456679"/>
              <a:ext cx="224154" cy="215900"/>
            </a:xfrm>
            <a:custGeom>
              <a:avLst/>
              <a:gdLst/>
              <a:ahLst/>
              <a:cxnLst/>
              <a:rect l="l" t="t" r="r" b="b"/>
              <a:pathLst>
                <a:path w="224154" h="215900" extrusionOk="0">
                  <a:moveTo>
                    <a:pt x="205739" y="161925"/>
                  </a:moveTo>
                  <a:lnTo>
                    <a:pt x="53339" y="17145"/>
                  </a:lnTo>
                  <a:lnTo>
                    <a:pt x="34925" y="0"/>
                  </a:lnTo>
                  <a:lnTo>
                    <a:pt x="0" y="36830"/>
                  </a:lnTo>
                  <a:lnTo>
                    <a:pt x="18414" y="54610"/>
                  </a:lnTo>
                  <a:lnTo>
                    <a:pt x="170814" y="198755"/>
                  </a:lnTo>
                  <a:lnTo>
                    <a:pt x="189230" y="215900"/>
                  </a:lnTo>
                  <a:lnTo>
                    <a:pt x="224155" y="17907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67" name="Google Shape;2567;p66"/>
            <p:cNvSpPr/>
            <p:nvPr/>
          </p:nvSpPr>
          <p:spPr>
            <a:xfrm>
              <a:off x="642619" y="0"/>
              <a:ext cx="196850" cy="162560"/>
            </a:xfrm>
            <a:custGeom>
              <a:avLst/>
              <a:gdLst/>
              <a:ahLst/>
              <a:cxnLst/>
              <a:rect l="l" t="t" r="r" b="b"/>
              <a:pathLst>
                <a:path w="196850" h="162560" extrusionOk="0">
                  <a:moveTo>
                    <a:pt x="160655" y="162560"/>
                  </a:moveTo>
                  <a:lnTo>
                    <a:pt x="196850" y="127000"/>
                  </a:lnTo>
                  <a:lnTo>
                    <a:pt x="178435" y="109220"/>
                  </a:lnTo>
                  <a:lnTo>
                    <a:pt x="71120" y="0"/>
                  </a:lnTo>
                  <a:lnTo>
                    <a:pt x="0" y="0"/>
                  </a:lnTo>
                  <a:lnTo>
                    <a:pt x="142875" y="1447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68" name="Google Shape;2568;p66"/>
            <p:cNvSpPr/>
            <p:nvPr/>
          </p:nvSpPr>
          <p:spPr>
            <a:xfrm>
              <a:off x="1249680" y="298450"/>
              <a:ext cx="224789" cy="226059"/>
            </a:xfrm>
            <a:custGeom>
              <a:avLst/>
              <a:gdLst/>
              <a:ahLst/>
              <a:cxnLst/>
              <a:rect l="l" t="t" r="r" b="b"/>
              <a:pathLst>
                <a:path w="224789" h="226059" extrusionOk="0">
                  <a:moveTo>
                    <a:pt x="170815" y="208280"/>
                  </a:moveTo>
                  <a:lnTo>
                    <a:pt x="188595" y="226060"/>
                  </a:lnTo>
                  <a:lnTo>
                    <a:pt x="224790" y="190500"/>
                  </a:lnTo>
                  <a:lnTo>
                    <a:pt x="206375" y="172720"/>
                  </a:lnTo>
                  <a:lnTo>
                    <a:pt x="53975" y="17780"/>
                  </a:lnTo>
                  <a:lnTo>
                    <a:pt x="36195" y="0"/>
                  </a:lnTo>
                  <a:lnTo>
                    <a:pt x="0" y="35560"/>
                  </a:lnTo>
                  <a:lnTo>
                    <a:pt x="18415" y="5397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69" name="Google Shape;2569;p66"/>
            <p:cNvSpPr/>
            <p:nvPr/>
          </p:nvSpPr>
          <p:spPr>
            <a:xfrm>
              <a:off x="1884679" y="660400"/>
              <a:ext cx="224790" cy="226060"/>
            </a:xfrm>
            <a:custGeom>
              <a:avLst/>
              <a:gdLst/>
              <a:ahLst/>
              <a:cxnLst/>
              <a:rect l="l" t="t" r="r" b="b"/>
              <a:pathLst>
                <a:path w="224790" h="226060" extrusionOk="0">
                  <a:moveTo>
                    <a:pt x="53975" y="17780"/>
                  </a:moveTo>
                  <a:lnTo>
                    <a:pt x="36195" y="0"/>
                  </a:lnTo>
                  <a:lnTo>
                    <a:pt x="0" y="35560"/>
                  </a:lnTo>
                  <a:lnTo>
                    <a:pt x="18415" y="53975"/>
                  </a:lnTo>
                  <a:lnTo>
                    <a:pt x="170815" y="208280"/>
                  </a:lnTo>
                  <a:lnTo>
                    <a:pt x="188595" y="226060"/>
                  </a:lnTo>
                  <a:lnTo>
                    <a:pt x="224790" y="190500"/>
                  </a:lnTo>
                  <a:lnTo>
                    <a:pt x="206375" y="17272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70" name="Google Shape;2570;p66"/>
            <p:cNvSpPr/>
            <p:nvPr/>
          </p:nvSpPr>
          <p:spPr>
            <a:xfrm>
              <a:off x="2519679" y="1022350"/>
              <a:ext cx="224790" cy="226060"/>
            </a:xfrm>
            <a:custGeom>
              <a:avLst/>
              <a:gdLst/>
              <a:ahLst/>
              <a:cxnLst/>
              <a:rect l="l" t="t" r="r" b="b"/>
              <a:pathLst>
                <a:path w="224790" h="226060" extrusionOk="0">
                  <a:moveTo>
                    <a:pt x="36195" y="0"/>
                  </a:moveTo>
                  <a:lnTo>
                    <a:pt x="0" y="35560"/>
                  </a:lnTo>
                  <a:lnTo>
                    <a:pt x="18415" y="53975"/>
                  </a:lnTo>
                  <a:lnTo>
                    <a:pt x="170815" y="208280"/>
                  </a:lnTo>
                  <a:lnTo>
                    <a:pt x="188595" y="226060"/>
                  </a:lnTo>
                  <a:lnTo>
                    <a:pt x="224790" y="190500"/>
                  </a:lnTo>
                  <a:lnTo>
                    <a:pt x="206375" y="172720"/>
                  </a:lnTo>
                  <a:lnTo>
                    <a:pt x="53975" y="177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71" name="Google Shape;2571;p66"/>
            <p:cNvSpPr/>
            <p:nvPr/>
          </p:nvSpPr>
          <p:spPr>
            <a:xfrm>
              <a:off x="3154679" y="1384300"/>
              <a:ext cx="224790" cy="226060"/>
            </a:xfrm>
            <a:custGeom>
              <a:avLst/>
              <a:gdLst/>
              <a:ahLst/>
              <a:cxnLst/>
              <a:rect l="l" t="t" r="r" b="b"/>
              <a:pathLst>
                <a:path w="224790" h="226060" extrusionOk="0">
                  <a:moveTo>
                    <a:pt x="36195" y="0"/>
                  </a:moveTo>
                  <a:lnTo>
                    <a:pt x="0" y="35560"/>
                  </a:lnTo>
                  <a:lnTo>
                    <a:pt x="18415" y="53975"/>
                  </a:lnTo>
                  <a:lnTo>
                    <a:pt x="170815" y="208280"/>
                  </a:lnTo>
                  <a:lnTo>
                    <a:pt x="188595" y="226060"/>
                  </a:lnTo>
                  <a:lnTo>
                    <a:pt x="224790" y="190500"/>
                  </a:lnTo>
                  <a:lnTo>
                    <a:pt x="206375" y="172720"/>
                  </a:lnTo>
                  <a:lnTo>
                    <a:pt x="53975" y="177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72" name="Google Shape;2572;p66"/>
            <p:cNvSpPr/>
            <p:nvPr/>
          </p:nvSpPr>
          <p:spPr>
            <a:xfrm>
              <a:off x="3789679" y="1746250"/>
              <a:ext cx="224790" cy="226060"/>
            </a:xfrm>
            <a:custGeom>
              <a:avLst/>
              <a:gdLst/>
              <a:ahLst/>
              <a:cxnLst/>
              <a:rect l="l" t="t" r="r" b="b"/>
              <a:pathLst>
                <a:path w="224790" h="226060" extrusionOk="0">
                  <a:moveTo>
                    <a:pt x="206375" y="172720"/>
                  </a:moveTo>
                  <a:lnTo>
                    <a:pt x="53975" y="17780"/>
                  </a:lnTo>
                  <a:lnTo>
                    <a:pt x="36195" y="0"/>
                  </a:lnTo>
                  <a:lnTo>
                    <a:pt x="0" y="35560"/>
                  </a:lnTo>
                  <a:lnTo>
                    <a:pt x="18415" y="53975"/>
                  </a:lnTo>
                  <a:lnTo>
                    <a:pt x="170815" y="208280"/>
                  </a:lnTo>
                  <a:lnTo>
                    <a:pt x="188595" y="226060"/>
                  </a:lnTo>
                  <a:lnTo>
                    <a:pt x="224790" y="19050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73" name="Google Shape;2573;p66"/>
            <p:cNvSpPr/>
            <p:nvPr/>
          </p:nvSpPr>
          <p:spPr>
            <a:xfrm>
              <a:off x="4424679" y="2108200"/>
              <a:ext cx="224790" cy="226060"/>
            </a:xfrm>
            <a:custGeom>
              <a:avLst/>
              <a:gdLst/>
              <a:ahLst/>
              <a:cxnLst/>
              <a:rect l="l" t="t" r="r" b="b"/>
              <a:pathLst>
                <a:path w="224790" h="226060" extrusionOk="0">
                  <a:moveTo>
                    <a:pt x="53975" y="17780"/>
                  </a:moveTo>
                  <a:lnTo>
                    <a:pt x="36195" y="0"/>
                  </a:lnTo>
                  <a:lnTo>
                    <a:pt x="0" y="35560"/>
                  </a:lnTo>
                  <a:lnTo>
                    <a:pt x="18415" y="53975"/>
                  </a:lnTo>
                  <a:lnTo>
                    <a:pt x="170815" y="208280"/>
                  </a:lnTo>
                  <a:lnTo>
                    <a:pt x="188595" y="226060"/>
                  </a:lnTo>
                  <a:lnTo>
                    <a:pt x="224790" y="190500"/>
                  </a:lnTo>
                  <a:lnTo>
                    <a:pt x="206375" y="17272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74" name="Google Shape;2574;p66"/>
            <p:cNvSpPr/>
            <p:nvPr/>
          </p:nvSpPr>
          <p:spPr>
            <a:xfrm>
              <a:off x="5059679" y="2470150"/>
              <a:ext cx="224790" cy="226060"/>
            </a:xfrm>
            <a:custGeom>
              <a:avLst/>
              <a:gdLst/>
              <a:ahLst/>
              <a:cxnLst/>
              <a:rect l="l" t="t" r="r" b="b"/>
              <a:pathLst>
                <a:path w="224790" h="226060" extrusionOk="0">
                  <a:moveTo>
                    <a:pt x="53975" y="17780"/>
                  </a:moveTo>
                  <a:lnTo>
                    <a:pt x="36195" y="0"/>
                  </a:lnTo>
                  <a:lnTo>
                    <a:pt x="0" y="35560"/>
                  </a:lnTo>
                  <a:lnTo>
                    <a:pt x="18415" y="53975"/>
                  </a:lnTo>
                  <a:lnTo>
                    <a:pt x="170815" y="208280"/>
                  </a:lnTo>
                  <a:lnTo>
                    <a:pt x="188595" y="226060"/>
                  </a:lnTo>
                  <a:lnTo>
                    <a:pt x="224790" y="190500"/>
                  </a:lnTo>
                  <a:lnTo>
                    <a:pt x="206375" y="17272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75" name="Google Shape;2575;p66"/>
            <p:cNvSpPr/>
            <p:nvPr/>
          </p:nvSpPr>
          <p:spPr>
            <a:xfrm>
              <a:off x="5694679" y="2832100"/>
              <a:ext cx="224790" cy="226060"/>
            </a:xfrm>
            <a:custGeom>
              <a:avLst/>
              <a:gdLst/>
              <a:ahLst/>
              <a:cxnLst/>
              <a:rect l="l" t="t" r="r" b="b"/>
              <a:pathLst>
                <a:path w="224790" h="226060" extrusionOk="0">
                  <a:moveTo>
                    <a:pt x="53975" y="17780"/>
                  </a:moveTo>
                  <a:lnTo>
                    <a:pt x="36195" y="0"/>
                  </a:lnTo>
                  <a:lnTo>
                    <a:pt x="0" y="35560"/>
                  </a:lnTo>
                  <a:lnTo>
                    <a:pt x="18415" y="53340"/>
                  </a:lnTo>
                  <a:lnTo>
                    <a:pt x="170815" y="208280"/>
                  </a:lnTo>
                  <a:lnTo>
                    <a:pt x="188595" y="226060"/>
                  </a:lnTo>
                  <a:lnTo>
                    <a:pt x="224790" y="190500"/>
                  </a:lnTo>
                  <a:lnTo>
                    <a:pt x="206375" y="17272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76" name="Google Shape;2576;p66"/>
            <p:cNvSpPr/>
            <p:nvPr/>
          </p:nvSpPr>
          <p:spPr>
            <a:xfrm>
              <a:off x="6329679" y="3194050"/>
              <a:ext cx="224789" cy="226059"/>
            </a:xfrm>
            <a:custGeom>
              <a:avLst/>
              <a:gdLst/>
              <a:ahLst/>
              <a:cxnLst/>
              <a:rect l="l" t="t" r="r" b="b"/>
              <a:pathLst>
                <a:path w="224789" h="226059" extrusionOk="0">
                  <a:moveTo>
                    <a:pt x="170815" y="208280"/>
                  </a:moveTo>
                  <a:lnTo>
                    <a:pt x="188595" y="226060"/>
                  </a:lnTo>
                  <a:lnTo>
                    <a:pt x="224790" y="190500"/>
                  </a:lnTo>
                  <a:lnTo>
                    <a:pt x="206375" y="172720"/>
                  </a:lnTo>
                  <a:lnTo>
                    <a:pt x="53975" y="17780"/>
                  </a:lnTo>
                  <a:lnTo>
                    <a:pt x="36195" y="0"/>
                  </a:lnTo>
                  <a:lnTo>
                    <a:pt x="0" y="35560"/>
                  </a:lnTo>
                  <a:lnTo>
                    <a:pt x="18415" y="533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77" name="Google Shape;2577;p66"/>
            <p:cNvSpPr/>
            <p:nvPr/>
          </p:nvSpPr>
          <p:spPr>
            <a:xfrm>
              <a:off x="6964680" y="3556000"/>
              <a:ext cx="224789" cy="226059"/>
            </a:xfrm>
            <a:custGeom>
              <a:avLst/>
              <a:gdLst/>
              <a:ahLst/>
              <a:cxnLst/>
              <a:rect l="l" t="t" r="r" b="b"/>
              <a:pathLst>
                <a:path w="224789" h="226059" extrusionOk="0">
                  <a:moveTo>
                    <a:pt x="170814" y="208280"/>
                  </a:moveTo>
                  <a:lnTo>
                    <a:pt x="188595" y="226060"/>
                  </a:lnTo>
                  <a:lnTo>
                    <a:pt x="224789" y="190500"/>
                  </a:lnTo>
                  <a:lnTo>
                    <a:pt x="206375" y="172720"/>
                  </a:lnTo>
                  <a:lnTo>
                    <a:pt x="53975" y="17780"/>
                  </a:lnTo>
                  <a:lnTo>
                    <a:pt x="36195" y="0"/>
                  </a:lnTo>
                  <a:lnTo>
                    <a:pt x="0" y="35560"/>
                  </a:lnTo>
                  <a:lnTo>
                    <a:pt x="18414" y="533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78" name="Google Shape;2578;p66"/>
            <p:cNvSpPr/>
            <p:nvPr/>
          </p:nvSpPr>
          <p:spPr>
            <a:xfrm>
              <a:off x="7599680" y="3917950"/>
              <a:ext cx="224789" cy="226059"/>
            </a:xfrm>
            <a:custGeom>
              <a:avLst/>
              <a:gdLst/>
              <a:ahLst/>
              <a:cxnLst/>
              <a:rect l="l" t="t" r="r" b="b"/>
              <a:pathLst>
                <a:path w="224789" h="226059" extrusionOk="0">
                  <a:moveTo>
                    <a:pt x="170814" y="208280"/>
                  </a:moveTo>
                  <a:lnTo>
                    <a:pt x="188595" y="226060"/>
                  </a:lnTo>
                  <a:lnTo>
                    <a:pt x="224789" y="190500"/>
                  </a:lnTo>
                  <a:lnTo>
                    <a:pt x="206375" y="172720"/>
                  </a:lnTo>
                  <a:lnTo>
                    <a:pt x="53975" y="17780"/>
                  </a:lnTo>
                  <a:lnTo>
                    <a:pt x="36195" y="0"/>
                  </a:lnTo>
                  <a:lnTo>
                    <a:pt x="0" y="35560"/>
                  </a:lnTo>
                  <a:lnTo>
                    <a:pt x="18414" y="533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79" name="Google Shape;2579;p66"/>
            <p:cNvSpPr/>
            <p:nvPr/>
          </p:nvSpPr>
          <p:spPr>
            <a:xfrm>
              <a:off x="8234680" y="4279900"/>
              <a:ext cx="224789" cy="226059"/>
            </a:xfrm>
            <a:custGeom>
              <a:avLst/>
              <a:gdLst/>
              <a:ahLst/>
              <a:cxnLst/>
              <a:rect l="l" t="t" r="r" b="b"/>
              <a:pathLst>
                <a:path w="224789" h="226059" extrusionOk="0">
                  <a:moveTo>
                    <a:pt x="170814" y="208280"/>
                  </a:moveTo>
                  <a:lnTo>
                    <a:pt x="188595" y="226060"/>
                  </a:lnTo>
                  <a:lnTo>
                    <a:pt x="224789" y="190500"/>
                  </a:lnTo>
                  <a:lnTo>
                    <a:pt x="206375" y="172720"/>
                  </a:lnTo>
                  <a:lnTo>
                    <a:pt x="53975" y="17780"/>
                  </a:lnTo>
                  <a:lnTo>
                    <a:pt x="36195" y="0"/>
                  </a:lnTo>
                  <a:lnTo>
                    <a:pt x="0" y="35560"/>
                  </a:lnTo>
                  <a:lnTo>
                    <a:pt x="18414" y="533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80" name="Google Shape;2580;p66"/>
            <p:cNvSpPr/>
            <p:nvPr/>
          </p:nvSpPr>
          <p:spPr>
            <a:xfrm>
              <a:off x="8869680" y="4641850"/>
              <a:ext cx="224789" cy="226059"/>
            </a:xfrm>
            <a:custGeom>
              <a:avLst/>
              <a:gdLst/>
              <a:ahLst/>
              <a:cxnLst/>
              <a:rect l="l" t="t" r="r" b="b"/>
              <a:pathLst>
                <a:path w="224789" h="226059" extrusionOk="0">
                  <a:moveTo>
                    <a:pt x="170814" y="208280"/>
                  </a:moveTo>
                  <a:lnTo>
                    <a:pt x="188595" y="226060"/>
                  </a:lnTo>
                  <a:lnTo>
                    <a:pt x="224789" y="190500"/>
                  </a:lnTo>
                  <a:lnTo>
                    <a:pt x="206375" y="172720"/>
                  </a:lnTo>
                  <a:lnTo>
                    <a:pt x="53975" y="17780"/>
                  </a:lnTo>
                  <a:lnTo>
                    <a:pt x="36195" y="0"/>
                  </a:lnTo>
                  <a:lnTo>
                    <a:pt x="0" y="35560"/>
                  </a:lnTo>
                  <a:lnTo>
                    <a:pt x="18414" y="533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81" name="Google Shape;2581;p66"/>
            <p:cNvSpPr/>
            <p:nvPr/>
          </p:nvSpPr>
          <p:spPr>
            <a:xfrm>
              <a:off x="9504680" y="5003800"/>
              <a:ext cx="224789" cy="226059"/>
            </a:xfrm>
            <a:custGeom>
              <a:avLst/>
              <a:gdLst/>
              <a:ahLst/>
              <a:cxnLst/>
              <a:rect l="l" t="t" r="r" b="b"/>
              <a:pathLst>
                <a:path w="224789" h="226059" extrusionOk="0">
                  <a:moveTo>
                    <a:pt x="170814" y="208280"/>
                  </a:moveTo>
                  <a:lnTo>
                    <a:pt x="188595" y="226060"/>
                  </a:lnTo>
                  <a:lnTo>
                    <a:pt x="224789" y="190500"/>
                  </a:lnTo>
                  <a:lnTo>
                    <a:pt x="206375" y="172720"/>
                  </a:lnTo>
                  <a:lnTo>
                    <a:pt x="53975" y="17780"/>
                  </a:lnTo>
                  <a:lnTo>
                    <a:pt x="36195" y="0"/>
                  </a:lnTo>
                  <a:lnTo>
                    <a:pt x="0" y="35560"/>
                  </a:lnTo>
                  <a:lnTo>
                    <a:pt x="18414" y="533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82" name="Google Shape;2582;p66"/>
            <p:cNvSpPr/>
            <p:nvPr/>
          </p:nvSpPr>
          <p:spPr>
            <a:xfrm>
              <a:off x="10139680" y="5365750"/>
              <a:ext cx="224789" cy="226059"/>
            </a:xfrm>
            <a:custGeom>
              <a:avLst/>
              <a:gdLst/>
              <a:ahLst/>
              <a:cxnLst/>
              <a:rect l="l" t="t" r="r" b="b"/>
              <a:pathLst>
                <a:path w="224789" h="226059" extrusionOk="0">
                  <a:moveTo>
                    <a:pt x="170814" y="208280"/>
                  </a:moveTo>
                  <a:lnTo>
                    <a:pt x="188595" y="226060"/>
                  </a:lnTo>
                  <a:lnTo>
                    <a:pt x="224789" y="190500"/>
                  </a:lnTo>
                  <a:lnTo>
                    <a:pt x="206375" y="172720"/>
                  </a:lnTo>
                  <a:lnTo>
                    <a:pt x="53975" y="17780"/>
                  </a:lnTo>
                  <a:lnTo>
                    <a:pt x="36195" y="0"/>
                  </a:lnTo>
                  <a:lnTo>
                    <a:pt x="0" y="35560"/>
                  </a:lnTo>
                  <a:lnTo>
                    <a:pt x="18414" y="533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83" name="Google Shape;2583;p66"/>
            <p:cNvSpPr/>
            <p:nvPr/>
          </p:nvSpPr>
          <p:spPr>
            <a:xfrm>
              <a:off x="10774680" y="5727700"/>
              <a:ext cx="224789" cy="226059"/>
            </a:xfrm>
            <a:custGeom>
              <a:avLst/>
              <a:gdLst/>
              <a:ahLst/>
              <a:cxnLst/>
              <a:rect l="l" t="t" r="r" b="b"/>
              <a:pathLst>
                <a:path w="224789" h="226059" extrusionOk="0">
                  <a:moveTo>
                    <a:pt x="206375" y="172720"/>
                  </a:moveTo>
                  <a:lnTo>
                    <a:pt x="53975" y="17780"/>
                  </a:lnTo>
                  <a:lnTo>
                    <a:pt x="36195" y="0"/>
                  </a:lnTo>
                  <a:lnTo>
                    <a:pt x="0" y="35560"/>
                  </a:lnTo>
                  <a:lnTo>
                    <a:pt x="18414" y="53340"/>
                  </a:lnTo>
                  <a:lnTo>
                    <a:pt x="170814" y="208280"/>
                  </a:lnTo>
                  <a:lnTo>
                    <a:pt x="188595" y="226060"/>
                  </a:lnTo>
                  <a:lnTo>
                    <a:pt x="224789" y="19050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84" name="Google Shape;2584;p66"/>
            <p:cNvSpPr/>
            <p:nvPr/>
          </p:nvSpPr>
          <p:spPr>
            <a:xfrm>
              <a:off x="11409680" y="6089650"/>
              <a:ext cx="224789" cy="226059"/>
            </a:xfrm>
            <a:custGeom>
              <a:avLst/>
              <a:gdLst/>
              <a:ahLst/>
              <a:cxnLst/>
              <a:rect l="l" t="t" r="r" b="b"/>
              <a:pathLst>
                <a:path w="224789" h="226059" extrusionOk="0">
                  <a:moveTo>
                    <a:pt x="206375" y="172720"/>
                  </a:moveTo>
                  <a:lnTo>
                    <a:pt x="53975" y="17780"/>
                  </a:lnTo>
                  <a:lnTo>
                    <a:pt x="36195" y="0"/>
                  </a:lnTo>
                  <a:lnTo>
                    <a:pt x="0" y="35560"/>
                  </a:lnTo>
                  <a:lnTo>
                    <a:pt x="18414" y="53340"/>
                  </a:lnTo>
                  <a:lnTo>
                    <a:pt x="170814" y="208280"/>
                  </a:lnTo>
                  <a:lnTo>
                    <a:pt x="188595" y="226060"/>
                  </a:lnTo>
                  <a:lnTo>
                    <a:pt x="224789" y="19050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85" name="Google Shape;2585;p66"/>
            <p:cNvSpPr/>
            <p:nvPr/>
          </p:nvSpPr>
          <p:spPr>
            <a:xfrm>
              <a:off x="12044680" y="6451600"/>
              <a:ext cx="147319" cy="184784"/>
            </a:xfrm>
            <a:custGeom>
              <a:avLst/>
              <a:gdLst/>
              <a:ahLst/>
              <a:cxnLst/>
              <a:rect l="l" t="t" r="r" b="b"/>
              <a:pathLst>
                <a:path w="147319" h="184784" extrusionOk="0">
                  <a:moveTo>
                    <a:pt x="36195" y="0"/>
                  </a:moveTo>
                  <a:lnTo>
                    <a:pt x="0" y="35560"/>
                  </a:lnTo>
                  <a:lnTo>
                    <a:pt x="18414" y="53340"/>
                  </a:lnTo>
                  <a:lnTo>
                    <a:pt x="147320" y="184785"/>
                  </a:lnTo>
                  <a:lnTo>
                    <a:pt x="147320" y="112395"/>
                  </a:lnTo>
                  <a:lnTo>
                    <a:pt x="53975" y="177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86" name="Google Shape;2586;p66"/>
            <p:cNvSpPr/>
            <p:nvPr/>
          </p:nvSpPr>
          <p:spPr>
            <a:xfrm>
              <a:off x="1052830" y="0"/>
              <a:ext cx="194944" cy="165100"/>
            </a:xfrm>
            <a:custGeom>
              <a:avLst/>
              <a:gdLst/>
              <a:ahLst/>
              <a:cxnLst/>
              <a:rect l="l" t="t" r="r" b="b"/>
              <a:pathLst>
                <a:path w="194944" h="165100" extrusionOk="0">
                  <a:moveTo>
                    <a:pt x="158750" y="165100"/>
                  </a:moveTo>
                  <a:lnTo>
                    <a:pt x="194945" y="129540"/>
                  </a:lnTo>
                  <a:lnTo>
                    <a:pt x="177800" y="111125"/>
                  </a:lnTo>
                  <a:lnTo>
                    <a:pt x="70485" y="0"/>
                  </a:lnTo>
                  <a:lnTo>
                    <a:pt x="0" y="0"/>
                  </a:lnTo>
                  <a:lnTo>
                    <a:pt x="140970" y="14668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87" name="Google Shape;2587;p66"/>
            <p:cNvSpPr/>
            <p:nvPr/>
          </p:nvSpPr>
          <p:spPr>
            <a:xfrm>
              <a:off x="1658620" y="296545"/>
              <a:ext cx="224154" cy="230504"/>
            </a:xfrm>
            <a:custGeom>
              <a:avLst/>
              <a:gdLst/>
              <a:ahLst/>
              <a:cxnLst/>
              <a:rect l="l" t="t" r="r" b="b"/>
              <a:pathLst>
                <a:path w="224154" h="230504" extrusionOk="0">
                  <a:moveTo>
                    <a:pt x="170180" y="212090"/>
                  </a:moveTo>
                  <a:lnTo>
                    <a:pt x="187960" y="230505"/>
                  </a:lnTo>
                  <a:lnTo>
                    <a:pt x="224155" y="194945"/>
                  </a:lnTo>
                  <a:lnTo>
                    <a:pt x="207010" y="176530"/>
                  </a:lnTo>
                  <a:lnTo>
                    <a:pt x="54610" y="17780"/>
                  </a:lnTo>
                  <a:lnTo>
                    <a:pt x="36830" y="0"/>
                  </a:lnTo>
                  <a:lnTo>
                    <a:pt x="0" y="34925"/>
                  </a:lnTo>
                  <a:lnTo>
                    <a:pt x="17780" y="533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88" name="Google Shape;2588;p66"/>
            <p:cNvSpPr/>
            <p:nvPr/>
          </p:nvSpPr>
          <p:spPr>
            <a:xfrm>
              <a:off x="2293620" y="658494"/>
              <a:ext cx="224154" cy="230505"/>
            </a:xfrm>
            <a:custGeom>
              <a:avLst/>
              <a:gdLst/>
              <a:ahLst/>
              <a:cxnLst/>
              <a:rect l="l" t="t" r="r" b="b"/>
              <a:pathLst>
                <a:path w="224154" h="230505" extrusionOk="0">
                  <a:moveTo>
                    <a:pt x="170180" y="212090"/>
                  </a:moveTo>
                  <a:lnTo>
                    <a:pt x="187960" y="230505"/>
                  </a:lnTo>
                  <a:lnTo>
                    <a:pt x="224155" y="194945"/>
                  </a:lnTo>
                  <a:lnTo>
                    <a:pt x="207010" y="176530"/>
                  </a:lnTo>
                  <a:lnTo>
                    <a:pt x="54610" y="17780"/>
                  </a:lnTo>
                  <a:lnTo>
                    <a:pt x="36830" y="0"/>
                  </a:lnTo>
                  <a:lnTo>
                    <a:pt x="0" y="34925"/>
                  </a:lnTo>
                  <a:lnTo>
                    <a:pt x="17780" y="533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89" name="Google Shape;2589;p66"/>
            <p:cNvSpPr/>
            <p:nvPr/>
          </p:nvSpPr>
          <p:spPr>
            <a:xfrm>
              <a:off x="2928620" y="1020444"/>
              <a:ext cx="224154" cy="230505"/>
            </a:xfrm>
            <a:custGeom>
              <a:avLst/>
              <a:gdLst/>
              <a:ahLst/>
              <a:cxnLst/>
              <a:rect l="l" t="t" r="r" b="b"/>
              <a:pathLst>
                <a:path w="224154" h="230505" extrusionOk="0">
                  <a:moveTo>
                    <a:pt x="170180" y="212090"/>
                  </a:moveTo>
                  <a:lnTo>
                    <a:pt x="187960" y="230505"/>
                  </a:lnTo>
                  <a:lnTo>
                    <a:pt x="224155" y="194945"/>
                  </a:lnTo>
                  <a:lnTo>
                    <a:pt x="207010" y="176530"/>
                  </a:lnTo>
                  <a:lnTo>
                    <a:pt x="54610" y="17780"/>
                  </a:lnTo>
                  <a:lnTo>
                    <a:pt x="36830" y="0"/>
                  </a:lnTo>
                  <a:lnTo>
                    <a:pt x="0" y="34925"/>
                  </a:lnTo>
                  <a:lnTo>
                    <a:pt x="17780" y="533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90" name="Google Shape;2590;p66"/>
            <p:cNvSpPr/>
            <p:nvPr/>
          </p:nvSpPr>
          <p:spPr>
            <a:xfrm>
              <a:off x="3563620" y="1382394"/>
              <a:ext cx="224154" cy="230505"/>
            </a:xfrm>
            <a:custGeom>
              <a:avLst/>
              <a:gdLst/>
              <a:ahLst/>
              <a:cxnLst/>
              <a:rect l="l" t="t" r="r" b="b"/>
              <a:pathLst>
                <a:path w="224154" h="230505" extrusionOk="0">
                  <a:moveTo>
                    <a:pt x="36830" y="0"/>
                  </a:moveTo>
                  <a:lnTo>
                    <a:pt x="0" y="34925"/>
                  </a:lnTo>
                  <a:lnTo>
                    <a:pt x="17780" y="53340"/>
                  </a:lnTo>
                  <a:lnTo>
                    <a:pt x="170180" y="212090"/>
                  </a:lnTo>
                  <a:lnTo>
                    <a:pt x="187960" y="230505"/>
                  </a:lnTo>
                  <a:lnTo>
                    <a:pt x="224155" y="194945"/>
                  </a:lnTo>
                  <a:lnTo>
                    <a:pt x="207010" y="176530"/>
                  </a:lnTo>
                  <a:lnTo>
                    <a:pt x="54610" y="177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91" name="Google Shape;2591;p66"/>
            <p:cNvSpPr/>
            <p:nvPr/>
          </p:nvSpPr>
          <p:spPr>
            <a:xfrm>
              <a:off x="4198620" y="1744345"/>
              <a:ext cx="224154" cy="230504"/>
            </a:xfrm>
            <a:custGeom>
              <a:avLst/>
              <a:gdLst/>
              <a:ahLst/>
              <a:cxnLst/>
              <a:rect l="l" t="t" r="r" b="b"/>
              <a:pathLst>
                <a:path w="224154" h="230504" extrusionOk="0">
                  <a:moveTo>
                    <a:pt x="36830" y="0"/>
                  </a:moveTo>
                  <a:lnTo>
                    <a:pt x="0" y="34925"/>
                  </a:lnTo>
                  <a:lnTo>
                    <a:pt x="17780" y="53340"/>
                  </a:lnTo>
                  <a:lnTo>
                    <a:pt x="170180" y="212090"/>
                  </a:lnTo>
                  <a:lnTo>
                    <a:pt x="187960" y="230505"/>
                  </a:lnTo>
                  <a:lnTo>
                    <a:pt x="224155" y="194945"/>
                  </a:lnTo>
                  <a:lnTo>
                    <a:pt x="207010" y="176530"/>
                  </a:lnTo>
                  <a:lnTo>
                    <a:pt x="54610" y="177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92" name="Google Shape;2592;p66"/>
            <p:cNvSpPr/>
            <p:nvPr/>
          </p:nvSpPr>
          <p:spPr>
            <a:xfrm>
              <a:off x="4833620" y="2106295"/>
              <a:ext cx="224154" cy="230504"/>
            </a:xfrm>
            <a:custGeom>
              <a:avLst/>
              <a:gdLst/>
              <a:ahLst/>
              <a:cxnLst/>
              <a:rect l="l" t="t" r="r" b="b"/>
              <a:pathLst>
                <a:path w="224154" h="230504" extrusionOk="0">
                  <a:moveTo>
                    <a:pt x="36830" y="0"/>
                  </a:moveTo>
                  <a:lnTo>
                    <a:pt x="0" y="34925"/>
                  </a:lnTo>
                  <a:lnTo>
                    <a:pt x="17780" y="53340"/>
                  </a:lnTo>
                  <a:lnTo>
                    <a:pt x="170180" y="212090"/>
                  </a:lnTo>
                  <a:lnTo>
                    <a:pt x="187960" y="230505"/>
                  </a:lnTo>
                  <a:lnTo>
                    <a:pt x="224155" y="194945"/>
                  </a:lnTo>
                  <a:lnTo>
                    <a:pt x="207010" y="176530"/>
                  </a:lnTo>
                  <a:lnTo>
                    <a:pt x="54610" y="177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93" name="Google Shape;2593;p66"/>
            <p:cNvSpPr/>
            <p:nvPr/>
          </p:nvSpPr>
          <p:spPr>
            <a:xfrm>
              <a:off x="5468620" y="2468245"/>
              <a:ext cx="224154" cy="230504"/>
            </a:xfrm>
            <a:custGeom>
              <a:avLst/>
              <a:gdLst/>
              <a:ahLst/>
              <a:cxnLst/>
              <a:rect l="l" t="t" r="r" b="b"/>
              <a:pathLst>
                <a:path w="224154" h="230504" extrusionOk="0">
                  <a:moveTo>
                    <a:pt x="36830" y="0"/>
                  </a:moveTo>
                  <a:lnTo>
                    <a:pt x="0" y="34925"/>
                  </a:lnTo>
                  <a:lnTo>
                    <a:pt x="17780" y="53340"/>
                  </a:lnTo>
                  <a:lnTo>
                    <a:pt x="170180" y="212090"/>
                  </a:lnTo>
                  <a:lnTo>
                    <a:pt x="187960" y="230505"/>
                  </a:lnTo>
                  <a:lnTo>
                    <a:pt x="224155" y="194945"/>
                  </a:lnTo>
                  <a:lnTo>
                    <a:pt x="207010" y="176530"/>
                  </a:lnTo>
                  <a:lnTo>
                    <a:pt x="54610" y="177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94" name="Google Shape;2594;p66"/>
            <p:cNvSpPr/>
            <p:nvPr/>
          </p:nvSpPr>
          <p:spPr>
            <a:xfrm>
              <a:off x="6103620" y="2830195"/>
              <a:ext cx="224154" cy="230504"/>
            </a:xfrm>
            <a:custGeom>
              <a:avLst/>
              <a:gdLst/>
              <a:ahLst/>
              <a:cxnLst/>
              <a:rect l="l" t="t" r="r" b="b"/>
              <a:pathLst>
                <a:path w="224154" h="230504" extrusionOk="0">
                  <a:moveTo>
                    <a:pt x="36830" y="0"/>
                  </a:moveTo>
                  <a:lnTo>
                    <a:pt x="0" y="34925"/>
                  </a:lnTo>
                  <a:lnTo>
                    <a:pt x="17780" y="53340"/>
                  </a:lnTo>
                  <a:lnTo>
                    <a:pt x="170180" y="212090"/>
                  </a:lnTo>
                  <a:lnTo>
                    <a:pt x="187960" y="230505"/>
                  </a:lnTo>
                  <a:lnTo>
                    <a:pt x="224155" y="194945"/>
                  </a:lnTo>
                  <a:lnTo>
                    <a:pt x="207010" y="176530"/>
                  </a:lnTo>
                  <a:lnTo>
                    <a:pt x="54610" y="177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95" name="Google Shape;2595;p66"/>
            <p:cNvSpPr/>
            <p:nvPr/>
          </p:nvSpPr>
          <p:spPr>
            <a:xfrm>
              <a:off x="6738619" y="3192145"/>
              <a:ext cx="224155" cy="230504"/>
            </a:xfrm>
            <a:custGeom>
              <a:avLst/>
              <a:gdLst/>
              <a:ahLst/>
              <a:cxnLst/>
              <a:rect l="l" t="t" r="r" b="b"/>
              <a:pathLst>
                <a:path w="224155" h="230504" extrusionOk="0">
                  <a:moveTo>
                    <a:pt x="36830" y="0"/>
                  </a:moveTo>
                  <a:lnTo>
                    <a:pt x="0" y="34925"/>
                  </a:lnTo>
                  <a:lnTo>
                    <a:pt x="17780" y="53340"/>
                  </a:lnTo>
                  <a:lnTo>
                    <a:pt x="170180" y="212090"/>
                  </a:lnTo>
                  <a:lnTo>
                    <a:pt x="187961" y="230505"/>
                  </a:lnTo>
                  <a:lnTo>
                    <a:pt x="224155" y="194945"/>
                  </a:lnTo>
                  <a:lnTo>
                    <a:pt x="207011" y="176530"/>
                  </a:lnTo>
                  <a:lnTo>
                    <a:pt x="54611" y="177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96" name="Google Shape;2596;p66"/>
            <p:cNvSpPr/>
            <p:nvPr/>
          </p:nvSpPr>
          <p:spPr>
            <a:xfrm>
              <a:off x="7373619" y="3554095"/>
              <a:ext cx="224155" cy="230504"/>
            </a:xfrm>
            <a:custGeom>
              <a:avLst/>
              <a:gdLst/>
              <a:ahLst/>
              <a:cxnLst/>
              <a:rect l="l" t="t" r="r" b="b"/>
              <a:pathLst>
                <a:path w="224155" h="230504" extrusionOk="0">
                  <a:moveTo>
                    <a:pt x="36830" y="0"/>
                  </a:moveTo>
                  <a:lnTo>
                    <a:pt x="0" y="34925"/>
                  </a:lnTo>
                  <a:lnTo>
                    <a:pt x="17780" y="53340"/>
                  </a:lnTo>
                  <a:lnTo>
                    <a:pt x="170180" y="212090"/>
                  </a:lnTo>
                  <a:lnTo>
                    <a:pt x="187961" y="230505"/>
                  </a:lnTo>
                  <a:lnTo>
                    <a:pt x="224155" y="194945"/>
                  </a:lnTo>
                  <a:lnTo>
                    <a:pt x="207011" y="176530"/>
                  </a:lnTo>
                  <a:lnTo>
                    <a:pt x="54611" y="177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97" name="Google Shape;2597;p66"/>
            <p:cNvSpPr/>
            <p:nvPr/>
          </p:nvSpPr>
          <p:spPr>
            <a:xfrm>
              <a:off x="8008619" y="3916045"/>
              <a:ext cx="224155" cy="230504"/>
            </a:xfrm>
            <a:custGeom>
              <a:avLst/>
              <a:gdLst/>
              <a:ahLst/>
              <a:cxnLst/>
              <a:rect l="l" t="t" r="r" b="b"/>
              <a:pathLst>
                <a:path w="224155" h="230504" extrusionOk="0">
                  <a:moveTo>
                    <a:pt x="36830" y="0"/>
                  </a:moveTo>
                  <a:lnTo>
                    <a:pt x="0" y="34925"/>
                  </a:lnTo>
                  <a:lnTo>
                    <a:pt x="17780" y="53340"/>
                  </a:lnTo>
                  <a:lnTo>
                    <a:pt x="170180" y="212090"/>
                  </a:lnTo>
                  <a:lnTo>
                    <a:pt x="187961" y="230505"/>
                  </a:lnTo>
                  <a:lnTo>
                    <a:pt x="224155" y="194945"/>
                  </a:lnTo>
                  <a:lnTo>
                    <a:pt x="207011" y="176530"/>
                  </a:lnTo>
                  <a:lnTo>
                    <a:pt x="54611" y="177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98" name="Google Shape;2598;p66"/>
            <p:cNvSpPr/>
            <p:nvPr/>
          </p:nvSpPr>
          <p:spPr>
            <a:xfrm>
              <a:off x="8643619" y="4277995"/>
              <a:ext cx="224155" cy="230504"/>
            </a:xfrm>
            <a:custGeom>
              <a:avLst/>
              <a:gdLst/>
              <a:ahLst/>
              <a:cxnLst/>
              <a:rect l="l" t="t" r="r" b="b"/>
              <a:pathLst>
                <a:path w="224155" h="230504" extrusionOk="0">
                  <a:moveTo>
                    <a:pt x="36830" y="0"/>
                  </a:moveTo>
                  <a:lnTo>
                    <a:pt x="0" y="34925"/>
                  </a:lnTo>
                  <a:lnTo>
                    <a:pt x="17780" y="53340"/>
                  </a:lnTo>
                  <a:lnTo>
                    <a:pt x="170180" y="212090"/>
                  </a:lnTo>
                  <a:lnTo>
                    <a:pt x="187961" y="230505"/>
                  </a:lnTo>
                  <a:lnTo>
                    <a:pt x="224155" y="194945"/>
                  </a:lnTo>
                  <a:lnTo>
                    <a:pt x="207011" y="176530"/>
                  </a:lnTo>
                  <a:lnTo>
                    <a:pt x="54611" y="177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599" name="Google Shape;2599;p66"/>
            <p:cNvSpPr/>
            <p:nvPr/>
          </p:nvSpPr>
          <p:spPr>
            <a:xfrm>
              <a:off x="9278619" y="4639945"/>
              <a:ext cx="224155" cy="230504"/>
            </a:xfrm>
            <a:custGeom>
              <a:avLst/>
              <a:gdLst/>
              <a:ahLst/>
              <a:cxnLst/>
              <a:rect l="l" t="t" r="r" b="b"/>
              <a:pathLst>
                <a:path w="224155" h="230504" extrusionOk="0">
                  <a:moveTo>
                    <a:pt x="36830" y="0"/>
                  </a:moveTo>
                  <a:lnTo>
                    <a:pt x="0" y="34925"/>
                  </a:lnTo>
                  <a:lnTo>
                    <a:pt x="17780" y="53340"/>
                  </a:lnTo>
                  <a:lnTo>
                    <a:pt x="170180" y="212090"/>
                  </a:lnTo>
                  <a:lnTo>
                    <a:pt x="187961" y="230505"/>
                  </a:lnTo>
                  <a:lnTo>
                    <a:pt x="224155" y="194945"/>
                  </a:lnTo>
                  <a:lnTo>
                    <a:pt x="207011" y="176530"/>
                  </a:lnTo>
                  <a:lnTo>
                    <a:pt x="54611" y="177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00" name="Google Shape;2600;p66"/>
            <p:cNvSpPr/>
            <p:nvPr/>
          </p:nvSpPr>
          <p:spPr>
            <a:xfrm>
              <a:off x="9913619" y="5001895"/>
              <a:ext cx="224155" cy="230504"/>
            </a:xfrm>
            <a:custGeom>
              <a:avLst/>
              <a:gdLst/>
              <a:ahLst/>
              <a:cxnLst/>
              <a:rect l="l" t="t" r="r" b="b"/>
              <a:pathLst>
                <a:path w="224155" h="230504" extrusionOk="0">
                  <a:moveTo>
                    <a:pt x="170180" y="212090"/>
                  </a:moveTo>
                  <a:lnTo>
                    <a:pt x="187961" y="230505"/>
                  </a:lnTo>
                  <a:lnTo>
                    <a:pt x="224155" y="194945"/>
                  </a:lnTo>
                  <a:lnTo>
                    <a:pt x="207011" y="176530"/>
                  </a:lnTo>
                  <a:lnTo>
                    <a:pt x="54611" y="17780"/>
                  </a:lnTo>
                  <a:lnTo>
                    <a:pt x="36830" y="0"/>
                  </a:lnTo>
                  <a:lnTo>
                    <a:pt x="0" y="34925"/>
                  </a:lnTo>
                  <a:lnTo>
                    <a:pt x="17780" y="533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01" name="Google Shape;2601;p66"/>
            <p:cNvSpPr/>
            <p:nvPr/>
          </p:nvSpPr>
          <p:spPr>
            <a:xfrm>
              <a:off x="10548619" y="5363845"/>
              <a:ext cx="224155" cy="230504"/>
            </a:xfrm>
            <a:custGeom>
              <a:avLst/>
              <a:gdLst/>
              <a:ahLst/>
              <a:cxnLst/>
              <a:rect l="l" t="t" r="r" b="b"/>
              <a:pathLst>
                <a:path w="224155" h="230504" extrusionOk="0">
                  <a:moveTo>
                    <a:pt x="170180" y="212090"/>
                  </a:moveTo>
                  <a:lnTo>
                    <a:pt x="187961" y="230505"/>
                  </a:lnTo>
                  <a:lnTo>
                    <a:pt x="224155" y="194945"/>
                  </a:lnTo>
                  <a:lnTo>
                    <a:pt x="207011" y="176530"/>
                  </a:lnTo>
                  <a:lnTo>
                    <a:pt x="54611" y="17780"/>
                  </a:lnTo>
                  <a:lnTo>
                    <a:pt x="36830" y="0"/>
                  </a:lnTo>
                  <a:lnTo>
                    <a:pt x="0" y="34925"/>
                  </a:lnTo>
                  <a:lnTo>
                    <a:pt x="17780" y="533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02" name="Google Shape;2602;p66"/>
            <p:cNvSpPr/>
            <p:nvPr/>
          </p:nvSpPr>
          <p:spPr>
            <a:xfrm>
              <a:off x="11183619" y="5725795"/>
              <a:ext cx="224155" cy="230504"/>
            </a:xfrm>
            <a:custGeom>
              <a:avLst/>
              <a:gdLst/>
              <a:ahLst/>
              <a:cxnLst/>
              <a:rect l="l" t="t" r="r" b="b"/>
              <a:pathLst>
                <a:path w="224155" h="230504" extrusionOk="0">
                  <a:moveTo>
                    <a:pt x="170180" y="212090"/>
                  </a:moveTo>
                  <a:lnTo>
                    <a:pt x="187961" y="230505"/>
                  </a:lnTo>
                  <a:lnTo>
                    <a:pt x="224155" y="194945"/>
                  </a:lnTo>
                  <a:lnTo>
                    <a:pt x="207011" y="176530"/>
                  </a:lnTo>
                  <a:lnTo>
                    <a:pt x="54611" y="17780"/>
                  </a:lnTo>
                  <a:lnTo>
                    <a:pt x="36830" y="0"/>
                  </a:lnTo>
                  <a:lnTo>
                    <a:pt x="0" y="34925"/>
                  </a:lnTo>
                  <a:lnTo>
                    <a:pt x="17780" y="533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03" name="Google Shape;2603;p66"/>
            <p:cNvSpPr/>
            <p:nvPr/>
          </p:nvSpPr>
          <p:spPr>
            <a:xfrm>
              <a:off x="11818619" y="6087745"/>
              <a:ext cx="224155" cy="230504"/>
            </a:xfrm>
            <a:custGeom>
              <a:avLst/>
              <a:gdLst/>
              <a:ahLst/>
              <a:cxnLst/>
              <a:rect l="l" t="t" r="r" b="b"/>
              <a:pathLst>
                <a:path w="224155" h="230504" extrusionOk="0">
                  <a:moveTo>
                    <a:pt x="54611" y="17780"/>
                  </a:moveTo>
                  <a:lnTo>
                    <a:pt x="36830" y="0"/>
                  </a:lnTo>
                  <a:lnTo>
                    <a:pt x="0" y="34925"/>
                  </a:lnTo>
                  <a:lnTo>
                    <a:pt x="17780" y="53340"/>
                  </a:lnTo>
                  <a:lnTo>
                    <a:pt x="170180" y="212090"/>
                  </a:lnTo>
                  <a:lnTo>
                    <a:pt x="187961" y="230505"/>
                  </a:lnTo>
                  <a:lnTo>
                    <a:pt x="224155" y="194945"/>
                  </a:lnTo>
                  <a:lnTo>
                    <a:pt x="207011" y="17653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04" name="Google Shape;2604;p66"/>
            <p:cNvSpPr/>
            <p:nvPr/>
          </p:nvSpPr>
          <p:spPr>
            <a:xfrm>
              <a:off x="1459230" y="0"/>
              <a:ext cx="196215" cy="163829"/>
            </a:xfrm>
            <a:custGeom>
              <a:avLst/>
              <a:gdLst/>
              <a:ahLst/>
              <a:cxnLst/>
              <a:rect l="l" t="t" r="r" b="b"/>
              <a:pathLst>
                <a:path w="196215" h="163829" extrusionOk="0">
                  <a:moveTo>
                    <a:pt x="159385" y="163830"/>
                  </a:moveTo>
                  <a:lnTo>
                    <a:pt x="196215" y="128270"/>
                  </a:lnTo>
                  <a:lnTo>
                    <a:pt x="178435" y="109855"/>
                  </a:lnTo>
                  <a:lnTo>
                    <a:pt x="71120" y="0"/>
                  </a:lnTo>
                  <a:lnTo>
                    <a:pt x="0" y="0"/>
                  </a:lnTo>
                  <a:lnTo>
                    <a:pt x="141605" y="1454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05" name="Google Shape;2605;p66"/>
            <p:cNvSpPr/>
            <p:nvPr/>
          </p:nvSpPr>
          <p:spPr>
            <a:xfrm>
              <a:off x="2066289" y="297179"/>
              <a:ext cx="224155" cy="228600"/>
            </a:xfrm>
            <a:custGeom>
              <a:avLst/>
              <a:gdLst/>
              <a:ahLst/>
              <a:cxnLst/>
              <a:rect l="l" t="t" r="r" b="b"/>
              <a:pathLst>
                <a:path w="224155" h="228600" extrusionOk="0">
                  <a:moveTo>
                    <a:pt x="17145" y="53975"/>
                  </a:moveTo>
                  <a:lnTo>
                    <a:pt x="169545" y="210185"/>
                  </a:lnTo>
                  <a:lnTo>
                    <a:pt x="187325" y="228600"/>
                  </a:lnTo>
                  <a:lnTo>
                    <a:pt x="224155" y="193040"/>
                  </a:lnTo>
                  <a:lnTo>
                    <a:pt x="206375" y="174625"/>
                  </a:lnTo>
                  <a:lnTo>
                    <a:pt x="53975" y="18415"/>
                  </a:lnTo>
                  <a:lnTo>
                    <a:pt x="36195" y="0"/>
                  </a:lnTo>
                  <a:lnTo>
                    <a:pt x="0" y="3556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06" name="Google Shape;2606;p66"/>
            <p:cNvSpPr/>
            <p:nvPr/>
          </p:nvSpPr>
          <p:spPr>
            <a:xfrm>
              <a:off x="2701289" y="659130"/>
              <a:ext cx="224155" cy="228600"/>
            </a:xfrm>
            <a:custGeom>
              <a:avLst/>
              <a:gdLst/>
              <a:ahLst/>
              <a:cxnLst/>
              <a:rect l="l" t="t" r="r" b="b"/>
              <a:pathLst>
                <a:path w="224155" h="228600" extrusionOk="0">
                  <a:moveTo>
                    <a:pt x="53975" y="18415"/>
                  </a:moveTo>
                  <a:lnTo>
                    <a:pt x="36195" y="0"/>
                  </a:lnTo>
                  <a:lnTo>
                    <a:pt x="0" y="35560"/>
                  </a:lnTo>
                  <a:lnTo>
                    <a:pt x="17145" y="53975"/>
                  </a:lnTo>
                  <a:lnTo>
                    <a:pt x="169545" y="210185"/>
                  </a:lnTo>
                  <a:lnTo>
                    <a:pt x="187325" y="228600"/>
                  </a:lnTo>
                  <a:lnTo>
                    <a:pt x="224155" y="193040"/>
                  </a:lnTo>
                  <a:lnTo>
                    <a:pt x="206375" y="17462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07" name="Google Shape;2607;p66"/>
            <p:cNvSpPr/>
            <p:nvPr/>
          </p:nvSpPr>
          <p:spPr>
            <a:xfrm>
              <a:off x="3336290" y="1021080"/>
              <a:ext cx="224154" cy="228600"/>
            </a:xfrm>
            <a:custGeom>
              <a:avLst/>
              <a:gdLst/>
              <a:ahLst/>
              <a:cxnLst/>
              <a:rect l="l" t="t" r="r" b="b"/>
              <a:pathLst>
                <a:path w="224154" h="228600" extrusionOk="0">
                  <a:moveTo>
                    <a:pt x="53975" y="18415"/>
                  </a:moveTo>
                  <a:lnTo>
                    <a:pt x="36195" y="0"/>
                  </a:lnTo>
                  <a:lnTo>
                    <a:pt x="0" y="35560"/>
                  </a:lnTo>
                  <a:lnTo>
                    <a:pt x="17145" y="53975"/>
                  </a:lnTo>
                  <a:lnTo>
                    <a:pt x="169545" y="210185"/>
                  </a:lnTo>
                  <a:lnTo>
                    <a:pt x="187325" y="228600"/>
                  </a:lnTo>
                  <a:lnTo>
                    <a:pt x="224155" y="193040"/>
                  </a:lnTo>
                  <a:lnTo>
                    <a:pt x="206375" y="17462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08" name="Google Shape;2608;p66"/>
            <p:cNvSpPr/>
            <p:nvPr/>
          </p:nvSpPr>
          <p:spPr>
            <a:xfrm>
              <a:off x="3971290" y="1383030"/>
              <a:ext cx="224154" cy="228600"/>
            </a:xfrm>
            <a:custGeom>
              <a:avLst/>
              <a:gdLst/>
              <a:ahLst/>
              <a:cxnLst/>
              <a:rect l="l" t="t" r="r" b="b"/>
              <a:pathLst>
                <a:path w="224154" h="228600" extrusionOk="0">
                  <a:moveTo>
                    <a:pt x="53975" y="18415"/>
                  </a:moveTo>
                  <a:lnTo>
                    <a:pt x="36195" y="0"/>
                  </a:lnTo>
                  <a:lnTo>
                    <a:pt x="0" y="35560"/>
                  </a:lnTo>
                  <a:lnTo>
                    <a:pt x="17145" y="53975"/>
                  </a:lnTo>
                  <a:lnTo>
                    <a:pt x="169545" y="210185"/>
                  </a:lnTo>
                  <a:lnTo>
                    <a:pt x="187325" y="228600"/>
                  </a:lnTo>
                  <a:lnTo>
                    <a:pt x="224155" y="193040"/>
                  </a:lnTo>
                  <a:lnTo>
                    <a:pt x="206375" y="17462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09" name="Google Shape;2609;p66"/>
            <p:cNvSpPr/>
            <p:nvPr/>
          </p:nvSpPr>
          <p:spPr>
            <a:xfrm>
              <a:off x="4606290" y="1744979"/>
              <a:ext cx="224154" cy="228600"/>
            </a:xfrm>
            <a:custGeom>
              <a:avLst/>
              <a:gdLst/>
              <a:ahLst/>
              <a:cxnLst/>
              <a:rect l="l" t="t" r="r" b="b"/>
              <a:pathLst>
                <a:path w="224154" h="228600" extrusionOk="0">
                  <a:moveTo>
                    <a:pt x="53975" y="18415"/>
                  </a:moveTo>
                  <a:lnTo>
                    <a:pt x="36195" y="0"/>
                  </a:lnTo>
                  <a:lnTo>
                    <a:pt x="0" y="35560"/>
                  </a:lnTo>
                  <a:lnTo>
                    <a:pt x="17145" y="53975"/>
                  </a:lnTo>
                  <a:lnTo>
                    <a:pt x="169545" y="210185"/>
                  </a:lnTo>
                  <a:lnTo>
                    <a:pt x="187325" y="228600"/>
                  </a:lnTo>
                  <a:lnTo>
                    <a:pt x="224155" y="193040"/>
                  </a:lnTo>
                  <a:lnTo>
                    <a:pt x="206375" y="17462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10" name="Google Shape;2610;p66"/>
            <p:cNvSpPr/>
            <p:nvPr/>
          </p:nvSpPr>
          <p:spPr>
            <a:xfrm>
              <a:off x="5241290" y="2106929"/>
              <a:ext cx="224154" cy="228600"/>
            </a:xfrm>
            <a:custGeom>
              <a:avLst/>
              <a:gdLst/>
              <a:ahLst/>
              <a:cxnLst/>
              <a:rect l="l" t="t" r="r" b="b"/>
              <a:pathLst>
                <a:path w="224154" h="228600" extrusionOk="0">
                  <a:moveTo>
                    <a:pt x="53975" y="18415"/>
                  </a:moveTo>
                  <a:lnTo>
                    <a:pt x="36195" y="0"/>
                  </a:lnTo>
                  <a:lnTo>
                    <a:pt x="0" y="35560"/>
                  </a:lnTo>
                  <a:lnTo>
                    <a:pt x="17145" y="53975"/>
                  </a:lnTo>
                  <a:lnTo>
                    <a:pt x="169545" y="210185"/>
                  </a:lnTo>
                  <a:lnTo>
                    <a:pt x="187325" y="228600"/>
                  </a:lnTo>
                  <a:lnTo>
                    <a:pt x="224155" y="193040"/>
                  </a:lnTo>
                  <a:lnTo>
                    <a:pt x="206375" y="17462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11" name="Google Shape;2611;p66"/>
            <p:cNvSpPr/>
            <p:nvPr/>
          </p:nvSpPr>
          <p:spPr>
            <a:xfrm>
              <a:off x="5876290" y="2468879"/>
              <a:ext cx="224154" cy="228600"/>
            </a:xfrm>
            <a:custGeom>
              <a:avLst/>
              <a:gdLst/>
              <a:ahLst/>
              <a:cxnLst/>
              <a:rect l="l" t="t" r="r" b="b"/>
              <a:pathLst>
                <a:path w="224154" h="228600" extrusionOk="0">
                  <a:moveTo>
                    <a:pt x="53975" y="18415"/>
                  </a:moveTo>
                  <a:lnTo>
                    <a:pt x="36195" y="0"/>
                  </a:lnTo>
                  <a:lnTo>
                    <a:pt x="0" y="35560"/>
                  </a:lnTo>
                  <a:lnTo>
                    <a:pt x="17145" y="53975"/>
                  </a:lnTo>
                  <a:lnTo>
                    <a:pt x="169545" y="210185"/>
                  </a:lnTo>
                  <a:lnTo>
                    <a:pt x="187325" y="228600"/>
                  </a:lnTo>
                  <a:lnTo>
                    <a:pt x="224155" y="193040"/>
                  </a:lnTo>
                  <a:lnTo>
                    <a:pt x="206375" y="17462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12" name="Google Shape;2612;p66"/>
            <p:cNvSpPr/>
            <p:nvPr/>
          </p:nvSpPr>
          <p:spPr>
            <a:xfrm>
              <a:off x="6511290" y="2830829"/>
              <a:ext cx="224154" cy="228600"/>
            </a:xfrm>
            <a:custGeom>
              <a:avLst/>
              <a:gdLst/>
              <a:ahLst/>
              <a:cxnLst/>
              <a:rect l="l" t="t" r="r" b="b"/>
              <a:pathLst>
                <a:path w="224154" h="228600" extrusionOk="0">
                  <a:moveTo>
                    <a:pt x="53975" y="18415"/>
                  </a:moveTo>
                  <a:lnTo>
                    <a:pt x="36195" y="0"/>
                  </a:lnTo>
                  <a:lnTo>
                    <a:pt x="0" y="35560"/>
                  </a:lnTo>
                  <a:lnTo>
                    <a:pt x="17145" y="53975"/>
                  </a:lnTo>
                  <a:lnTo>
                    <a:pt x="169545" y="210185"/>
                  </a:lnTo>
                  <a:lnTo>
                    <a:pt x="187325" y="228600"/>
                  </a:lnTo>
                  <a:lnTo>
                    <a:pt x="224155" y="193040"/>
                  </a:lnTo>
                  <a:lnTo>
                    <a:pt x="206375" y="17462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13" name="Google Shape;2613;p66"/>
            <p:cNvSpPr/>
            <p:nvPr/>
          </p:nvSpPr>
          <p:spPr>
            <a:xfrm>
              <a:off x="7146290" y="3192779"/>
              <a:ext cx="224154" cy="228600"/>
            </a:xfrm>
            <a:custGeom>
              <a:avLst/>
              <a:gdLst/>
              <a:ahLst/>
              <a:cxnLst/>
              <a:rect l="l" t="t" r="r" b="b"/>
              <a:pathLst>
                <a:path w="224154" h="228600" extrusionOk="0">
                  <a:moveTo>
                    <a:pt x="169545" y="210185"/>
                  </a:moveTo>
                  <a:lnTo>
                    <a:pt x="187325" y="228600"/>
                  </a:lnTo>
                  <a:lnTo>
                    <a:pt x="224155" y="193040"/>
                  </a:lnTo>
                  <a:lnTo>
                    <a:pt x="206375" y="174625"/>
                  </a:lnTo>
                  <a:lnTo>
                    <a:pt x="53975" y="18415"/>
                  </a:lnTo>
                  <a:lnTo>
                    <a:pt x="36195" y="0"/>
                  </a:lnTo>
                  <a:lnTo>
                    <a:pt x="0" y="35560"/>
                  </a:lnTo>
                  <a:lnTo>
                    <a:pt x="17145" y="5397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14" name="Google Shape;2614;p66"/>
            <p:cNvSpPr/>
            <p:nvPr/>
          </p:nvSpPr>
          <p:spPr>
            <a:xfrm>
              <a:off x="7781290" y="3554729"/>
              <a:ext cx="224154" cy="228600"/>
            </a:xfrm>
            <a:custGeom>
              <a:avLst/>
              <a:gdLst/>
              <a:ahLst/>
              <a:cxnLst/>
              <a:rect l="l" t="t" r="r" b="b"/>
              <a:pathLst>
                <a:path w="224154" h="228600" extrusionOk="0">
                  <a:moveTo>
                    <a:pt x="169545" y="210185"/>
                  </a:moveTo>
                  <a:lnTo>
                    <a:pt x="187325" y="228600"/>
                  </a:lnTo>
                  <a:lnTo>
                    <a:pt x="224155" y="193040"/>
                  </a:lnTo>
                  <a:lnTo>
                    <a:pt x="206375" y="174625"/>
                  </a:lnTo>
                  <a:lnTo>
                    <a:pt x="53975" y="18415"/>
                  </a:lnTo>
                  <a:lnTo>
                    <a:pt x="36195" y="0"/>
                  </a:lnTo>
                  <a:lnTo>
                    <a:pt x="0" y="35560"/>
                  </a:lnTo>
                  <a:lnTo>
                    <a:pt x="17145" y="5397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15" name="Google Shape;2615;p66"/>
            <p:cNvSpPr/>
            <p:nvPr/>
          </p:nvSpPr>
          <p:spPr>
            <a:xfrm>
              <a:off x="8416290" y="3916679"/>
              <a:ext cx="224154" cy="228600"/>
            </a:xfrm>
            <a:custGeom>
              <a:avLst/>
              <a:gdLst/>
              <a:ahLst/>
              <a:cxnLst/>
              <a:rect l="l" t="t" r="r" b="b"/>
              <a:pathLst>
                <a:path w="224154" h="228600" extrusionOk="0">
                  <a:moveTo>
                    <a:pt x="53975" y="18415"/>
                  </a:moveTo>
                  <a:lnTo>
                    <a:pt x="36195" y="0"/>
                  </a:lnTo>
                  <a:lnTo>
                    <a:pt x="0" y="35560"/>
                  </a:lnTo>
                  <a:lnTo>
                    <a:pt x="17145" y="53975"/>
                  </a:lnTo>
                  <a:lnTo>
                    <a:pt x="169545" y="210185"/>
                  </a:lnTo>
                  <a:lnTo>
                    <a:pt x="187325" y="228600"/>
                  </a:lnTo>
                  <a:lnTo>
                    <a:pt x="224155" y="193040"/>
                  </a:lnTo>
                  <a:lnTo>
                    <a:pt x="206375" y="17462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16" name="Google Shape;2616;p66"/>
            <p:cNvSpPr/>
            <p:nvPr/>
          </p:nvSpPr>
          <p:spPr>
            <a:xfrm>
              <a:off x="9051290" y="4278629"/>
              <a:ext cx="224154" cy="228600"/>
            </a:xfrm>
            <a:custGeom>
              <a:avLst/>
              <a:gdLst/>
              <a:ahLst/>
              <a:cxnLst/>
              <a:rect l="l" t="t" r="r" b="b"/>
              <a:pathLst>
                <a:path w="224154" h="228600" extrusionOk="0">
                  <a:moveTo>
                    <a:pt x="169545" y="210185"/>
                  </a:moveTo>
                  <a:lnTo>
                    <a:pt x="187325" y="228600"/>
                  </a:lnTo>
                  <a:lnTo>
                    <a:pt x="224155" y="193040"/>
                  </a:lnTo>
                  <a:lnTo>
                    <a:pt x="206375" y="174625"/>
                  </a:lnTo>
                  <a:lnTo>
                    <a:pt x="53975" y="18415"/>
                  </a:lnTo>
                  <a:lnTo>
                    <a:pt x="36195" y="0"/>
                  </a:lnTo>
                  <a:lnTo>
                    <a:pt x="0" y="35560"/>
                  </a:lnTo>
                  <a:lnTo>
                    <a:pt x="17145" y="5397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17" name="Google Shape;2617;p66"/>
            <p:cNvSpPr/>
            <p:nvPr/>
          </p:nvSpPr>
          <p:spPr>
            <a:xfrm>
              <a:off x="9686290" y="4640579"/>
              <a:ext cx="224154" cy="228600"/>
            </a:xfrm>
            <a:custGeom>
              <a:avLst/>
              <a:gdLst/>
              <a:ahLst/>
              <a:cxnLst/>
              <a:rect l="l" t="t" r="r" b="b"/>
              <a:pathLst>
                <a:path w="224154" h="228600" extrusionOk="0">
                  <a:moveTo>
                    <a:pt x="187325" y="228600"/>
                  </a:moveTo>
                  <a:lnTo>
                    <a:pt x="224155" y="193040"/>
                  </a:lnTo>
                  <a:lnTo>
                    <a:pt x="206375" y="174625"/>
                  </a:lnTo>
                  <a:lnTo>
                    <a:pt x="53975" y="18415"/>
                  </a:lnTo>
                  <a:lnTo>
                    <a:pt x="36195" y="0"/>
                  </a:lnTo>
                  <a:lnTo>
                    <a:pt x="0" y="35560"/>
                  </a:lnTo>
                  <a:lnTo>
                    <a:pt x="17145" y="53975"/>
                  </a:lnTo>
                  <a:lnTo>
                    <a:pt x="169545" y="21018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18" name="Google Shape;2618;p66"/>
            <p:cNvSpPr/>
            <p:nvPr/>
          </p:nvSpPr>
          <p:spPr>
            <a:xfrm>
              <a:off x="10321290" y="5002529"/>
              <a:ext cx="224154" cy="228600"/>
            </a:xfrm>
            <a:custGeom>
              <a:avLst/>
              <a:gdLst/>
              <a:ahLst/>
              <a:cxnLst/>
              <a:rect l="l" t="t" r="r" b="b"/>
              <a:pathLst>
                <a:path w="224154" h="228600" extrusionOk="0">
                  <a:moveTo>
                    <a:pt x="187325" y="228600"/>
                  </a:moveTo>
                  <a:lnTo>
                    <a:pt x="224155" y="193040"/>
                  </a:lnTo>
                  <a:lnTo>
                    <a:pt x="206375" y="174625"/>
                  </a:lnTo>
                  <a:lnTo>
                    <a:pt x="53975" y="18415"/>
                  </a:lnTo>
                  <a:lnTo>
                    <a:pt x="36195" y="0"/>
                  </a:lnTo>
                  <a:lnTo>
                    <a:pt x="0" y="35560"/>
                  </a:lnTo>
                  <a:lnTo>
                    <a:pt x="17780" y="53975"/>
                  </a:lnTo>
                  <a:lnTo>
                    <a:pt x="170180" y="21018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19" name="Google Shape;2619;p66"/>
            <p:cNvSpPr/>
            <p:nvPr/>
          </p:nvSpPr>
          <p:spPr>
            <a:xfrm>
              <a:off x="10956290" y="5364479"/>
              <a:ext cx="224154" cy="228600"/>
            </a:xfrm>
            <a:custGeom>
              <a:avLst/>
              <a:gdLst/>
              <a:ahLst/>
              <a:cxnLst/>
              <a:rect l="l" t="t" r="r" b="b"/>
              <a:pathLst>
                <a:path w="224154" h="228600" extrusionOk="0">
                  <a:moveTo>
                    <a:pt x="170180" y="210185"/>
                  </a:moveTo>
                  <a:lnTo>
                    <a:pt x="187325" y="228600"/>
                  </a:lnTo>
                  <a:lnTo>
                    <a:pt x="224155" y="193040"/>
                  </a:lnTo>
                  <a:lnTo>
                    <a:pt x="206375" y="174625"/>
                  </a:lnTo>
                  <a:lnTo>
                    <a:pt x="53975" y="18415"/>
                  </a:lnTo>
                  <a:lnTo>
                    <a:pt x="36195" y="0"/>
                  </a:lnTo>
                  <a:lnTo>
                    <a:pt x="0" y="35560"/>
                  </a:lnTo>
                  <a:lnTo>
                    <a:pt x="17780" y="5397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20" name="Google Shape;2620;p66"/>
            <p:cNvSpPr/>
            <p:nvPr/>
          </p:nvSpPr>
          <p:spPr>
            <a:xfrm>
              <a:off x="11591290" y="5726429"/>
              <a:ext cx="224154" cy="228600"/>
            </a:xfrm>
            <a:custGeom>
              <a:avLst/>
              <a:gdLst/>
              <a:ahLst/>
              <a:cxnLst/>
              <a:rect l="l" t="t" r="r" b="b"/>
              <a:pathLst>
                <a:path w="224154" h="228600" extrusionOk="0">
                  <a:moveTo>
                    <a:pt x="170180" y="210185"/>
                  </a:moveTo>
                  <a:lnTo>
                    <a:pt x="187325" y="228600"/>
                  </a:lnTo>
                  <a:lnTo>
                    <a:pt x="224155" y="193040"/>
                  </a:lnTo>
                  <a:lnTo>
                    <a:pt x="206375" y="174625"/>
                  </a:lnTo>
                  <a:lnTo>
                    <a:pt x="53975" y="18415"/>
                  </a:lnTo>
                  <a:lnTo>
                    <a:pt x="36195" y="0"/>
                  </a:lnTo>
                  <a:lnTo>
                    <a:pt x="0" y="35560"/>
                  </a:lnTo>
                  <a:lnTo>
                    <a:pt x="17780" y="5397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21" name="Google Shape;2621;p66"/>
            <p:cNvSpPr/>
            <p:nvPr/>
          </p:nvSpPr>
          <p:spPr>
            <a:xfrm>
              <a:off x="1870710" y="0"/>
              <a:ext cx="199389" cy="159385"/>
            </a:xfrm>
            <a:custGeom>
              <a:avLst/>
              <a:gdLst/>
              <a:ahLst/>
              <a:cxnLst/>
              <a:rect l="l" t="t" r="r" b="b"/>
              <a:pathLst>
                <a:path w="199389" h="159385" extrusionOk="0">
                  <a:moveTo>
                    <a:pt x="164465" y="159385"/>
                  </a:moveTo>
                  <a:lnTo>
                    <a:pt x="199390" y="123190"/>
                  </a:lnTo>
                  <a:lnTo>
                    <a:pt x="181610" y="105410"/>
                  </a:lnTo>
                  <a:lnTo>
                    <a:pt x="73025" y="0"/>
                  </a:lnTo>
                  <a:lnTo>
                    <a:pt x="0" y="0"/>
                  </a:lnTo>
                  <a:lnTo>
                    <a:pt x="146050" y="14160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22" name="Google Shape;2622;p66"/>
            <p:cNvSpPr/>
            <p:nvPr/>
          </p:nvSpPr>
          <p:spPr>
            <a:xfrm>
              <a:off x="2480945" y="301625"/>
              <a:ext cx="224154" cy="219709"/>
            </a:xfrm>
            <a:custGeom>
              <a:avLst/>
              <a:gdLst/>
              <a:ahLst/>
              <a:cxnLst/>
              <a:rect l="l" t="t" r="r" b="b"/>
              <a:pathLst>
                <a:path w="224154" h="219709" extrusionOk="0">
                  <a:moveTo>
                    <a:pt x="18415" y="53975"/>
                  </a:moveTo>
                  <a:lnTo>
                    <a:pt x="170815" y="201930"/>
                  </a:lnTo>
                  <a:lnTo>
                    <a:pt x="189230" y="219710"/>
                  </a:lnTo>
                  <a:lnTo>
                    <a:pt x="224155" y="183515"/>
                  </a:lnTo>
                  <a:lnTo>
                    <a:pt x="206375" y="165735"/>
                  </a:lnTo>
                  <a:lnTo>
                    <a:pt x="53975" y="17780"/>
                  </a:lnTo>
                  <a:lnTo>
                    <a:pt x="35560" y="0"/>
                  </a:lnTo>
                  <a:lnTo>
                    <a:pt x="0" y="3619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23" name="Google Shape;2623;p66"/>
            <p:cNvSpPr/>
            <p:nvPr/>
          </p:nvSpPr>
          <p:spPr>
            <a:xfrm>
              <a:off x="3115945" y="663575"/>
              <a:ext cx="224154" cy="219710"/>
            </a:xfrm>
            <a:custGeom>
              <a:avLst/>
              <a:gdLst/>
              <a:ahLst/>
              <a:cxnLst/>
              <a:rect l="l" t="t" r="r" b="b"/>
              <a:pathLst>
                <a:path w="224154" h="219710" extrusionOk="0">
                  <a:moveTo>
                    <a:pt x="18415" y="53975"/>
                  </a:moveTo>
                  <a:lnTo>
                    <a:pt x="170815" y="201930"/>
                  </a:lnTo>
                  <a:lnTo>
                    <a:pt x="189230" y="219710"/>
                  </a:lnTo>
                  <a:lnTo>
                    <a:pt x="224155" y="183515"/>
                  </a:lnTo>
                  <a:lnTo>
                    <a:pt x="206375" y="165735"/>
                  </a:lnTo>
                  <a:lnTo>
                    <a:pt x="53975" y="17780"/>
                  </a:lnTo>
                  <a:lnTo>
                    <a:pt x="35560" y="0"/>
                  </a:lnTo>
                  <a:lnTo>
                    <a:pt x="0" y="3619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24" name="Google Shape;2624;p66"/>
            <p:cNvSpPr/>
            <p:nvPr/>
          </p:nvSpPr>
          <p:spPr>
            <a:xfrm>
              <a:off x="3750945" y="1025525"/>
              <a:ext cx="224154" cy="219710"/>
            </a:xfrm>
            <a:custGeom>
              <a:avLst/>
              <a:gdLst/>
              <a:ahLst/>
              <a:cxnLst/>
              <a:rect l="l" t="t" r="r" b="b"/>
              <a:pathLst>
                <a:path w="224154" h="219710" extrusionOk="0">
                  <a:moveTo>
                    <a:pt x="53975" y="17780"/>
                  </a:moveTo>
                  <a:lnTo>
                    <a:pt x="35560" y="0"/>
                  </a:lnTo>
                  <a:lnTo>
                    <a:pt x="0" y="36195"/>
                  </a:lnTo>
                  <a:lnTo>
                    <a:pt x="18415" y="53975"/>
                  </a:lnTo>
                  <a:lnTo>
                    <a:pt x="170815" y="201930"/>
                  </a:lnTo>
                  <a:lnTo>
                    <a:pt x="189230" y="219710"/>
                  </a:lnTo>
                  <a:lnTo>
                    <a:pt x="224155" y="183515"/>
                  </a:lnTo>
                  <a:lnTo>
                    <a:pt x="206375" y="16573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25" name="Google Shape;2625;p66"/>
            <p:cNvSpPr/>
            <p:nvPr/>
          </p:nvSpPr>
          <p:spPr>
            <a:xfrm>
              <a:off x="4385945" y="1387475"/>
              <a:ext cx="224154" cy="219710"/>
            </a:xfrm>
            <a:custGeom>
              <a:avLst/>
              <a:gdLst/>
              <a:ahLst/>
              <a:cxnLst/>
              <a:rect l="l" t="t" r="r" b="b"/>
              <a:pathLst>
                <a:path w="224154" h="219710" extrusionOk="0">
                  <a:moveTo>
                    <a:pt x="53975" y="17780"/>
                  </a:moveTo>
                  <a:lnTo>
                    <a:pt x="35560" y="0"/>
                  </a:lnTo>
                  <a:lnTo>
                    <a:pt x="0" y="36195"/>
                  </a:lnTo>
                  <a:lnTo>
                    <a:pt x="18415" y="53975"/>
                  </a:lnTo>
                  <a:lnTo>
                    <a:pt x="170815" y="201930"/>
                  </a:lnTo>
                  <a:lnTo>
                    <a:pt x="189230" y="219710"/>
                  </a:lnTo>
                  <a:lnTo>
                    <a:pt x="224155" y="183515"/>
                  </a:lnTo>
                  <a:lnTo>
                    <a:pt x="206375" y="16573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26" name="Google Shape;2626;p66"/>
            <p:cNvSpPr/>
            <p:nvPr/>
          </p:nvSpPr>
          <p:spPr>
            <a:xfrm>
              <a:off x="5020945" y="1749425"/>
              <a:ext cx="224154" cy="219710"/>
            </a:xfrm>
            <a:custGeom>
              <a:avLst/>
              <a:gdLst/>
              <a:ahLst/>
              <a:cxnLst/>
              <a:rect l="l" t="t" r="r" b="b"/>
              <a:pathLst>
                <a:path w="224154" h="219710" extrusionOk="0">
                  <a:moveTo>
                    <a:pt x="53975" y="17780"/>
                  </a:moveTo>
                  <a:lnTo>
                    <a:pt x="35560" y="0"/>
                  </a:lnTo>
                  <a:lnTo>
                    <a:pt x="0" y="36195"/>
                  </a:lnTo>
                  <a:lnTo>
                    <a:pt x="18415" y="53975"/>
                  </a:lnTo>
                  <a:lnTo>
                    <a:pt x="170815" y="201930"/>
                  </a:lnTo>
                  <a:lnTo>
                    <a:pt x="189230" y="219710"/>
                  </a:lnTo>
                  <a:lnTo>
                    <a:pt x="224155" y="183515"/>
                  </a:lnTo>
                  <a:lnTo>
                    <a:pt x="206375" y="16573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27" name="Google Shape;2627;p66"/>
            <p:cNvSpPr/>
            <p:nvPr/>
          </p:nvSpPr>
          <p:spPr>
            <a:xfrm>
              <a:off x="5655945" y="2111375"/>
              <a:ext cx="224154" cy="219710"/>
            </a:xfrm>
            <a:custGeom>
              <a:avLst/>
              <a:gdLst/>
              <a:ahLst/>
              <a:cxnLst/>
              <a:rect l="l" t="t" r="r" b="b"/>
              <a:pathLst>
                <a:path w="224154" h="219710" extrusionOk="0">
                  <a:moveTo>
                    <a:pt x="53975" y="17780"/>
                  </a:moveTo>
                  <a:lnTo>
                    <a:pt x="35560" y="0"/>
                  </a:lnTo>
                  <a:lnTo>
                    <a:pt x="0" y="36195"/>
                  </a:lnTo>
                  <a:lnTo>
                    <a:pt x="18415" y="53975"/>
                  </a:lnTo>
                  <a:lnTo>
                    <a:pt x="170815" y="201930"/>
                  </a:lnTo>
                  <a:lnTo>
                    <a:pt x="189230" y="219710"/>
                  </a:lnTo>
                  <a:lnTo>
                    <a:pt x="224155" y="183515"/>
                  </a:lnTo>
                  <a:lnTo>
                    <a:pt x="206375" y="16573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28" name="Google Shape;2628;p66"/>
            <p:cNvSpPr/>
            <p:nvPr/>
          </p:nvSpPr>
          <p:spPr>
            <a:xfrm>
              <a:off x="6290945" y="2473325"/>
              <a:ext cx="224154" cy="219710"/>
            </a:xfrm>
            <a:custGeom>
              <a:avLst/>
              <a:gdLst/>
              <a:ahLst/>
              <a:cxnLst/>
              <a:rect l="l" t="t" r="r" b="b"/>
              <a:pathLst>
                <a:path w="224154" h="219710" extrusionOk="0">
                  <a:moveTo>
                    <a:pt x="53975" y="17780"/>
                  </a:moveTo>
                  <a:lnTo>
                    <a:pt x="35560" y="0"/>
                  </a:lnTo>
                  <a:lnTo>
                    <a:pt x="0" y="36195"/>
                  </a:lnTo>
                  <a:lnTo>
                    <a:pt x="18415" y="53975"/>
                  </a:lnTo>
                  <a:lnTo>
                    <a:pt x="170815" y="201930"/>
                  </a:lnTo>
                  <a:lnTo>
                    <a:pt x="189230" y="219710"/>
                  </a:lnTo>
                  <a:lnTo>
                    <a:pt x="224155" y="183515"/>
                  </a:lnTo>
                  <a:lnTo>
                    <a:pt x="206375" y="16573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29" name="Google Shape;2629;p66"/>
            <p:cNvSpPr/>
            <p:nvPr/>
          </p:nvSpPr>
          <p:spPr>
            <a:xfrm>
              <a:off x="6925944" y="2835275"/>
              <a:ext cx="224155" cy="219710"/>
            </a:xfrm>
            <a:custGeom>
              <a:avLst/>
              <a:gdLst/>
              <a:ahLst/>
              <a:cxnLst/>
              <a:rect l="l" t="t" r="r" b="b"/>
              <a:pathLst>
                <a:path w="224155" h="219710" extrusionOk="0">
                  <a:moveTo>
                    <a:pt x="18415" y="53975"/>
                  </a:moveTo>
                  <a:lnTo>
                    <a:pt x="170815" y="201930"/>
                  </a:lnTo>
                  <a:lnTo>
                    <a:pt x="189230" y="219710"/>
                  </a:lnTo>
                  <a:lnTo>
                    <a:pt x="224155" y="183515"/>
                  </a:lnTo>
                  <a:lnTo>
                    <a:pt x="206375" y="165735"/>
                  </a:lnTo>
                  <a:lnTo>
                    <a:pt x="53975" y="17780"/>
                  </a:lnTo>
                  <a:lnTo>
                    <a:pt x="35561" y="0"/>
                  </a:lnTo>
                  <a:lnTo>
                    <a:pt x="0" y="3619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30" name="Google Shape;2630;p66"/>
            <p:cNvSpPr/>
            <p:nvPr/>
          </p:nvSpPr>
          <p:spPr>
            <a:xfrm>
              <a:off x="7560944" y="3197225"/>
              <a:ext cx="224155" cy="219709"/>
            </a:xfrm>
            <a:custGeom>
              <a:avLst/>
              <a:gdLst/>
              <a:ahLst/>
              <a:cxnLst/>
              <a:rect l="l" t="t" r="r" b="b"/>
              <a:pathLst>
                <a:path w="224155" h="219709" extrusionOk="0">
                  <a:moveTo>
                    <a:pt x="18415" y="53975"/>
                  </a:moveTo>
                  <a:lnTo>
                    <a:pt x="170815" y="201930"/>
                  </a:lnTo>
                  <a:lnTo>
                    <a:pt x="189230" y="219710"/>
                  </a:lnTo>
                  <a:lnTo>
                    <a:pt x="224155" y="183515"/>
                  </a:lnTo>
                  <a:lnTo>
                    <a:pt x="206375" y="165735"/>
                  </a:lnTo>
                  <a:lnTo>
                    <a:pt x="53975" y="17780"/>
                  </a:lnTo>
                  <a:lnTo>
                    <a:pt x="35561" y="0"/>
                  </a:lnTo>
                  <a:lnTo>
                    <a:pt x="0" y="3619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31" name="Google Shape;2631;p66"/>
            <p:cNvSpPr/>
            <p:nvPr/>
          </p:nvSpPr>
          <p:spPr>
            <a:xfrm>
              <a:off x="8195944" y="3559175"/>
              <a:ext cx="224155" cy="219709"/>
            </a:xfrm>
            <a:custGeom>
              <a:avLst/>
              <a:gdLst/>
              <a:ahLst/>
              <a:cxnLst/>
              <a:rect l="l" t="t" r="r" b="b"/>
              <a:pathLst>
                <a:path w="224155" h="219709" extrusionOk="0">
                  <a:moveTo>
                    <a:pt x="18415" y="53975"/>
                  </a:moveTo>
                  <a:lnTo>
                    <a:pt x="170815" y="201930"/>
                  </a:lnTo>
                  <a:lnTo>
                    <a:pt x="189230" y="219710"/>
                  </a:lnTo>
                  <a:lnTo>
                    <a:pt x="224155" y="183515"/>
                  </a:lnTo>
                  <a:lnTo>
                    <a:pt x="206375" y="165735"/>
                  </a:lnTo>
                  <a:lnTo>
                    <a:pt x="53975" y="17780"/>
                  </a:lnTo>
                  <a:lnTo>
                    <a:pt x="35561" y="0"/>
                  </a:lnTo>
                  <a:lnTo>
                    <a:pt x="0" y="3619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32" name="Google Shape;2632;p66"/>
            <p:cNvSpPr/>
            <p:nvPr/>
          </p:nvSpPr>
          <p:spPr>
            <a:xfrm>
              <a:off x="8830944" y="3921125"/>
              <a:ext cx="224155" cy="219709"/>
            </a:xfrm>
            <a:custGeom>
              <a:avLst/>
              <a:gdLst/>
              <a:ahLst/>
              <a:cxnLst/>
              <a:rect l="l" t="t" r="r" b="b"/>
              <a:pathLst>
                <a:path w="224155" h="219709" extrusionOk="0">
                  <a:moveTo>
                    <a:pt x="189230" y="219710"/>
                  </a:moveTo>
                  <a:lnTo>
                    <a:pt x="224155" y="183515"/>
                  </a:lnTo>
                  <a:lnTo>
                    <a:pt x="206375" y="165735"/>
                  </a:lnTo>
                  <a:lnTo>
                    <a:pt x="53975" y="17780"/>
                  </a:lnTo>
                  <a:lnTo>
                    <a:pt x="35561" y="0"/>
                  </a:lnTo>
                  <a:lnTo>
                    <a:pt x="0" y="36195"/>
                  </a:lnTo>
                  <a:lnTo>
                    <a:pt x="18415" y="53975"/>
                  </a:lnTo>
                  <a:lnTo>
                    <a:pt x="170815" y="20193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33" name="Google Shape;2633;p66"/>
            <p:cNvSpPr/>
            <p:nvPr/>
          </p:nvSpPr>
          <p:spPr>
            <a:xfrm>
              <a:off x="9465944" y="4283075"/>
              <a:ext cx="224155" cy="219709"/>
            </a:xfrm>
            <a:custGeom>
              <a:avLst/>
              <a:gdLst/>
              <a:ahLst/>
              <a:cxnLst/>
              <a:rect l="l" t="t" r="r" b="b"/>
              <a:pathLst>
                <a:path w="224155" h="219709" extrusionOk="0">
                  <a:moveTo>
                    <a:pt x="189230" y="219710"/>
                  </a:moveTo>
                  <a:lnTo>
                    <a:pt x="224155" y="183515"/>
                  </a:lnTo>
                  <a:lnTo>
                    <a:pt x="206375" y="165735"/>
                  </a:lnTo>
                  <a:lnTo>
                    <a:pt x="53975" y="17780"/>
                  </a:lnTo>
                  <a:lnTo>
                    <a:pt x="35561" y="0"/>
                  </a:lnTo>
                  <a:lnTo>
                    <a:pt x="0" y="36195"/>
                  </a:lnTo>
                  <a:lnTo>
                    <a:pt x="18415" y="53975"/>
                  </a:lnTo>
                  <a:lnTo>
                    <a:pt x="170815" y="20193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34" name="Google Shape;2634;p66"/>
            <p:cNvSpPr/>
            <p:nvPr/>
          </p:nvSpPr>
          <p:spPr>
            <a:xfrm>
              <a:off x="10100944" y="4645025"/>
              <a:ext cx="224155" cy="219709"/>
            </a:xfrm>
            <a:custGeom>
              <a:avLst/>
              <a:gdLst/>
              <a:ahLst/>
              <a:cxnLst/>
              <a:rect l="l" t="t" r="r" b="b"/>
              <a:pathLst>
                <a:path w="224155" h="219709" extrusionOk="0">
                  <a:moveTo>
                    <a:pt x="189230" y="219710"/>
                  </a:moveTo>
                  <a:lnTo>
                    <a:pt x="224155" y="183515"/>
                  </a:lnTo>
                  <a:lnTo>
                    <a:pt x="206375" y="165735"/>
                  </a:lnTo>
                  <a:lnTo>
                    <a:pt x="53975" y="17780"/>
                  </a:lnTo>
                  <a:lnTo>
                    <a:pt x="35561" y="0"/>
                  </a:lnTo>
                  <a:lnTo>
                    <a:pt x="0" y="36195"/>
                  </a:lnTo>
                  <a:lnTo>
                    <a:pt x="18415" y="53975"/>
                  </a:lnTo>
                  <a:lnTo>
                    <a:pt x="170815" y="20193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35" name="Google Shape;2635;p66"/>
            <p:cNvSpPr/>
            <p:nvPr/>
          </p:nvSpPr>
          <p:spPr>
            <a:xfrm>
              <a:off x="10735944" y="5006975"/>
              <a:ext cx="224155" cy="219709"/>
            </a:xfrm>
            <a:custGeom>
              <a:avLst/>
              <a:gdLst/>
              <a:ahLst/>
              <a:cxnLst/>
              <a:rect l="l" t="t" r="r" b="b"/>
              <a:pathLst>
                <a:path w="224155" h="219709" extrusionOk="0">
                  <a:moveTo>
                    <a:pt x="189230" y="219710"/>
                  </a:moveTo>
                  <a:lnTo>
                    <a:pt x="224155" y="183515"/>
                  </a:lnTo>
                  <a:lnTo>
                    <a:pt x="206375" y="165735"/>
                  </a:lnTo>
                  <a:lnTo>
                    <a:pt x="53975" y="17780"/>
                  </a:lnTo>
                  <a:lnTo>
                    <a:pt x="35561" y="0"/>
                  </a:lnTo>
                  <a:lnTo>
                    <a:pt x="0" y="36195"/>
                  </a:lnTo>
                  <a:lnTo>
                    <a:pt x="18415" y="53975"/>
                  </a:lnTo>
                  <a:lnTo>
                    <a:pt x="170815" y="20193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36" name="Google Shape;2636;p66"/>
            <p:cNvSpPr/>
            <p:nvPr/>
          </p:nvSpPr>
          <p:spPr>
            <a:xfrm>
              <a:off x="11370944" y="5368925"/>
              <a:ext cx="224155" cy="219709"/>
            </a:xfrm>
            <a:custGeom>
              <a:avLst/>
              <a:gdLst/>
              <a:ahLst/>
              <a:cxnLst/>
              <a:rect l="l" t="t" r="r" b="b"/>
              <a:pathLst>
                <a:path w="224155" h="219709" extrusionOk="0">
                  <a:moveTo>
                    <a:pt x="189230" y="219710"/>
                  </a:moveTo>
                  <a:lnTo>
                    <a:pt x="224155" y="183515"/>
                  </a:lnTo>
                  <a:lnTo>
                    <a:pt x="206375" y="165735"/>
                  </a:lnTo>
                  <a:lnTo>
                    <a:pt x="53975" y="17780"/>
                  </a:lnTo>
                  <a:lnTo>
                    <a:pt x="35561" y="0"/>
                  </a:lnTo>
                  <a:lnTo>
                    <a:pt x="0" y="36195"/>
                  </a:lnTo>
                  <a:lnTo>
                    <a:pt x="18415" y="53975"/>
                  </a:lnTo>
                  <a:lnTo>
                    <a:pt x="170815" y="20193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37" name="Google Shape;2637;p66"/>
            <p:cNvSpPr/>
            <p:nvPr/>
          </p:nvSpPr>
          <p:spPr>
            <a:xfrm>
              <a:off x="12005944" y="5730875"/>
              <a:ext cx="186055" cy="217170"/>
            </a:xfrm>
            <a:custGeom>
              <a:avLst/>
              <a:gdLst/>
              <a:ahLst/>
              <a:cxnLst/>
              <a:rect l="l" t="t" r="r" b="b"/>
              <a:pathLst>
                <a:path w="186055" h="217170" extrusionOk="0">
                  <a:moveTo>
                    <a:pt x="35561" y="0"/>
                  </a:moveTo>
                  <a:lnTo>
                    <a:pt x="0" y="36195"/>
                  </a:lnTo>
                  <a:lnTo>
                    <a:pt x="18415" y="53975"/>
                  </a:lnTo>
                  <a:lnTo>
                    <a:pt x="170815" y="201930"/>
                  </a:lnTo>
                  <a:lnTo>
                    <a:pt x="186055" y="217170"/>
                  </a:lnTo>
                  <a:lnTo>
                    <a:pt x="186055" y="146050"/>
                  </a:lnTo>
                  <a:lnTo>
                    <a:pt x="53975" y="177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38" name="Google Shape;2638;p66"/>
            <p:cNvSpPr/>
            <p:nvPr/>
          </p:nvSpPr>
          <p:spPr>
            <a:xfrm>
              <a:off x="2294254" y="0"/>
              <a:ext cx="207010" cy="152400"/>
            </a:xfrm>
            <a:custGeom>
              <a:avLst/>
              <a:gdLst/>
              <a:ahLst/>
              <a:cxnLst/>
              <a:rect l="l" t="t" r="r" b="b"/>
              <a:pathLst>
                <a:path w="207010" h="152400" extrusionOk="0">
                  <a:moveTo>
                    <a:pt x="154940" y="135255"/>
                  </a:moveTo>
                  <a:lnTo>
                    <a:pt x="173990" y="152400"/>
                  </a:lnTo>
                  <a:lnTo>
                    <a:pt x="207010" y="114300"/>
                  </a:lnTo>
                  <a:lnTo>
                    <a:pt x="187960" y="97155"/>
                  </a:lnTo>
                  <a:lnTo>
                    <a:pt x="77470" y="0"/>
                  </a:lnTo>
                  <a:lnTo>
                    <a:pt x="0" y="0"/>
                  </a:lnTo>
                  <a:lnTo>
                    <a:pt x="2540" y="190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39" name="Google Shape;2639;p66"/>
            <p:cNvSpPr/>
            <p:nvPr/>
          </p:nvSpPr>
          <p:spPr>
            <a:xfrm>
              <a:off x="2912745" y="308609"/>
              <a:ext cx="223519" cy="205740"/>
            </a:xfrm>
            <a:custGeom>
              <a:avLst/>
              <a:gdLst/>
              <a:ahLst/>
              <a:cxnLst/>
              <a:rect l="l" t="t" r="r" b="b"/>
              <a:pathLst>
                <a:path w="223519" h="205740" extrusionOk="0">
                  <a:moveTo>
                    <a:pt x="0" y="38100"/>
                  </a:moveTo>
                  <a:lnTo>
                    <a:pt x="19050" y="55245"/>
                  </a:lnTo>
                  <a:lnTo>
                    <a:pt x="171450" y="188595"/>
                  </a:lnTo>
                  <a:lnTo>
                    <a:pt x="190500" y="205740"/>
                  </a:lnTo>
                  <a:lnTo>
                    <a:pt x="223520" y="167640"/>
                  </a:lnTo>
                  <a:lnTo>
                    <a:pt x="204470" y="150495"/>
                  </a:lnTo>
                  <a:lnTo>
                    <a:pt x="52070" y="17145"/>
                  </a:lnTo>
                  <a:lnTo>
                    <a:pt x="3302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40" name="Google Shape;2640;p66"/>
            <p:cNvSpPr/>
            <p:nvPr/>
          </p:nvSpPr>
          <p:spPr>
            <a:xfrm>
              <a:off x="3547745" y="670559"/>
              <a:ext cx="223520" cy="205740"/>
            </a:xfrm>
            <a:custGeom>
              <a:avLst/>
              <a:gdLst/>
              <a:ahLst/>
              <a:cxnLst/>
              <a:rect l="l" t="t" r="r" b="b"/>
              <a:pathLst>
                <a:path w="223520" h="205740" extrusionOk="0">
                  <a:moveTo>
                    <a:pt x="0" y="38100"/>
                  </a:moveTo>
                  <a:lnTo>
                    <a:pt x="19050" y="55245"/>
                  </a:lnTo>
                  <a:lnTo>
                    <a:pt x="171450" y="188595"/>
                  </a:lnTo>
                  <a:lnTo>
                    <a:pt x="190500" y="205740"/>
                  </a:lnTo>
                  <a:lnTo>
                    <a:pt x="223520" y="167640"/>
                  </a:lnTo>
                  <a:lnTo>
                    <a:pt x="204470" y="150495"/>
                  </a:lnTo>
                  <a:lnTo>
                    <a:pt x="52070" y="17145"/>
                  </a:lnTo>
                  <a:lnTo>
                    <a:pt x="3302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41" name="Google Shape;2641;p66"/>
            <p:cNvSpPr/>
            <p:nvPr/>
          </p:nvSpPr>
          <p:spPr>
            <a:xfrm>
              <a:off x="4182745" y="1032510"/>
              <a:ext cx="223520" cy="205739"/>
            </a:xfrm>
            <a:custGeom>
              <a:avLst/>
              <a:gdLst/>
              <a:ahLst/>
              <a:cxnLst/>
              <a:rect l="l" t="t" r="r" b="b"/>
              <a:pathLst>
                <a:path w="223520" h="205739" extrusionOk="0">
                  <a:moveTo>
                    <a:pt x="0" y="38100"/>
                  </a:moveTo>
                  <a:lnTo>
                    <a:pt x="19050" y="55245"/>
                  </a:lnTo>
                  <a:lnTo>
                    <a:pt x="171450" y="188595"/>
                  </a:lnTo>
                  <a:lnTo>
                    <a:pt x="190500" y="205740"/>
                  </a:lnTo>
                  <a:lnTo>
                    <a:pt x="223520" y="167640"/>
                  </a:lnTo>
                  <a:lnTo>
                    <a:pt x="204470" y="150495"/>
                  </a:lnTo>
                  <a:lnTo>
                    <a:pt x="52070" y="17145"/>
                  </a:lnTo>
                  <a:lnTo>
                    <a:pt x="3302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42" name="Google Shape;2642;p66"/>
            <p:cNvSpPr/>
            <p:nvPr/>
          </p:nvSpPr>
          <p:spPr>
            <a:xfrm>
              <a:off x="4817745" y="1394460"/>
              <a:ext cx="223520" cy="205739"/>
            </a:xfrm>
            <a:custGeom>
              <a:avLst/>
              <a:gdLst/>
              <a:ahLst/>
              <a:cxnLst/>
              <a:rect l="l" t="t" r="r" b="b"/>
              <a:pathLst>
                <a:path w="223520" h="205739" extrusionOk="0">
                  <a:moveTo>
                    <a:pt x="0" y="38100"/>
                  </a:moveTo>
                  <a:lnTo>
                    <a:pt x="19050" y="55245"/>
                  </a:lnTo>
                  <a:lnTo>
                    <a:pt x="171450" y="188595"/>
                  </a:lnTo>
                  <a:lnTo>
                    <a:pt x="190500" y="205740"/>
                  </a:lnTo>
                  <a:lnTo>
                    <a:pt x="223520" y="167640"/>
                  </a:lnTo>
                  <a:lnTo>
                    <a:pt x="204470" y="150495"/>
                  </a:lnTo>
                  <a:lnTo>
                    <a:pt x="52070" y="17145"/>
                  </a:lnTo>
                  <a:lnTo>
                    <a:pt x="3302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43" name="Google Shape;2643;p66"/>
            <p:cNvSpPr/>
            <p:nvPr/>
          </p:nvSpPr>
          <p:spPr>
            <a:xfrm>
              <a:off x="5452745" y="1756410"/>
              <a:ext cx="223520" cy="205739"/>
            </a:xfrm>
            <a:custGeom>
              <a:avLst/>
              <a:gdLst/>
              <a:ahLst/>
              <a:cxnLst/>
              <a:rect l="l" t="t" r="r" b="b"/>
              <a:pathLst>
                <a:path w="223520" h="205739" extrusionOk="0">
                  <a:moveTo>
                    <a:pt x="0" y="38100"/>
                  </a:moveTo>
                  <a:lnTo>
                    <a:pt x="19050" y="55245"/>
                  </a:lnTo>
                  <a:lnTo>
                    <a:pt x="171450" y="188595"/>
                  </a:lnTo>
                  <a:lnTo>
                    <a:pt x="190500" y="205740"/>
                  </a:lnTo>
                  <a:lnTo>
                    <a:pt x="223520" y="167640"/>
                  </a:lnTo>
                  <a:lnTo>
                    <a:pt x="204470" y="150495"/>
                  </a:lnTo>
                  <a:lnTo>
                    <a:pt x="52070" y="17145"/>
                  </a:lnTo>
                  <a:lnTo>
                    <a:pt x="3302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44" name="Google Shape;2644;p66"/>
            <p:cNvSpPr/>
            <p:nvPr/>
          </p:nvSpPr>
          <p:spPr>
            <a:xfrm>
              <a:off x="6087745" y="2118360"/>
              <a:ext cx="223520" cy="205739"/>
            </a:xfrm>
            <a:custGeom>
              <a:avLst/>
              <a:gdLst/>
              <a:ahLst/>
              <a:cxnLst/>
              <a:rect l="l" t="t" r="r" b="b"/>
              <a:pathLst>
                <a:path w="223520" h="205739" extrusionOk="0">
                  <a:moveTo>
                    <a:pt x="0" y="38100"/>
                  </a:moveTo>
                  <a:lnTo>
                    <a:pt x="19050" y="55245"/>
                  </a:lnTo>
                  <a:lnTo>
                    <a:pt x="171450" y="188595"/>
                  </a:lnTo>
                  <a:lnTo>
                    <a:pt x="190500" y="205740"/>
                  </a:lnTo>
                  <a:lnTo>
                    <a:pt x="223520" y="167640"/>
                  </a:lnTo>
                  <a:lnTo>
                    <a:pt x="204470" y="150495"/>
                  </a:lnTo>
                  <a:lnTo>
                    <a:pt x="52070" y="17145"/>
                  </a:lnTo>
                  <a:lnTo>
                    <a:pt x="3302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45" name="Google Shape;2645;p66"/>
            <p:cNvSpPr/>
            <p:nvPr/>
          </p:nvSpPr>
          <p:spPr>
            <a:xfrm>
              <a:off x="6722744" y="2480310"/>
              <a:ext cx="223520" cy="205739"/>
            </a:xfrm>
            <a:custGeom>
              <a:avLst/>
              <a:gdLst/>
              <a:ahLst/>
              <a:cxnLst/>
              <a:rect l="l" t="t" r="r" b="b"/>
              <a:pathLst>
                <a:path w="223520" h="205739" extrusionOk="0">
                  <a:moveTo>
                    <a:pt x="0" y="38100"/>
                  </a:moveTo>
                  <a:lnTo>
                    <a:pt x="19050" y="55245"/>
                  </a:lnTo>
                  <a:lnTo>
                    <a:pt x="171450" y="188595"/>
                  </a:lnTo>
                  <a:lnTo>
                    <a:pt x="190500" y="205740"/>
                  </a:lnTo>
                  <a:lnTo>
                    <a:pt x="223520" y="167640"/>
                  </a:lnTo>
                  <a:lnTo>
                    <a:pt x="204470" y="150495"/>
                  </a:lnTo>
                  <a:lnTo>
                    <a:pt x="52070" y="17145"/>
                  </a:lnTo>
                  <a:lnTo>
                    <a:pt x="3302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46" name="Google Shape;2646;p66"/>
            <p:cNvSpPr/>
            <p:nvPr/>
          </p:nvSpPr>
          <p:spPr>
            <a:xfrm>
              <a:off x="7357744" y="2842260"/>
              <a:ext cx="223520" cy="205739"/>
            </a:xfrm>
            <a:custGeom>
              <a:avLst/>
              <a:gdLst/>
              <a:ahLst/>
              <a:cxnLst/>
              <a:rect l="l" t="t" r="r" b="b"/>
              <a:pathLst>
                <a:path w="223520" h="205739" extrusionOk="0">
                  <a:moveTo>
                    <a:pt x="0" y="38100"/>
                  </a:moveTo>
                  <a:lnTo>
                    <a:pt x="19050" y="55245"/>
                  </a:lnTo>
                  <a:lnTo>
                    <a:pt x="171450" y="188595"/>
                  </a:lnTo>
                  <a:lnTo>
                    <a:pt x="190500" y="205740"/>
                  </a:lnTo>
                  <a:lnTo>
                    <a:pt x="223520" y="167640"/>
                  </a:lnTo>
                  <a:lnTo>
                    <a:pt x="204470" y="150495"/>
                  </a:lnTo>
                  <a:lnTo>
                    <a:pt x="52070" y="17145"/>
                  </a:lnTo>
                  <a:lnTo>
                    <a:pt x="3302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47" name="Google Shape;2647;p66"/>
            <p:cNvSpPr/>
            <p:nvPr/>
          </p:nvSpPr>
          <p:spPr>
            <a:xfrm>
              <a:off x="7992744" y="3204210"/>
              <a:ext cx="223520" cy="205739"/>
            </a:xfrm>
            <a:custGeom>
              <a:avLst/>
              <a:gdLst/>
              <a:ahLst/>
              <a:cxnLst/>
              <a:rect l="l" t="t" r="r" b="b"/>
              <a:pathLst>
                <a:path w="223520" h="205739" extrusionOk="0">
                  <a:moveTo>
                    <a:pt x="0" y="38100"/>
                  </a:moveTo>
                  <a:lnTo>
                    <a:pt x="19050" y="55245"/>
                  </a:lnTo>
                  <a:lnTo>
                    <a:pt x="171450" y="188595"/>
                  </a:lnTo>
                  <a:lnTo>
                    <a:pt x="190500" y="205740"/>
                  </a:lnTo>
                  <a:lnTo>
                    <a:pt x="223520" y="167640"/>
                  </a:lnTo>
                  <a:lnTo>
                    <a:pt x="204470" y="150495"/>
                  </a:lnTo>
                  <a:lnTo>
                    <a:pt x="52070" y="17145"/>
                  </a:lnTo>
                  <a:lnTo>
                    <a:pt x="3302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48" name="Google Shape;2648;p66"/>
            <p:cNvSpPr/>
            <p:nvPr/>
          </p:nvSpPr>
          <p:spPr>
            <a:xfrm>
              <a:off x="8627744" y="3566159"/>
              <a:ext cx="223520" cy="205740"/>
            </a:xfrm>
            <a:custGeom>
              <a:avLst/>
              <a:gdLst/>
              <a:ahLst/>
              <a:cxnLst/>
              <a:rect l="l" t="t" r="r" b="b"/>
              <a:pathLst>
                <a:path w="223520" h="205740" extrusionOk="0">
                  <a:moveTo>
                    <a:pt x="33020" y="0"/>
                  </a:moveTo>
                  <a:lnTo>
                    <a:pt x="0" y="38100"/>
                  </a:lnTo>
                  <a:lnTo>
                    <a:pt x="19050" y="55245"/>
                  </a:lnTo>
                  <a:lnTo>
                    <a:pt x="171450" y="188595"/>
                  </a:lnTo>
                  <a:lnTo>
                    <a:pt x="190500" y="205740"/>
                  </a:lnTo>
                  <a:lnTo>
                    <a:pt x="223520" y="167640"/>
                  </a:lnTo>
                  <a:lnTo>
                    <a:pt x="204470" y="150495"/>
                  </a:lnTo>
                  <a:lnTo>
                    <a:pt x="52070" y="1714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49" name="Google Shape;2649;p66"/>
            <p:cNvSpPr/>
            <p:nvPr/>
          </p:nvSpPr>
          <p:spPr>
            <a:xfrm>
              <a:off x="9262744" y="3928109"/>
              <a:ext cx="223520" cy="205740"/>
            </a:xfrm>
            <a:custGeom>
              <a:avLst/>
              <a:gdLst/>
              <a:ahLst/>
              <a:cxnLst/>
              <a:rect l="l" t="t" r="r" b="b"/>
              <a:pathLst>
                <a:path w="223520" h="205740" extrusionOk="0">
                  <a:moveTo>
                    <a:pt x="33020" y="0"/>
                  </a:moveTo>
                  <a:lnTo>
                    <a:pt x="0" y="38100"/>
                  </a:lnTo>
                  <a:lnTo>
                    <a:pt x="19050" y="55245"/>
                  </a:lnTo>
                  <a:lnTo>
                    <a:pt x="171450" y="188595"/>
                  </a:lnTo>
                  <a:lnTo>
                    <a:pt x="190500" y="205740"/>
                  </a:lnTo>
                  <a:lnTo>
                    <a:pt x="223520" y="167640"/>
                  </a:lnTo>
                  <a:lnTo>
                    <a:pt x="204470" y="150495"/>
                  </a:lnTo>
                  <a:lnTo>
                    <a:pt x="52070" y="1714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50" name="Google Shape;2650;p66"/>
            <p:cNvSpPr/>
            <p:nvPr/>
          </p:nvSpPr>
          <p:spPr>
            <a:xfrm>
              <a:off x="9897744" y="4290059"/>
              <a:ext cx="223520" cy="205740"/>
            </a:xfrm>
            <a:custGeom>
              <a:avLst/>
              <a:gdLst/>
              <a:ahLst/>
              <a:cxnLst/>
              <a:rect l="l" t="t" r="r" b="b"/>
              <a:pathLst>
                <a:path w="223520" h="205740" extrusionOk="0">
                  <a:moveTo>
                    <a:pt x="171450" y="188595"/>
                  </a:moveTo>
                  <a:lnTo>
                    <a:pt x="190500" y="205740"/>
                  </a:lnTo>
                  <a:lnTo>
                    <a:pt x="223520" y="167640"/>
                  </a:lnTo>
                  <a:lnTo>
                    <a:pt x="204470" y="150495"/>
                  </a:lnTo>
                  <a:lnTo>
                    <a:pt x="52070" y="17145"/>
                  </a:lnTo>
                  <a:lnTo>
                    <a:pt x="33020" y="0"/>
                  </a:lnTo>
                  <a:lnTo>
                    <a:pt x="0" y="38100"/>
                  </a:lnTo>
                  <a:lnTo>
                    <a:pt x="19050" y="5524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51" name="Google Shape;2651;p66"/>
            <p:cNvSpPr/>
            <p:nvPr/>
          </p:nvSpPr>
          <p:spPr>
            <a:xfrm>
              <a:off x="10532744" y="4652009"/>
              <a:ext cx="223520" cy="205740"/>
            </a:xfrm>
            <a:custGeom>
              <a:avLst/>
              <a:gdLst/>
              <a:ahLst/>
              <a:cxnLst/>
              <a:rect l="l" t="t" r="r" b="b"/>
              <a:pathLst>
                <a:path w="223520" h="205740" extrusionOk="0">
                  <a:moveTo>
                    <a:pt x="171450" y="188595"/>
                  </a:moveTo>
                  <a:lnTo>
                    <a:pt x="190500" y="205740"/>
                  </a:lnTo>
                  <a:lnTo>
                    <a:pt x="223520" y="167640"/>
                  </a:lnTo>
                  <a:lnTo>
                    <a:pt x="204470" y="150495"/>
                  </a:lnTo>
                  <a:lnTo>
                    <a:pt x="52070" y="17145"/>
                  </a:lnTo>
                  <a:lnTo>
                    <a:pt x="33020" y="0"/>
                  </a:lnTo>
                  <a:lnTo>
                    <a:pt x="0" y="38100"/>
                  </a:lnTo>
                  <a:lnTo>
                    <a:pt x="19050" y="5524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52" name="Google Shape;2652;p66"/>
            <p:cNvSpPr/>
            <p:nvPr/>
          </p:nvSpPr>
          <p:spPr>
            <a:xfrm>
              <a:off x="11167744" y="5013959"/>
              <a:ext cx="223520" cy="205740"/>
            </a:xfrm>
            <a:custGeom>
              <a:avLst/>
              <a:gdLst/>
              <a:ahLst/>
              <a:cxnLst/>
              <a:rect l="l" t="t" r="r" b="b"/>
              <a:pathLst>
                <a:path w="223520" h="205740" extrusionOk="0">
                  <a:moveTo>
                    <a:pt x="171450" y="188595"/>
                  </a:moveTo>
                  <a:lnTo>
                    <a:pt x="190500" y="205740"/>
                  </a:lnTo>
                  <a:lnTo>
                    <a:pt x="223520" y="167640"/>
                  </a:lnTo>
                  <a:lnTo>
                    <a:pt x="204470" y="150495"/>
                  </a:lnTo>
                  <a:lnTo>
                    <a:pt x="52070" y="17145"/>
                  </a:lnTo>
                  <a:lnTo>
                    <a:pt x="33020" y="0"/>
                  </a:lnTo>
                  <a:lnTo>
                    <a:pt x="0" y="38100"/>
                  </a:lnTo>
                  <a:lnTo>
                    <a:pt x="19050" y="5524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53" name="Google Shape;2653;p66"/>
            <p:cNvSpPr/>
            <p:nvPr/>
          </p:nvSpPr>
          <p:spPr>
            <a:xfrm>
              <a:off x="11802744" y="5375909"/>
              <a:ext cx="223520" cy="205740"/>
            </a:xfrm>
            <a:custGeom>
              <a:avLst/>
              <a:gdLst/>
              <a:ahLst/>
              <a:cxnLst/>
              <a:rect l="l" t="t" r="r" b="b"/>
              <a:pathLst>
                <a:path w="223520" h="205740" extrusionOk="0">
                  <a:moveTo>
                    <a:pt x="171450" y="188595"/>
                  </a:moveTo>
                  <a:lnTo>
                    <a:pt x="190500" y="205740"/>
                  </a:lnTo>
                  <a:lnTo>
                    <a:pt x="223520" y="167640"/>
                  </a:lnTo>
                  <a:lnTo>
                    <a:pt x="204470" y="150495"/>
                  </a:lnTo>
                  <a:lnTo>
                    <a:pt x="52070" y="17145"/>
                  </a:lnTo>
                  <a:lnTo>
                    <a:pt x="33020" y="0"/>
                  </a:lnTo>
                  <a:lnTo>
                    <a:pt x="0" y="38100"/>
                  </a:lnTo>
                  <a:lnTo>
                    <a:pt x="19050" y="5524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54" name="Google Shape;2654;p66"/>
            <p:cNvSpPr/>
            <p:nvPr/>
          </p:nvSpPr>
          <p:spPr>
            <a:xfrm>
              <a:off x="2736850" y="0"/>
              <a:ext cx="220345" cy="142239"/>
            </a:xfrm>
            <a:custGeom>
              <a:avLst/>
              <a:gdLst/>
              <a:ahLst/>
              <a:cxnLst/>
              <a:rect l="l" t="t" r="r" b="b"/>
              <a:pathLst>
                <a:path w="220345" h="142239" extrusionOk="0">
                  <a:moveTo>
                    <a:pt x="169545" y="127000"/>
                  </a:moveTo>
                  <a:lnTo>
                    <a:pt x="189865" y="142240"/>
                  </a:lnTo>
                  <a:lnTo>
                    <a:pt x="220345" y="101600"/>
                  </a:lnTo>
                  <a:lnTo>
                    <a:pt x="200025" y="86360"/>
                  </a:lnTo>
                  <a:lnTo>
                    <a:pt x="84455" y="0"/>
                  </a:lnTo>
                  <a:lnTo>
                    <a:pt x="0" y="0"/>
                  </a:lnTo>
                  <a:lnTo>
                    <a:pt x="17145" y="1270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55" name="Google Shape;2655;p66"/>
            <p:cNvSpPr/>
            <p:nvPr/>
          </p:nvSpPr>
          <p:spPr>
            <a:xfrm>
              <a:off x="3368675" y="318770"/>
              <a:ext cx="223520" cy="185420"/>
            </a:xfrm>
            <a:custGeom>
              <a:avLst/>
              <a:gdLst/>
              <a:ahLst/>
              <a:cxnLst/>
              <a:rect l="l" t="t" r="r" b="b"/>
              <a:pathLst>
                <a:path w="223520" h="185420" extrusionOk="0">
                  <a:moveTo>
                    <a:pt x="30480" y="0"/>
                  </a:moveTo>
                  <a:lnTo>
                    <a:pt x="0" y="40640"/>
                  </a:lnTo>
                  <a:lnTo>
                    <a:pt x="20320" y="55880"/>
                  </a:lnTo>
                  <a:lnTo>
                    <a:pt x="172720" y="170180"/>
                  </a:lnTo>
                  <a:lnTo>
                    <a:pt x="193040" y="185420"/>
                  </a:lnTo>
                  <a:lnTo>
                    <a:pt x="223520" y="144780"/>
                  </a:lnTo>
                  <a:lnTo>
                    <a:pt x="203200" y="129540"/>
                  </a:lnTo>
                  <a:lnTo>
                    <a:pt x="50800" y="152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56" name="Google Shape;2656;p66"/>
            <p:cNvSpPr/>
            <p:nvPr/>
          </p:nvSpPr>
          <p:spPr>
            <a:xfrm>
              <a:off x="4003675" y="680719"/>
              <a:ext cx="223520" cy="185419"/>
            </a:xfrm>
            <a:custGeom>
              <a:avLst/>
              <a:gdLst/>
              <a:ahLst/>
              <a:cxnLst/>
              <a:rect l="l" t="t" r="r" b="b"/>
              <a:pathLst>
                <a:path w="223520" h="185419" extrusionOk="0">
                  <a:moveTo>
                    <a:pt x="30480" y="0"/>
                  </a:moveTo>
                  <a:lnTo>
                    <a:pt x="0" y="40640"/>
                  </a:lnTo>
                  <a:lnTo>
                    <a:pt x="20320" y="55880"/>
                  </a:lnTo>
                  <a:lnTo>
                    <a:pt x="172720" y="170180"/>
                  </a:lnTo>
                  <a:lnTo>
                    <a:pt x="193040" y="185420"/>
                  </a:lnTo>
                  <a:lnTo>
                    <a:pt x="223520" y="144780"/>
                  </a:lnTo>
                  <a:lnTo>
                    <a:pt x="203200" y="129540"/>
                  </a:lnTo>
                  <a:lnTo>
                    <a:pt x="50800" y="152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57" name="Google Shape;2657;p66"/>
            <p:cNvSpPr/>
            <p:nvPr/>
          </p:nvSpPr>
          <p:spPr>
            <a:xfrm>
              <a:off x="4638675" y="1042669"/>
              <a:ext cx="223520" cy="185419"/>
            </a:xfrm>
            <a:custGeom>
              <a:avLst/>
              <a:gdLst/>
              <a:ahLst/>
              <a:cxnLst/>
              <a:rect l="l" t="t" r="r" b="b"/>
              <a:pathLst>
                <a:path w="223520" h="185419" extrusionOk="0">
                  <a:moveTo>
                    <a:pt x="30480" y="0"/>
                  </a:moveTo>
                  <a:lnTo>
                    <a:pt x="0" y="40640"/>
                  </a:lnTo>
                  <a:lnTo>
                    <a:pt x="20320" y="55880"/>
                  </a:lnTo>
                  <a:lnTo>
                    <a:pt x="172720" y="170180"/>
                  </a:lnTo>
                  <a:lnTo>
                    <a:pt x="193040" y="185420"/>
                  </a:lnTo>
                  <a:lnTo>
                    <a:pt x="223520" y="144780"/>
                  </a:lnTo>
                  <a:lnTo>
                    <a:pt x="203200" y="129540"/>
                  </a:lnTo>
                  <a:lnTo>
                    <a:pt x="50800" y="152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58" name="Google Shape;2658;p66"/>
            <p:cNvSpPr/>
            <p:nvPr/>
          </p:nvSpPr>
          <p:spPr>
            <a:xfrm>
              <a:off x="5273675" y="1404619"/>
              <a:ext cx="223520" cy="185419"/>
            </a:xfrm>
            <a:custGeom>
              <a:avLst/>
              <a:gdLst/>
              <a:ahLst/>
              <a:cxnLst/>
              <a:rect l="l" t="t" r="r" b="b"/>
              <a:pathLst>
                <a:path w="223520" h="185419" extrusionOk="0">
                  <a:moveTo>
                    <a:pt x="30480" y="0"/>
                  </a:moveTo>
                  <a:lnTo>
                    <a:pt x="0" y="40640"/>
                  </a:lnTo>
                  <a:lnTo>
                    <a:pt x="20320" y="55880"/>
                  </a:lnTo>
                  <a:lnTo>
                    <a:pt x="172720" y="170180"/>
                  </a:lnTo>
                  <a:lnTo>
                    <a:pt x="193040" y="185420"/>
                  </a:lnTo>
                  <a:lnTo>
                    <a:pt x="223520" y="144780"/>
                  </a:lnTo>
                  <a:lnTo>
                    <a:pt x="203200" y="129540"/>
                  </a:lnTo>
                  <a:lnTo>
                    <a:pt x="50800" y="152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59" name="Google Shape;2659;p66"/>
            <p:cNvSpPr/>
            <p:nvPr/>
          </p:nvSpPr>
          <p:spPr>
            <a:xfrm>
              <a:off x="5908675" y="1766570"/>
              <a:ext cx="223520" cy="185419"/>
            </a:xfrm>
            <a:custGeom>
              <a:avLst/>
              <a:gdLst/>
              <a:ahLst/>
              <a:cxnLst/>
              <a:rect l="l" t="t" r="r" b="b"/>
              <a:pathLst>
                <a:path w="223520" h="185419" extrusionOk="0">
                  <a:moveTo>
                    <a:pt x="30480" y="0"/>
                  </a:moveTo>
                  <a:lnTo>
                    <a:pt x="0" y="40640"/>
                  </a:lnTo>
                  <a:lnTo>
                    <a:pt x="20320" y="55880"/>
                  </a:lnTo>
                  <a:lnTo>
                    <a:pt x="172720" y="170180"/>
                  </a:lnTo>
                  <a:lnTo>
                    <a:pt x="193040" y="185420"/>
                  </a:lnTo>
                  <a:lnTo>
                    <a:pt x="223520" y="144780"/>
                  </a:lnTo>
                  <a:lnTo>
                    <a:pt x="203200" y="129540"/>
                  </a:lnTo>
                  <a:lnTo>
                    <a:pt x="50800" y="152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60" name="Google Shape;2660;p66"/>
            <p:cNvSpPr/>
            <p:nvPr/>
          </p:nvSpPr>
          <p:spPr>
            <a:xfrm>
              <a:off x="6543675" y="2128520"/>
              <a:ext cx="223519" cy="185419"/>
            </a:xfrm>
            <a:custGeom>
              <a:avLst/>
              <a:gdLst/>
              <a:ahLst/>
              <a:cxnLst/>
              <a:rect l="l" t="t" r="r" b="b"/>
              <a:pathLst>
                <a:path w="223519" h="185419" extrusionOk="0">
                  <a:moveTo>
                    <a:pt x="30480" y="0"/>
                  </a:moveTo>
                  <a:lnTo>
                    <a:pt x="0" y="40640"/>
                  </a:lnTo>
                  <a:lnTo>
                    <a:pt x="20320" y="55880"/>
                  </a:lnTo>
                  <a:lnTo>
                    <a:pt x="172720" y="170180"/>
                  </a:lnTo>
                  <a:lnTo>
                    <a:pt x="193040" y="185420"/>
                  </a:lnTo>
                  <a:lnTo>
                    <a:pt x="223520" y="144780"/>
                  </a:lnTo>
                  <a:lnTo>
                    <a:pt x="203200" y="129540"/>
                  </a:lnTo>
                  <a:lnTo>
                    <a:pt x="50800" y="152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61" name="Google Shape;2661;p66"/>
            <p:cNvSpPr/>
            <p:nvPr/>
          </p:nvSpPr>
          <p:spPr>
            <a:xfrm>
              <a:off x="7178675" y="2490470"/>
              <a:ext cx="223519" cy="185419"/>
            </a:xfrm>
            <a:custGeom>
              <a:avLst/>
              <a:gdLst/>
              <a:ahLst/>
              <a:cxnLst/>
              <a:rect l="l" t="t" r="r" b="b"/>
              <a:pathLst>
                <a:path w="223519" h="185419" extrusionOk="0">
                  <a:moveTo>
                    <a:pt x="30480" y="0"/>
                  </a:moveTo>
                  <a:lnTo>
                    <a:pt x="0" y="40640"/>
                  </a:lnTo>
                  <a:lnTo>
                    <a:pt x="20320" y="55880"/>
                  </a:lnTo>
                  <a:lnTo>
                    <a:pt x="172720" y="170180"/>
                  </a:lnTo>
                  <a:lnTo>
                    <a:pt x="193040" y="185420"/>
                  </a:lnTo>
                  <a:lnTo>
                    <a:pt x="223520" y="144780"/>
                  </a:lnTo>
                  <a:lnTo>
                    <a:pt x="203200" y="129540"/>
                  </a:lnTo>
                  <a:lnTo>
                    <a:pt x="50800" y="152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62" name="Google Shape;2662;p66"/>
            <p:cNvSpPr/>
            <p:nvPr/>
          </p:nvSpPr>
          <p:spPr>
            <a:xfrm>
              <a:off x="7813675" y="2852420"/>
              <a:ext cx="223519" cy="185419"/>
            </a:xfrm>
            <a:custGeom>
              <a:avLst/>
              <a:gdLst/>
              <a:ahLst/>
              <a:cxnLst/>
              <a:rect l="l" t="t" r="r" b="b"/>
              <a:pathLst>
                <a:path w="223519" h="185419" extrusionOk="0">
                  <a:moveTo>
                    <a:pt x="50800" y="15240"/>
                  </a:moveTo>
                  <a:lnTo>
                    <a:pt x="30480" y="0"/>
                  </a:lnTo>
                  <a:lnTo>
                    <a:pt x="0" y="40640"/>
                  </a:lnTo>
                  <a:lnTo>
                    <a:pt x="20320" y="55880"/>
                  </a:lnTo>
                  <a:lnTo>
                    <a:pt x="172720" y="170180"/>
                  </a:lnTo>
                  <a:lnTo>
                    <a:pt x="193040" y="185420"/>
                  </a:lnTo>
                  <a:lnTo>
                    <a:pt x="223520" y="144780"/>
                  </a:lnTo>
                  <a:lnTo>
                    <a:pt x="203200" y="1295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63" name="Google Shape;2663;p66"/>
            <p:cNvSpPr/>
            <p:nvPr/>
          </p:nvSpPr>
          <p:spPr>
            <a:xfrm>
              <a:off x="8448675" y="3214370"/>
              <a:ext cx="223519" cy="185420"/>
            </a:xfrm>
            <a:custGeom>
              <a:avLst/>
              <a:gdLst/>
              <a:ahLst/>
              <a:cxnLst/>
              <a:rect l="l" t="t" r="r" b="b"/>
              <a:pathLst>
                <a:path w="223519" h="185420" extrusionOk="0">
                  <a:moveTo>
                    <a:pt x="50800" y="15240"/>
                  </a:moveTo>
                  <a:lnTo>
                    <a:pt x="30480" y="0"/>
                  </a:lnTo>
                  <a:lnTo>
                    <a:pt x="0" y="40640"/>
                  </a:lnTo>
                  <a:lnTo>
                    <a:pt x="20320" y="55880"/>
                  </a:lnTo>
                  <a:lnTo>
                    <a:pt x="172720" y="170180"/>
                  </a:lnTo>
                  <a:lnTo>
                    <a:pt x="193040" y="185420"/>
                  </a:lnTo>
                  <a:lnTo>
                    <a:pt x="223520" y="144780"/>
                  </a:lnTo>
                  <a:lnTo>
                    <a:pt x="203200" y="1295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64" name="Google Shape;2664;p66"/>
            <p:cNvSpPr/>
            <p:nvPr/>
          </p:nvSpPr>
          <p:spPr>
            <a:xfrm>
              <a:off x="9083675" y="3576320"/>
              <a:ext cx="223519" cy="185420"/>
            </a:xfrm>
            <a:custGeom>
              <a:avLst/>
              <a:gdLst/>
              <a:ahLst/>
              <a:cxnLst/>
              <a:rect l="l" t="t" r="r" b="b"/>
              <a:pathLst>
                <a:path w="223519" h="185420" extrusionOk="0">
                  <a:moveTo>
                    <a:pt x="50800" y="15240"/>
                  </a:moveTo>
                  <a:lnTo>
                    <a:pt x="30480" y="0"/>
                  </a:lnTo>
                  <a:lnTo>
                    <a:pt x="0" y="40640"/>
                  </a:lnTo>
                  <a:lnTo>
                    <a:pt x="20320" y="55880"/>
                  </a:lnTo>
                  <a:lnTo>
                    <a:pt x="172720" y="170180"/>
                  </a:lnTo>
                  <a:lnTo>
                    <a:pt x="193040" y="185420"/>
                  </a:lnTo>
                  <a:lnTo>
                    <a:pt x="223520" y="144780"/>
                  </a:lnTo>
                  <a:lnTo>
                    <a:pt x="203200" y="1295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65" name="Google Shape;2665;p66"/>
            <p:cNvSpPr/>
            <p:nvPr/>
          </p:nvSpPr>
          <p:spPr>
            <a:xfrm>
              <a:off x="9718675" y="3938270"/>
              <a:ext cx="223519" cy="185420"/>
            </a:xfrm>
            <a:custGeom>
              <a:avLst/>
              <a:gdLst/>
              <a:ahLst/>
              <a:cxnLst/>
              <a:rect l="l" t="t" r="r" b="b"/>
              <a:pathLst>
                <a:path w="223519" h="185420" extrusionOk="0">
                  <a:moveTo>
                    <a:pt x="0" y="40640"/>
                  </a:moveTo>
                  <a:lnTo>
                    <a:pt x="20320" y="55880"/>
                  </a:lnTo>
                  <a:lnTo>
                    <a:pt x="172720" y="170180"/>
                  </a:lnTo>
                  <a:lnTo>
                    <a:pt x="193040" y="185420"/>
                  </a:lnTo>
                  <a:lnTo>
                    <a:pt x="223520" y="144780"/>
                  </a:lnTo>
                  <a:lnTo>
                    <a:pt x="203200" y="129540"/>
                  </a:lnTo>
                  <a:lnTo>
                    <a:pt x="50800" y="15240"/>
                  </a:lnTo>
                  <a:lnTo>
                    <a:pt x="3048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66" name="Google Shape;2666;p66"/>
            <p:cNvSpPr/>
            <p:nvPr/>
          </p:nvSpPr>
          <p:spPr>
            <a:xfrm>
              <a:off x="10353675" y="4300220"/>
              <a:ext cx="223519" cy="185420"/>
            </a:xfrm>
            <a:custGeom>
              <a:avLst/>
              <a:gdLst/>
              <a:ahLst/>
              <a:cxnLst/>
              <a:rect l="l" t="t" r="r" b="b"/>
              <a:pathLst>
                <a:path w="223519" h="185420" extrusionOk="0">
                  <a:moveTo>
                    <a:pt x="0" y="40640"/>
                  </a:moveTo>
                  <a:lnTo>
                    <a:pt x="20320" y="55880"/>
                  </a:lnTo>
                  <a:lnTo>
                    <a:pt x="172720" y="170180"/>
                  </a:lnTo>
                  <a:lnTo>
                    <a:pt x="193040" y="185420"/>
                  </a:lnTo>
                  <a:lnTo>
                    <a:pt x="223520" y="144780"/>
                  </a:lnTo>
                  <a:lnTo>
                    <a:pt x="203200" y="129540"/>
                  </a:lnTo>
                  <a:lnTo>
                    <a:pt x="50800" y="15240"/>
                  </a:lnTo>
                  <a:lnTo>
                    <a:pt x="3048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67" name="Google Shape;2667;p66"/>
            <p:cNvSpPr/>
            <p:nvPr/>
          </p:nvSpPr>
          <p:spPr>
            <a:xfrm>
              <a:off x="10988675" y="4662170"/>
              <a:ext cx="223519" cy="185420"/>
            </a:xfrm>
            <a:custGeom>
              <a:avLst/>
              <a:gdLst/>
              <a:ahLst/>
              <a:cxnLst/>
              <a:rect l="l" t="t" r="r" b="b"/>
              <a:pathLst>
                <a:path w="223519" h="185420" extrusionOk="0">
                  <a:moveTo>
                    <a:pt x="172720" y="170180"/>
                  </a:moveTo>
                  <a:lnTo>
                    <a:pt x="193040" y="185420"/>
                  </a:lnTo>
                  <a:lnTo>
                    <a:pt x="223520" y="144780"/>
                  </a:lnTo>
                  <a:lnTo>
                    <a:pt x="203200" y="129540"/>
                  </a:lnTo>
                  <a:lnTo>
                    <a:pt x="50800" y="15240"/>
                  </a:lnTo>
                  <a:lnTo>
                    <a:pt x="30480" y="0"/>
                  </a:lnTo>
                  <a:lnTo>
                    <a:pt x="0" y="40640"/>
                  </a:lnTo>
                  <a:lnTo>
                    <a:pt x="20320" y="558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68" name="Google Shape;2668;p66"/>
            <p:cNvSpPr/>
            <p:nvPr/>
          </p:nvSpPr>
          <p:spPr>
            <a:xfrm>
              <a:off x="11623675" y="5024120"/>
              <a:ext cx="223519" cy="185420"/>
            </a:xfrm>
            <a:custGeom>
              <a:avLst/>
              <a:gdLst/>
              <a:ahLst/>
              <a:cxnLst/>
              <a:rect l="l" t="t" r="r" b="b"/>
              <a:pathLst>
                <a:path w="223519" h="185420" extrusionOk="0">
                  <a:moveTo>
                    <a:pt x="172720" y="170180"/>
                  </a:moveTo>
                  <a:lnTo>
                    <a:pt x="193040" y="185420"/>
                  </a:lnTo>
                  <a:lnTo>
                    <a:pt x="223520" y="144780"/>
                  </a:lnTo>
                  <a:lnTo>
                    <a:pt x="203200" y="129540"/>
                  </a:lnTo>
                  <a:lnTo>
                    <a:pt x="50800" y="15240"/>
                  </a:lnTo>
                  <a:lnTo>
                    <a:pt x="30480" y="0"/>
                  </a:lnTo>
                  <a:lnTo>
                    <a:pt x="0" y="40640"/>
                  </a:lnTo>
                  <a:lnTo>
                    <a:pt x="20320" y="558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69" name="Google Shape;2669;p66"/>
            <p:cNvSpPr/>
            <p:nvPr/>
          </p:nvSpPr>
          <p:spPr>
            <a:xfrm>
              <a:off x="3221989" y="0"/>
              <a:ext cx="222250" cy="129539"/>
            </a:xfrm>
            <a:custGeom>
              <a:avLst/>
              <a:gdLst/>
              <a:ahLst/>
              <a:cxnLst/>
              <a:rect l="l" t="t" r="r" b="b"/>
              <a:pathLst>
                <a:path w="222250" h="129539" extrusionOk="0">
                  <a:moveTo>
                    <a:pt x="174625" y="116205"/>
                  </a:moveTo>
                  <a:lnTo>
                    <a:pt x="196215" y="129540"/>
                  </a:lnTo>
                  <a:lnTo>
                    <a:pt x="222250" y="85725"/>
                  </a:lnTo>
                  <a:lnTo>
                    <a:pt x="200025" y="72390"/>
                  </a:lnTo>
                  <a:lnTo>
                    <a:pt x="76835" y="0"/>
                  </a:lnTo>
                  <a:lnTo>
                    <a:pt x="8255" y="0"/>
                  </a:lnTo>
                  <a:lnTo>
                    <a:pt x="0" y="13335"/>
                  </a:lnTo>
                  <a:lnTo>
                    <a:pt x="22225" y="2667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70" name="Google Shape;2670;p66"/>
            <p:cNvSpPr/>
            <p:nvPr/>
          </p:nvSpPr>
          <p:spPr>
            <a:xfrm>
              <a:off x="3856990" y="332104"/>
              <a:ext cx="222250" cy="159385"/>
            </a:xfrm>
            <a:custGeom>
              <a:avLst/>
              <a:gdLst/>
              <a:ahLst/>
              <a:cxnLst/>
              <a:rect l="l" t="t" r="r" b="b"/>
              <a:pathLst>
                <a:path w="222250" h="159385" extrusionOk="0">
                  <a:moveTo>
                    <a:pt x="26035" y="0"/>
                  </a:moveTo>
                  <a:lnTo>
                    <a:pt x="0" y="43180"/>
                  </a:lnTo>
                  <a:lnTo>
                    <a:pt x="22225" y="56515"/>
                  </a:lnTo>
                  <a:lnTo>
                    <a:pt x="174625" y="146050"/>
                  </a:lnTo>
                  <a:lnTo>
                    <a:pt x="196215" y="159385"/>
                  </a:lnTo>
                  <a:lnTo>
                    <a:pt x="222250" y="115570"/>
                  </a:lnTo>
                  <a:lnTo>
                    <a:pt x="200025" y="102235"/>
                  </a:lnTo>
                  <a:lnTo>
                    <a:pt x="47625" y="1270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71" name="Google Shape;2671;p66"/>
            <p:cNvSpPr/>
            <p:nvPr/>
          </p:nvSpPr>
          <p:spPr>
            <a:xfrm>
              <a:off x="4491990" y="694055"/>
              <a:ext cx="222250" cy="159384"/>
            </a:xfrm>
            <a:custGeom>
              <a:avLst/>
              <a:gdLst/>
              <a:ahLst/>
              <a:cxnLst/>
              <a:rect l="l" t="t" r="r" b="b"/>
              <a:pathLst>
                <a:path w="222250" h="159384" extrusionOk="0">
                  <a:moveTo>
                    <a:pt x="26035" y="0"/>
                  </a:moveTo>
                  <a:lnTo>
                    <a:pt x="0" y="43180"/>
                  </a:lnTo>
                  <a:lnTo>
                    <a:pt x="22225" y="56515"/>
                  </a:lnTo>
                  <a:lnTo>
                    <a:pt x="174625" y="146050"/>
                  </a:lnTo>
                  <a:lnTo>
                    <a:pt x="196215" y="159385"/>
                  </a:lnTo>
                  <a:lnTo>
                    <a:pt x="222250" y="115570"/>
                  </a:lnTo>
                  <a:lnTo>
                    <a:pt x="200025" y="102235"/>
                  </a:lnTo>
                  <a:lnTo>
                    <a:pt x="47625" y="1270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72" name="Google Shape;2672;p66"/>
            <p:cNvSpPr/>
            <p:nvPr/>
          </p:nvSpPr>
          <p:spPr>
            <a:xfrm>
              <a:off x="5126990" y="1056005"/>
              <a:ext cx="222250" cy="159384"/>
            </a:xfrm>
            <a:custGeom>
              <a:avLst/>
              <a:gdLst/>
              <a:ahLst/>
              <a:cxnLst/>
              <a:rect l="l" t="t" r="r" b="b"/>
              <a:pathLst>
                <a:path w="222250" h="159384" extrusionOk="0">
                  <a:moveTo>
                    <a:pt x="26035" y="0"/>
                  </a:moveTo>
                  <a:lnTo>
                    <a:pt x="0" y="43180"/>
                  </a:lnTo>
                  <a:lnTo>
                    <a:pt x="22225" y="56515"/>
                  </a:lnTo>
                  <a:lnTo>
                    <a:pt x="174625" y="146050"/>
                  </a:lnTo>
                  <a:lnTo>
                    <a:pt x="196215" y="159385"/>
                  </a:lnTo>
                  <a:lnTo>
                    <a:pt x="222250" y="115570"/>
                  </a:lnTo>
                  <a:lnTo>
                    <a:pt x="200025" y="102235"/>
                  </a:lnTo>
                  <a:lnTo>
                    <a:pt x="47625" y="1270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73" name="Google Shape;2673;p66"/>
            <p:cNvSpPr/>
            <p:nvPr/>
          </p:nvSpPr>
          <p:spPr>
            <a:xfrm>
              <a:off x="5761990" y="1417955"/>
              <a:ext cx="222250" cy="159384"/>
            </a:xfrm>
            <a:custGeom>
              <a:avLst/>
              <a:gdLst/>
              <a:ahLst/>
              <a:cxnLst/>
              <a:rect l="l" t="t" r="r" b="b"/>
              <a:pathLst>
                <a:path w="222250" h="159384" extrusionOk="0">
                  <a:moveTo>
                    <a:pt x="26035" y="0"/>
                  </a:moveTo>
                  <a:lnTo>
                    <a:pt x="0" y="43180"/>
                  </a:lnTo>
                  <a:lnTo>
                    <a:pt x="22225" y="56515"/>
                  </a:lnTo>
                  <a:lnTo>
                    <a:pt x="174625" y="146050"/>
                  </a:lnTo>
                  <a:lnTo>
                    <a:pt x="196215" y="159385"/>
                  </a:lnTo>
                  <a:lnTo>
                    <a:pt x="222250" y="115570"/>
                  </a:lnTo>
                  <a:lnTo>
                    <a:pt x="200025" y="102235"/>
                  </a:lnTo>
                  <a:lnTo>
                    <a:pt x="47625" y="1270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74" name="Google Shape;2674;p66"/>
            <p:cNvSpPr/>
            <p:nvPr/>
          </p:nvSpPr>
          <p:spPr>
            <a:xfrm>
              <a:off x="6396990" y="1779904"/>
              <a:ext cx="222250" cy="159385"/>
            </a:xfrm>
            <a:custGeom>
              <a:avLst/>
              <a:gdLst/>
              <a:ahLst/>
              <a:cxnLst/>
              <a:rect l="l" t="t" r="r" b="b"/>
              <a:pathLst>
                <a:path w="222250" h="159385" extrusionOk="0">
                  <a:moveTo>
                    <a:pt x="26035" y="0"/>
                  </a:moveTo>
                  <a:lnTo>
                    <a:pt x="0" y="43180"/>
                  </a:lnTo>
                  <a:lnTo>
                    <a:pt x="22225" y="56515"/>
                  </a:lnTo>
                  <a:lnTo>
                    <a:pt x="174625" y="146050"/>
                  </a:lnTo>
                  <a:lnTo>
                    <a:pt x="196215" y="159385"/>
                  </a:lnTo>
                  <a:lnTo>
                    <a:pt x="222250" y="115570"/>
                  </a:lnTo>
                  <a:lnTo>
                    <a:pt x="200025" y="102235"/>
                  </a:lnTo>
                  <a:lnTo>
                    <a:pt x="47625" y="1270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75" name="Google Shape;2675;p66"/>
            <p:cNvSpPr/>
            <p:nvPr/>
          </p:nvSpPr>
          <p:spPr>
            <a:xfrm>
              <a:off x="7031990" y="2141854"/>
              <a:ext cx="222250" cy="159385"/>
            </a:xfrm>
            <a:custGeom>
              <a:avLst/>
              <a:gdLst/>
              <a:ahLst/>
              <a:cxnLst/>
              <a:rect l="l" t="t" r="r" b="b"/>
              <a:pathLst>
                <a:path w="222250" h="159385" extrusionOk="0">
                  <a:moveTo>
                    <a:pt x="47625" y="12700"/>
                  </a:moveTo>
                  <a:lnTo>
                    <a:pt x="26035" y="0"/>
                  </a:lnTo>
                  <a:lnTo>
                    <a:pt x="0" y="43180"/>
                  </a:lnTo>
                  <a:lnTo>
                    <a:pt x="22225" y="56515"/>
                  </a:lnTo>
                  <a:lnTo>
                    <a:pt x="174625" y="146050"/>
                  </a:lnTo>
                  <a:lnTo>
                    <a:pt x="196215" y="159385"/>
                  </a:lnTo>
                  <a:lnTo>
                    <a:pt x="222250" y="115570"/>
                  </a:lnTo>
                  <a:lnTo>
                    <a:pt x="200025" y="10223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76" name="Google Shape;2676;p66"/>
            <p:cNvSpPr/>
            <p:nvPr/>
          </p:nvSpPr>
          <p:spPr>
            <a:xfrm>
              <a:off x="7666990" y="2503804"/>
              <a:ext cx="222250" cy="159385"/>
            </a:xfrm>
            <a:custGeom>
              <a:avLst/>
              <a:gdLst/>
              <a:ahLst/>
              <a:cxnLst/>
              <a:rect l="l" t="t" r="r" b="b"/>
              <a:pathLst>
                <a:path w="222250" h="159385" extrusionOk="0">
                  <a:moveTo>
                    <a:pt x="26035" y="0"/>
                  </a:moveTo>
                  <a:lnTo>
                    <a:pt x="0" y="43180"/>
                  </a:lnTo>
                  <a:lnTo>
                    <a:pt x="22225" y="56515"/>
                  </a:lnTo>
                  <a:lnTo>
                    <a:pt x="174625" y="146050"/>
                  </a:lnTo>
                  <a:lnTo>
                    <a:pt x="196215" y="159385"/>
                  </a:lnTo>
                  <a:lnTo>
                    <a:pt x="222250" y="115570"/>
                  </a:lnTo>
                  <a:lnTo>
                    <a:pt x="200025" y="102235"/>
                  </a:lnTo>
                  <a:lnTo>
                    <a:pt x="47625" y="1270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77" name="Google Shape;2677;p66"/>
            <p:cNvSpPr/>
            <p:nvPr/>
          </p:nvSpPr>
          <p:spPr>
            <a:xfrm>
              <a:off x="8301990" y="2865754"/>
              <a:ext cx="222250" cy="159385"/>
            </a:xfrm>
            <a:custGeom>
              <a:avLst/>
              <a:gdLst/>
              <a:ahLst/>
              <a:cxnLst/>
              <a:rect l="l" t="t" r="r" b="b"/>
              <a:pathLst>
                <a:path w="222250" h="159385" extrusionOk="0">
                  <a:moveTo>
                    <a:pt x="47625" y="12700"/>
                  </a:moveTo>
                  <a:lnTo>
                    <a:pt x="26035" y="0"/>
                  </a:lnTo>
                  <a:lnTo>
                    <a:pt x="0" y="43180"/>
                  </a:lnTo>
                  <a:lnTo>
                    <a:pt x="22225" y="56515"/>
                  </a:lnTo>
                  <a:lnTo>
                    <a:pt x="174625" y="146050"/>
                  </a:lnTo>
                  <a:lnTo>
                    <a:pt x="196215" y="159385"/>
                  </a:lnTo>
                  <a:lnTo>
                    <a:pt x="222250" y="115570"/>
                  </a:lnTo>
                  <a:lnTo>
                    <a:pt x="200025" y="10223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78" name="Google Shape;2678;p66"/>
            <p:cNvSpPr/>
            <p:nvPr/>
          </p:nvSpPr>
          <p:spPr>
            <a:xfrm>
              <a:off x="8936990" y="3227704"/>
              <a:ext cx="222250" cy="159385"/>
            </a:xfrm>
            <a:custGeom>
              <a:avLst/>
              <a:gdLst/>
              <a:ahLst/>
              <a:cxnLst/>
              <a:rect l="l" t="t" r="r" b="b"/>
              <a:pathLst>
                <a:path w="222250" h="159385" extrusionOk="0">
                  <a:moveTo>
                    <a:pt x="47625" y="12700"/>
                  </a:moveTo>
                  <a:lnTo>
                    <a:pt x="26035" y="0"/>
                  </a:lnTo>
                  <a:lnTo>
                    <a:pt x="0" y="43180"/>
                  </a:lnTo>
                  <a:lnTo>
                    <a:pt x="22225" y="56515"/>
                  </a:lnTo>
                  <a:lnTo>
                    <a:pt x="174625" y="146050"/>
                  </a:lnTo>
                  <a:lnTo>
                    <a:pt x="196215" y="159385"/>
                  </a:lnTo>
                  <a:lnTo>
                    <a:pt x="222250" y="115570"/>
                  </a:lnTo>
                  <a:lnTo>
                    <a:pt x="200025" y="10223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79" name="Google Shape;2679;p66"/>
            <p:cNvSpPr/>
            <p:nvPr/>
          </p:nvSpPr>
          <p:spPr>
            <a:xfrm>
              <a:off x="9571990" y="3589654"/>
              <a:ext cx="222250" cy="159385"/>
            </a:xfrm>
            <a:custGeom>
              <a:avLst/>
              <a:gdLst/>
              <a:ahLst/>
              <a:cxnLst/>
              <a:rect l="l" t="t" r="r" b="b"/>
              <a:pathLst>
                <a:path w="222250" h="159385" extrusionOk="0">
                  <a:moveTo>
                    <a:pt x="47625" y="12700"/>
                  </a:moveTo>
                  <a:lnTo>
                    <a:pt x="26035" y="0"/>
                  </a:lnTo>
                  <a:lnTo>
                    <a:pt x="0" y="43180"/>
                  </a:lnTo>
                  <a:lnTo>
                    <a:pt x="22225" y="56515"/>
                  </a:lnTo>
                  <a:lnTo>
                    <a:pt x="174625" y="146050"/>
                  </a:lnTo>
                  <a:lnTo>
                    <a:pt x="196215" y="159385"/>
                  </a:lnTo>
                  <a:lnTo>
                    <a:pt x="222250" y="115570"/>
                  </a:lnTo>
                  <a:lnTo>
                    <a:pt x="200025" y="10223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80" name="Google Shape;2680;p66"/>
            <p:cNvSpPr/>
            <p:nvPr/>
          </p:nvSpPr>
          <p:spPr>
            <a:xfrm>
              <a:off x="10206990" y="3951604"/>
              <a:ext cx="222250" cy="159385"/>
            </a:xfrm>
            <a:custGeom>
              <a:avLst/>
              <a:gdLst/>
              <a:ahLst/>
              <a:cxnLst/>
              <a:rect l="l" t="t" r="r" b="b"/>
              <a:pathLst>
                <a:path w="222250" h="159385" extrusionOk="0">
                  <a:moveTo>
                    <a:pt x="47625" y="12700"/>
                  </a:moveTo>
                  <a:lnTo>
                    <a:pt x="26035" y="0"/>
                  </a:lnTo>
                  <a:lnTo>
                    <a:pt x="0" y="43180"/>
                  </a:lnTo>
                  <a:lnTo>
                    <a:pt x="22225" y="56515"/>
                  </a:lnTo>
                  <a:lnTo>
                    <a:pt x="174625" y="146050"/>
                  </a:lnTo>
                  <a:lnTo>
                    <a:pt x="196215" y="159385"/>
                  </a:lnTo>
                  <a:lnTo>
                    <a:pt x="222250" y="115570"/>
                  </a:lnTo>
                  <a:lnTo>
                    <a:pt x="200025" y="10223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81" name="Google Shape;2681;p66"/>
            <p:cNvSpPr/>
            <p:nvPr/>
          </p:nvSpPr>
          <p:spPr>
            <a:xfrm>
              <a:off x="10841990" y="4313554"/>
              <a:ext cx="222250" cy="159385"/>
            </a:xfrm>
            <a:custGeom>
              <a:avLst/>
              <a:gdLst/>
              <a:ahLst/>
              <a:cxnLst/>
              <a:rect l="l" t="t" r="r" b="b"/>
              <a:pathLst>
                <a:path w="222250" h="159385" extrusionOk="0">
                  <a:moveTo>
                    <a:pt x="174625" y="146050"/>
                  </a:moveTo>
                  <a:lnTo>
                    <a:pt x="196215" y="159385"/>
                  </a:lnTo>
                  <a:lnTo>
                    <a:pt x="222250" y="115570"/>
                  </a:lnTo>
                  <a:lnTo>
                    <a:pt x="200025" y="102235"/>
                  </a:lnTo>
                  <a:lnTo>
                    <a:pt x="47625" y="12700"/>
                  </a:lnTo>
                  <a:lnTo>
                    <a:pt x="26035" y="0"/>
                  </a:lnTo>
                  <a:lnTo>
                    <a:pt x="0" y="43180"/>
                  </a:lnTo>
                  <a:lnTo>
                    <a:pt x="22225"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82" name="Google Shape;2682;p66"/>
            <p:cNvSpPr/>
            <p:nvPr/>
          </p:nvSpPr>
          <p:spPr>
            <a:xfrm>
              <a:off x="11476990" y="4675504"/>
              <a:ext cx="222250" cy="159385"/>
            </a:xfrm>
            <a:custGeom>
              <a:avLst/>
              <a:gdLst/>
              <a:ahLst/>
              <a:cxnLst/>
              <a:rect l="l" t="t" r="r" b="b"/>
              <a:pathLst>
                <a:path w="222250" h="159385" extrusionOk="0">
                  <a:moveTo>
                    <a:pt x="174625" y="146050"/>
                  </a:moveTo>
                  <a:lnTo>
                    <a:pt x="196215" y="159385"/>
                  </a:lnTo>
                  <a:lnTo>
                    <a:pt x="222250" y="115570"/>
                  </a:lnTo>
                  <a:lnTo>
                    <a:pt x="200025" y="102235"/>
                  </a:lnTo>
                  <a:lnTo>
                    <a:pt x="47625" y="12700"/>
                  </a:lnTo>
                  <a:lnTo>
                    <a:pt x="26035" y="0"/>
                  </a:lnTo>
                  <a:lnTo>
                    <a:pt x="0" y="43180"/>
                  </a:lnTo>
                  <a:lnTo>
                    <a:pt x="22225"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83" name="Google Shape;2683;p66"/>
            <p:cNvSpPr/>
            <p:nvPr/>
          </p:nvSpPr>
          <p:spPr>
            <a:xfrm>
              <a:off x="12111990" y="5037454"/>
              <a:ext cx="80009" cy="90804"/>
            </a:xfrm>
            <a:custGeom>
              <a:avLst/>
              <a:gdLst/>
              <a:ahLst/>
              <a:cxnLst/>
              <a:rect l="l" t="t" r="r" b="b"/>
              <a:pathLst>
                <a:path w="80009" h="90804" extrusionOk="0">
                  <a:moveTo>
                    <a:pt x="26035" y="0"/>
                  </a:moveTo>
                  <a:lnTo>
                    <a:pt x="0" y="43180"/>
                  </a:lnTo>
                  <a:lnTo>
                    <a:pt x="22225" y="56515"/>
                  </a:lnTo>
                  <a:lnTo>
                    <a:pt x="80010" y="90805"/>
                  </a:lnTo>
                  <a:lnTo>
                    <a:pt x="80010" y="31750"/>
                  </a:lnTo>
                  <a:lnTo>
                    <a:pt x="47625" y="1270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84" name="Google Shape;2684;p66"/>
            <p:cNvSpPr/>
            <p:nvPr/>
          </p:nvSpPr>
          <p:spPr>
            <a:xfrm>
              <a:off x="3749040" y="0"/>
              <a:ext cx="218439" cy="113664"/>
            </a:xfrm>
            <a:custGeom>
              <a:avLst/>
              <a:gdLst/>
              <a:ahLst/>
              <a:cxnLst/>
              <a:rect l="l" t="t" r="r" b="b"/>
              <a:pathLst>
                <a:path w="218439" h="113664" extrusionOk="0">
                  <a:moveTo>
                    <a:pt x="175895" y="104140"/>
                  </a:moveTo>
                  <a:lnTo>
                    <a:pt x="199390" y="113665"/>
                  </a:lnTo>
                  <a:lnTo>
                    <a:pt x="218440" y="66675"/>
                  </a:lnTo>
                  <a:lnTo>
                    <a:pt x="194945" y="57150"/>
                  </a:lnTo>
                  <a:lnTo>
                    <a:pt x="54610" y="0"/>
                  </a:lnTo>
                  <a:lnTo>
                    <a:pt x="13335" y="0"/>
                  </a:lnTo>
                  <a:lnTo>
                    <a:pt x="0" y="32385"/>
                  </a:lnTo>
                  <a:lnTo>
                    <a:pt x="23495" y="4191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85" name="Google Shape;2685;p66"/>
            <p:cNvSpPr/>
            <p:nvPr/>
          </p:nvSpPr>
          <p:spPr>
            <a:xfrm>
              <a:off x="4384040" y="347345"/>
              <a:ext cx="218439" cy="128270"/>
            </a:xfrm>
            <a:custGeom>
              <a:avLst/>
              <a:gdLst/>
              <a:ahLst/>
              <a:cxnLst/>
              <a:rect l="l" t="t" r="r" b="b"/>
              <a:pathLst>
                <a:path w="218439" h="128270" extrusionOk="0">
                  <a:moveTo>
                    <a:pt x="19050" y="0"/>
                  </a:moveTo>
                  <a:lnTo>
                    <a:pt x="0" y="46990"/>
                  </a:lnTo>
                  <a:lnTo>
                    <a:pt x="23495" y="56515"/>
                  </a:lnTo>
                  <a:lnTo>
                    <a:pt x="175895" y="118745"/>
                  </a:lnTo>
                  <a:lnTo>
                    <a:pt x="199390" y="128270"/>
                  </a:lnTo>
                  <a:lnTo>
                    <a:pt x="218440" y="81280"/>
                  </a:lnTo>
                  <a:lnTo>
                    <a:pt x="194945" y="71755"/>
                  </a:lnTo>
                  <a:lnTo>
                    <a:pt x="42545" y="952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86" name="Google Shape;2686;p66"/>
            <p:cNvSpPr/>
            <p:nvPr/>
          </p:nvSpPr>
          <p:spPr>
            <a:xfrm>
              <a:off x="5019040" y="709294"/>
              <a:ext cx="218439" cy="128269"/>
            </a:xfrm>
            <a:custGeom>
              <a:avLst/>
              <a:gdLst/>
              <a:ahLst/>
              <a:cxnLst/>
              <a:rect l="l" t="t" r="r" b="b"/>
              <a:pathLst>
                <a:path w="218439" h="128269" extrusionOk="0">
                  <a:moveTo>
                    <a:pt x="19050" y="0"/>
                  </a:moveTo>
                  <a:lnTo>
                    <a:pt x="0" y="46990"/>
                  </a:lnTo>
                  <a:lnTo>
                    <a:pt x="23495" y="56515"/>
                  </a:lnTo>
                  <a:lnTo>
                    <a:pt x="175895" y="118745"/>
                  </a:lnTo>
                  <a:lnTo>
                    <a:pt x="199390" y="128270"/>
                  </a:lnTo>
                  <a:lnTo>
                    <a:pt x="218440" y="81280"/>
                  </a:lnTo>
                  <a:lnTo>
                    <a:pt x="194945" y="71755"/>
                  </a:lnTo>
                  <a:lnTo>
                    <a:pt x="42545" y="952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87" name="Google Shape;2687;p66"/>
            <p:cNvSpPr/>
            <p:nvPr/>
          </p:nvSpPr>
          <p:spPr>
            <a:xfrm>
              <a:off x="5654040" y="1071244"/>
              <a:ext cx="218439" cy="128269"/>
            </a:xfrm>
            <a:custGeom>
              <a:avLst/>
              <a:gdLst/>
              <a:ahLst/>
              <a:cxnLst/>
              <a:rect l="l" t="t" r="r" b="b"/>
              <a:pathLst>
                <a:path w="218439" h="128269" extrusionOk="0">
                  <a:moveTo>
                    <a:pt x="19050" y="0"/>
                  </a:moveTo>
                  <a:lnTo>
                    <a:pt x="0" y="46990"/>
                  </a:lnTo>
                  <a:lnTo>
                    <a:pt x="23495" y="56515"/>
                  </a:lnTo>
                  <a:lnTo>
                    <a:pt x="175895" y="118745"/>
                  </a:lnTo>
                  <a:lnTo>
                    <a:pt x="199390" y="128270"/>
                  </a:lnTo>
                  <a:lnTo>
                    <a:pt x="218440" y="81280"/>
                  </a:lnTo>
                  <a:lnTo>
                    <a:pt x="194945" y="71755"/>
                  </a:lnTo>
                  <a:lnTo>
                    <a:pt x="42545" y="952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88" name="Google Shape;2688;p66"/>
            <p:cNvSpPr/>
            <p:nvPr/>
          </p:nvSpPr>
          <p:spPr>
            <a:xfrm>
              <a:off x="6289040" y="1433194"/>
              <a:ext cx="218440" cy="128269"/>
            </a:xfrm>
            <a:custGeom>
              <a:avLst/>
              <a:gdLst/>
              <a:ahLst/>
              <a:cxnLst/>
              <a:rect l="l" t="t" r="r" b="b"/>
              <a:pathLst>
                <a:path w="218440" h="128269" extrusionOk="0">
                  <a:moveTo>
                    <a:pt x="42545" y="9525"/>
                  </a:moveTo>
                  <a:lnTo>
                    <a:pt x="19050" y="0"/>
                  </a:lnTo>
                  <a:lnTo>
                    <a:pt x="0" y="46990"/>
                  </a:lnTo>
                  <a:lnTo>
                    <a:pt x="23495" y="56515"/>
                  </a:lnTo>
                  <a:lnTo>
                    <a:pt x="175895" y="118745"/>
                  </a:lnTo>
                  <a:lnTo>
                    <a:pt x="199390" y="128270"/>
                  </a:lnTo>
                  <a:lnTo>
                    <a:pt x="218440" y="81280"/>
                  </a:lnTo>
                  <a:lnTo>
                    <a:pt x="194945" y="7175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89" name="Google Shape;2689;p66"/>
            <p:cNvSpPr/>
            <p:nvPr/>
          </p:nvSpPr>
          <p:spPr>
            <a:xfrm>
              <a:off x="6924040" y="1795145"/>
              <a:ext cx="218440" cy="128269"/>
            </a:xfrm>
            <a:custGeom>
              <a:avLst/>
              <a:gdLst/>
              <a:ahLst/>
              <a:cxnLst/>
              <a:rect l="l" t="t" r="r" b="b"/>
              <a:pathLst>
                <a:path w="218440" h="128269" extrusionOk="0">
                  <a:moveTo>
                    <a:pt x="175895" y="118745"/>
                  </a:moveTo>
                  <a:lnTo>
                    <a:pt x="199390" y="128270"/>
                  </a:lnTo>
                  <a:lnTo>
                    <a:pt x="218440" y="81280"/>
                  </a:lnTo>
                  <a:lnTo>
                    <a:pt x="194945" y="71755"/>
                  </a:lnTo>
                  <a:lnTo>
                    <a:pt x="42545" y="9525"/>
                  </a:lnTo>
                  <a:lnTo>
                    <a:pt x="19050" y="0"/>
                  </a:lnTo>
                  <a:lnTo>
                    <a:pt x="0" y="46990"/>
                  </a:lnTo>
                  <a:lnTo>
                    <a:pt x="23495"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90" name="Google Shape;2690;p66"/>
            <p:cNvSpPr/>
            <p:nvPr/>
          </p:nvSpPr>
          <p:spPr>
            <a:xfrm>
              <a:off x="7559040" y="2157095"/>
              <a:ext cx="218440" cy="128269"/>
            </a:xfrm>
            <a:custGeom>
              <a:avLst/>
              <a:gdLst/>
              <a:ahLst/>
              <a:cxnLst/>
              <a:rect l="l" t="t" r="r" b="b"/>
              <a:pathLst>
                <a:path w="218440" h="128269" extrusionOk="0">
                  <a:moveTo>
                    <a:pt x="175895" y="118745"/>
                  </a:moveTo>
                  <a:lnTo>
                    <a:pt x="199390" y="128270"/>
                  </a:lnTo>
                  <a:lnTo>
                    <a:pt x="218440" y="81280"/>
                  </a:lnTo>
                  <a:lnTo>
                    <a:pt x="194945" y="71755"/>
                  </a:lnTo>
                  <a:lnTo>
                    <a:pt x="42545" y="9525"/>
                  </a:lnTo>
                  <a:lnTo>
                    <a:pt x="19050" y="0"/>
                  </a:lnTo>
                  <a:lnTo>
                    <a:pt x="0" y="46990"/>
                  </a:lnTo>
                  <a:lnTo>
                    <a:pt x="23495"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91" name="Google Shape;2691;p66"/>
            <p:cNvSpPr/>
            <p:nvPr/>
          </p:nvSpPr>
          <p:spPr>
            <a:xfrm>
              <a:off x="8194040" y="2519045"/>
              <a:ext cx="218440" cy="128269"/>
            </a:xfrm>
            <a:custGeom>
              <a:avLst/>
              <a:gdLst/>
              <a:ahLst/>
              <a:cxnLst/>
              <a:rect l="l" t="t" r="r" b="b"/>
              <a:pathLst>
                <a:path w="218440" h="128269" extrusionOk="0">
                  <a:moveTo>
                    <a:pt x="175895" y="118745"/>
                  </a:moveTo>
                  <a:lnTo>
                    <a:pt x="199390" y="128270"/>
                  </a:lnTo>
                  <a:lnTo>
                    <a:pt x="218440" y="81280"/>
                  </a:lnTo>
                  <a:lnTo>
                    <a:pt x="194945" y="71755"/>
                  </a:lnTo>
                  <a:lnTo>
                    <a:pt x="42545" y="9525"/>
                  </a:lnTo>
                  <a:lnTo>
                    <a:pt x="19050" y="0"/>
                  </a:lnTo>
                  <a:lnTo>
                    <a:pt x="0" y="46990"/>
                  </a:lnTo>
                  <a:lnTo>
                    <a:pt x="23495"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92" name="Google Shape;2692;p66"/>
            <p:cNvSpPr/>
            <p:nvPr/>
          </p:nvSpPr>
          <p:spPr>
            <a:xfrm>
              <a:off x="8829040" y="2880995"/>
              <a:ext cx="218440" cy="128269"/>
            </a:xfrm>
            <a:custGeom>
              <a:avLst/>
              <a:gdLst/>
              <a:ahLst/>
              <a:cxnLst/>
              <a:rect l="l" t="t" r="r" b="b"/>
              <a:pathLst>
                <a:path w="218440" h="128269" extrusionOk="0">
                  <a:moveTo>
                    <a:pt x="42545" y="9525"/>
                  </a:moveTo>
                  <a:lnTo>
                    <a:pt x="19050" y="0"/>
                  </a:lnTo>
                  <a:lnTo>
                    <a:pt x="0" y="46990"/>
                  </a:lnTo>
                  <a:lnTo>
                    <a:pt x="23495" y="56515"/>
                  </a:lnTo>
                  <a:lnTo>
                    <a:pt x="175895" y="118745"/>
                  </a:lnTo>
                  <a:lnTo>
                    <a:pt x="199390" y="128270"/>
                  </a:lnTo>
                  <a:lnTo>
                    <a:pt x="218440" y="81280"/>
                  </a:lnTo>
                  <a:lnTo>
                    <a:pt x="194945" y="7175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93" name="Google Shape;2693;p66"/>
            <p:cNvSpPr/>
            <p:nvPr/>
          </p:nvSpPr>
          <p:spPr>
            <a:xfrm>
              <a:off x="9464040" y="3242945"/>
              <a:ext cx="218440" cy="128270"/>
            </a:xfrm>
            <a:custGeom>
              <a:avLst/>
              <a:gdLst/>
              <a:ahLst/>
              <a:cxnLst/>
              <a:rect l="l" t="t" r="r" b="b"/>
              <a:pathLst>
                <a:path w="218440" h="128270" extrusionOk="0">
                  <a:moveTo>
                    <a:pt x="175895" y="118745"/>
                  </a:moveTo>
                  <a:lnTo>
                    <a:pt x="199390" y="128270"/>
                  </a:lnTo>
                  <a:lnTo>
                    <a:pt x="218440" y="81280"/>
                  </a:lnTo>
                  <a:lnTo>
                    <a:pt x="194945" y="71755"/>
                  </a:lnTo>
                  <a:lnTo>
                    <a:pt x="42545" y="9525"/>
                  </a:lnTo>
                  <a:lnTo>
                    <a:pt x="19050" y="0"/>
                  </a:lnTo>
                  <a:lnTo>
                    <a:pt x="0" y="46990"/>
                  </a:lnTo>
                  <a:lnTo>
                    <a:pt x="23495"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94" name="Google Shape;2694;p66"/>
            <p:cNvSpPr/>
            <p:nvPr/>
          </p:nvSpPr>
          <p:spPr>
            <a:xfrm>
              <a:off x="10099040" y="3604895"/>
              <a:ext cx="218440" cy="128270"/>
            </a:xfrm>
            <a:custGeom>
              <a:avLst/>
              <a:gdLst/>
              <a:ahLst/>
              <a:cxnLst/>
              <a:rect l="l" t="t" r="r" b="b"/>
              <a:pathLst>
                <a:path w="218440" h="128270" extrusionOk="0">
                  <a:moveTo>
                    <a:pt x="175895" y="118745"/>
                  </a:moveTo>
                  <a:lnTo>
                    <a:pt x="199390" y="128270"/>
                  </a:lnTo>
                  <a:lnTo>
                    <a:pt x="218440" y="81280"/>
                  </a:lnTo>
                  <a:lnTo>
                    <a:pt x="194945" y="71755"/>
                  </a:lnTo>
                  <a:lnTo>
                    <a:pt x="42545" y="9525"/>
                  </a:lnTo>
                  <a:lnTo>
                    <a:pt x="19050" y="0"/>
                  </a:lnTo>
                  <a:lnTo>
                    <a:pt x="0" y="46990"/>
                  </a:lnTo>
                  <a:lnTo>
                    <a:pt x="23495"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95" name="Google Shape;2695;p66"/>
            <p:cNvSpPr/>
            <p:nvPr/>
          </p:nvSpPr>
          <p:spPr>
            <a:xfrm>
              <a:off x="10734040" y="3966845"/>
              <a:ext cx="218440" cy="128270"/>
            </a:xfrm>
            <a:custGeom>
              <a:avLst/>
              <a:gdLst/>
              <a:ahLst/>
              <a:cxnLst/>
              <a:rect l="l" t="t" r="r" b="b"/>
              <a:pathLst>
                <a:path w="218440" h="128270" extrusionOk="0">
                  <a:moveTo>
                    <a:pt x="175895" y="118745"/>
                  </a:moveTo>
                  <a:lnTo>
                    <a:pt x="199390" y="128270"/>
                  </a:lnTo>
                  <a:lnTo>
                    <a:pt x="218440" y="81280"/>
                  </a:lnTo>
                  <a:lnTo>
                    <a:pt x="194945" y="71755"/>
                  </a:lnTo>
                  <a:lnTo>
                    <a:pt x="42545" y="9525"/>
                  </a:lnTo>
                  <a:lnTo>
                    <a:pt x="19050" y="0"/>
                  </a:lnTo>
                  <a:lnTo>
                    <a:pt x="0" y="46990"/>
                  </a:lnTo>
                  <a:lnTo>
                    <a:pt x="23495"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96" name="Google Shape;2696;p66"/>
            <p:cNvSpPr/>
            <p:nvPr/>
          </p:nvSpPr>
          <p:spPr>
            <a:xfrm>
              <a:off x="11369040" y="4328795"/>
              <a:ext cx="218440" cy="128270"/>
            </a:xfrm>
            <a:custGeom>
              <a:avLst/>
              <a:gdLst/>
              <a:ahLst/>
              <a:cxnLst/>
              <a:rect l="l" t="t" r="r" b="b"/>
              <a:pathLst>
                <a:path w="218440" h="128270" extrusionOk="0">
                  <a:moveTo>
                    <a:pt x="175895" y="118745"/>
                  </a:moveTo>
                  <a:lnTo>
                    <a:pt x="199390" y="128270"/>
                  </a:lnTo>
                  <a:lnTo>
                    <a:pt x="218440" y="81280"/>
                  </a:lnTo>
                  <a:lnTo>
                    <a:pt x="194945" y="71755"/>
                  </a:lnTo>
                  <a:lnTo>
                    <a:pt x="42545" y="9525"/>
                  </a:lnTo>
                  <a:lnTo>
                    <a:pt x="19050" y="0"/>
                  </a:lnTo>
                  <a:lnTo>
                    <a:pt x="0" y="46990"/>
                  </a:lnTo>
                  <a:lnTo>
                    <a:pt x="23495" y="56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97" name="Google Shape;2697;p66"/>
            <p:cNvSpPr/>
            <p:nvPr/>
          </p:nvSpPr>
          <p:spPr>
            <a:xfrm>
              <a:off x="12004040" y="4690745"/>
              <a:ext cx="187959" cy="123825"/>
            </a:xfrm>
            <a:custGeom>
              <a:avLst/>
              <a:gdLst/>
              <a:ahLst/>
              <a:cxnLst/>
              <a:rect l="l" t="t" r="r" b="b"/>
              <a:pathLst>
                <a:path w="187959" h="123825" extrusionOk="0">
                  <a:moveTo>
                    <a:pt x="19050" y="0"/>
                  </a:moveTo>
                  <a:lnTo>
                    <a:pt x="0" y="46990"/>
                  </a:lnTo>
                  <a:lnTo>
                    <a:pt x="23495" y="56515"/>
                  </a:lnTo>
                  <a:lnTo>
                    <a:pt x="175895" y="118745"/>
                  </a:lnTo>
                  <a:lnTo>
                    <a:pt x="187960" y="123825"/>
                  </a:lnTo>
                  <a:lnTo>
                    <a:pt x="187960" y="68580"/>
                  </a:lnTo>
                  <a:lnTo>
                    <a:pt x="42545" y="952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98" name="Google Shape;2698;p66"/>
            <p:cNvSpPr/>
            <p:nvPr/>
          </p:nvSpPr>
          <p:spPr>
            <a:xfrm>
              <a:off x="4319270" y="3810"/>
              <a:ext cx="212725" cy="92075"/>
            </a:xfrm>
            <a:custGeom>
              <a:avLst/>
              <a:gdLst/>
              <a:ahLst/>
              <a:cxnLst/>
              <a:rect l="l" t="t" r="r" b="b"/>
              <a:pathLst>
                <a:path w="212725" h="92075" extrusionOk="0">
                  <a:moveTo>
                    <a:pt x="177165" y="86360"/>
                  </a:moveTo>
                  <a:lnTo>
                    <a:pt x="201930" y="92075"/>
                  </a:lnTo>
                  <a:lnTo>
                    <a:pt x="212725" y="41910"/>
                  </a:lnTo>
                  <a:lnTo>
                    <a:pt x="187325" y="36830"/>
                  </a:lnTo>
                  <a:lnTo>
                    <a:pt x="34925" y="5080"/>
                  </a:lnTo>
                  <a:lnTo>
                    <a:pt x="10160" y="0"/>
                  </a:lnTo>
                  <a:lnTo>
                    <a:pt x="0" y="49530"/>
                  </a:lnTo>
                  <a:lnTo>
                    <a:pt x="24765" y="5461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699" name="Google Shape;2699;p66"/>
            <p:cNvSpPr/>
            <p:nvPr/>
          </p:nvSpPr>
          <p:spPr>
            <a:xfrm>
              <a:off x="4954270" y="365759"/>
              <a:ext cx="212725" cy="92075"/>
            </a:xfrm>
            <a:custGeom>
              <a:avLst/>
              <a:gdLst/>
              <a:ahLst/>
              <a:cxnLst/>
              <a:rect l="l" t="t" r="r" b="b"/>
              <a:pathLst>
                <a:path w="212725" h="92075" extrusionOk="0">
                  <a:moveTo>
                    <a:pt x="10160" y="0"/>
                  </a:moveTo>
                  <a:lnTo>
                    <a:pt x="0" y="49530"/>
                  </a:lnTo>
                  <a:lnTo>
                    <a:pt x="24765" y="54610"/>
                  </a:lnTo>
                  <a:lnTo>
                    <a:pt x="177165" y="86360"/>
                  </a:lnTo>
                  <a:lnTo>
                    <a:pt x="201930" y="92075"/>
                  </a:lnTo>
                  <a:lnTo>
                    <a:pt x="212725" y="41910"/>
                  </a:lnTo>
                  <a:lnTo>
                    <a:pt x="187325" y="36830"/>
                  </a:lnTo>
                  <a:lnTo>
                    <a:pt x="34925" y="508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700" name="Google Shape;2700;p66"/>
            <p:cNvSpPr/>
            <p:nvPr/>
          </p:nvSpPr>
          <p:spPr>
            <a:xfrm>
              <a:off x="5589270" y="727709"/>
              <a:ext cx="212725" cy="92075"/>
            </a:xfrm>
            <a:custGeom>
              <a:avLst/>
              <a:gdLst/>
              <a:ahLst/>
              <a:cxnLst/>
              <a:rect l="l" t="t" r="r" b="b"/>
              <a:pathLst>
                <a:path w="212725" h="92075" extrusionOk="0">
                  <a:moveTo>
                    <a:pt x="34925" y="5080"/>
                  </a:moveTo>
                  <a:lnTo>
                    <a:pt x="10160" y="0"/>
                  </a:lnTo>
                  <a:lnTo>
                    <a:pt x="0" y="49530"/>
                  </a:lnTo>
                  <a:lnTo>
                    <a:pt x="24765" y="54610"/>
                  </a:lnTo>
                  <a:lnTo>
                    <a:pt x="177165" y="86360"/>
                  </a:lnTo>
                  <a:lnTo>
                    <a:pt x="201930" y="92075"/>
                  </a:lnTo>
                  <a:lnTo>
                    <a:pt x="212725" y="41910"/>
                  </a:lnTo>
                  <a:lnTo>
                    <a:pt x="187325" y="3683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701" name="Google Shape;2701;p66"/>
            <p:cNvSpPr/>
            <p:nvPr/>
          </p:nvSpPr>
          <p:spPr>
            <a:xfrm>
              <a:off x="6224270" y="1089660"/>
              <a:ext cx="212725" cy="92075"/>
            </a:xfrm>
            <a:custGeom>
              <a:avLst/>
              <a:gdLst/>
              <a:ahLst/>
              <a:cxnLst/>
              <a:rect l="l" t="t" r="r" b="b"/>
              <a:pathLst>
                <a:path w="212725" h="92075" extrusionOk="0">
                  <a:moveTo>
                    <a:pt x="201930" y="92075"/>
                  </a:moveTo>
                  <a:lnTo>
                    <a:pt x="212725" y="41910"/>
                  </a:lnTo>
                  <a:lnTo>
                    <a:pt x="187325" y="36830"/>
                  </a:lnTo>
                  <a:lnTo>
                    <a:pt x="34925" y="5080"/>
                  </a:lnTo>
                  <a:lnTo>
                    <a:pt x="10160" y="0"/>
                  </a:lnTo>
                  <a:lnTo>
                    <a:pt x="0" y="49530"/>
                  </a:lnTo>
                  <a:lnTo>
                    <a:pt x="24765" y="54610"/>
                  </a:lnTo>
                  <a:lnTo>
                    <a:pt x="177165" y="8636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702" name="Google Shape;2702;p66"/>
            <p:cNvSpPr/>
            <p:nvPr/>
          </p:nvSpPr>
          <p:spPr>
            <a:xfrm>
              <a:off x="6859269" y="1451610"/>
              <a:ext cx="212725" cy="92075"/>
            </a:xfrm>
            <a:custGeom>
              <a:avLst/>
              <a:gdLst/>
              <a:ahLst/>
              <a:cxnLst/>
              <a:rect l="l" t="t" r="r" b="b"/>
              <a:pathLst>
                <a:path w="212725" h="92075" extrusionOk="0">
                  <a:moveTo>
                    <a:pt x="201930" y="92075"/>
                  </a:moveTo>
                  <a:lnTo>
                    <a:pt x="212725" y="41910"/>
                  </a:lnTo>
                  <a:lnTo>
                    <a:pt x="187325" y="36830"/>
                  </a:lnTo>
                  <a:lnTo>
                    <a:pt x="34925" y="5080"/>
                  </a:lnTo>
                  <a:lnTo>
                    <a:pt x="10161" y="0"/>
                  </a:lnTo>
                  <a:lnTo>
                    <a:pt x="0" y="49530"/>
                  </a:lnTo>
                  <a:lnTo>
                    <a:pt x="24765" y="54610"/>
                  </a:lnTo>
                  <a:lnTo>
                    <a:pt x="177165" y="8636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703" name="Google Shape;2703;p66"/>
            <p:cNvSpPr/>
            <p:nvPr/>
          </p:nvSpPr>
          <p:spPr>
            <a:xfrm>
              <a:off x="7494269" y="1813560"/>
              <a:ext cx="212725" cy="92075"/>
            </a:xfrm>
            <a:custGeom>
              <a:avLst/>
              <a:gdLst/>
              <a:ahLst/>
              <a:cxnLst/>
              <a:rect l="l" t="t" r="r" b="b"/>
              <a:pathLst>
                <a:path w="212725" h="92075" extrusionOk="0">
                  <a:moveTo>
                    <a:pt x="201930" y="92075"/>
                  </a:moveTo>
                  <a:lnTo>
                    <a:pt x="212725" y="41910"/>
                  </a:lnTo>
                  <a:lnTo>
                    <a:pt x="187325" y="36830"/>
                  </a:lnTo>
                  <a:lnTo>
                    <a:pt x="34925" y="5080"/>
                  </a:lnTo>
                  <a:lnTo>
                    <a:pt x="10161" y="0"/>
                  </a:lnTo>
                  <a:lnTo>
                    <a:pt x="0" y="49530"/>
                  </a:lnTo>
                  <a:lnTo>
                    <a:pt x="24765" y="54610"/>
                  </a:lnTo>
                  <a:lnTo>
                    <a:pt x="177165" y="8636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704" name="Google Shape;2704;p66"/>
            <p:cNvSpPr/>
            <p:nvPr/>
          </p:nvSpPr>
          <p:spPr>
            <a:xfrm>
              <a:off x="8129269" y="2175510"/>
              <a:ext cx="212725" cy="92075"/>
            </a:xfrm>
            <a:custGeom>
              <a:avLst/>
              <a:gdLst/>
              <a:ahLst/>
              <a:cxnLst/>
              <a:rect l="l" t="t" r="r" b="b"/>
              <a:pathLst>
                <a:path w="212725" h="92075" extrusionOk="0">
                  <a:moveTo>
                    <a:pt x="201930" y="92075"/>
                  </a:moveTo>
                  <a:lnTo>
                    <a:pt x="212725" y="41910"/>
                  </a:lnTo>
                  <a:lnTo>
                    <a:pt x="187325" y="36830"/>
                  </a:lnTo>
                  <a:lnTo>
                    <a:pt x="34925" y="5080"/>
                  </a:lnTo>
                  <a:lnTo>
                    <a:pt x="10161" y="0"/>
                  </a:lnTo>
                  <a:lnTo>
                    <a:pt x="0" y="49530"/>
                  </a:lnTo>
                  <a:lnTo>
                    <a:pt x="24765" y="54610"/>
                  </a:lnTo>
                  <a:lnTo>
                    <a:pt x="177165" y="8636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705" name="Google Shape;2705;p66"/>
            <p:cNvSpPr/>
            <p:nvPr/>
          </p:nvSpPr>
          <p:spPr>
            <a:xfrm>
              <a:off x="8764269" y="2537460"/>
              <a:ext cx="212725" cy="92075"/>
            </a:xfrm>
            <a:custGeom>
              <a:avLst/>
              <a:gdLst/>
              <a:ahLst/>
              <a:cxnLst/>
              <a:rect l="l" t="t" r="r" b="b"/>
              <a:pathLst>
                <a:path w="212725" h="92075" extrusionOk="0">
                  <a:moveTo>
                    <a:pt x="34925" y="5080"/>
                  </a:moveTo>
                  <a:lnTo>
                    <a:pt x="10161" y="0"/>
                  </a:lnTo>
                  <a:lnTo>
                    <a:pt x="0" y="49530"/>
                  </a:lnTo>
                  <a:lnTo>
                    <a:pt x="24765" y="54610"/>
                  </a:lnTo>
                  <a:lnTo>
                    <a:pt x="177165" y="86360"/>
                  </a:lnTo>
                  <a:lnTo>
                    <a:pt x="201930" y="92075"/>
                  </a:lnTo>
                  <a:lnTo>
                    <a:pt x="212725" y="41910"/>
                  </a:lnTo>
                  <a:lnTo>
                    <a:pt x="187325" y="3683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706" name="Google Shape;2706;p66"/>
            <p:cNvSpPr/>
            <p:nvPr/>
          </p:nvSpPr>
          <p:spPr>
            <a:xfrm>
              <a:off x="9399269" y="2899410"/>
              <a:ext cx="212725" cy="92075"/>
            </a:xfrm>
            <a:custGeom>
              <a:avLst/>
              <a:gdLst/>
              <a:ahLst/>
              <a:cxnLst/>
              <a:rect l="l" t="t" r="r" b="b"/>
              <a:pathLst>
                <a:path w="212725" h="92075" extrusionOk="0">
                  <a:moveTo>
                    <a:pt x="201930" y="92075"/>
                  </a:moveTo>
                  <a:lnTo>
                    <a:pt x="212725" y="41910"/>
                  </a:lnTo>
                  <a:lnTo>
                    <a:pt x="187325" y="36830"/>
                  </a:lnTo>
                  <a:lnTo>
                    <a:pt x="34925" y="5080"/>
                  </a:lnTo>
                  <a:lnTo>
                    <a:pt x="10161" y="0"/>
                  </a:lnTo>
                  <a:lnTo>
                    <a:pt x="0" y="49530"/>
                  </a:lnTo>
                  <a:lnTo>
                    <a:pt x="24765" y="54610"/>
                  </a:lnTo>
                  <a:lnTo>
                    <a:pt x="177165" y="8636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707" name="Google Shape;2707;p66"/>
            <p:cNvSpPr/>
            <p:nvPr/>
          </p:nvSpPr>
          <p:spPr>
            <a:xfrm>
              <a:off x="10034269" y="3261359"/>
              <a:ext cx="212725" cy="92075"/>
            </a:xfrm>
            <a:custGeom>
              <a:avLst/>
              <a:gdLst/>
              <a:ahLst/>
              <a:cxnLst/>
              <a:rect l="l" t="t" r="r" b="b"/>
              <a:pathLst>
                <a:path w="212725" h="92075" extrusionOk="0">
                  <a:moveTo>
                    <a:pt x="201930" y="92075"/>
                  </a:moveTo>
                  <a:lnTo>
                    <a:pt x="212725" y="41910"/>
                  </a:lnTo>
                  <a:lnTo>
                    <a:pt x="187325" y="36830"/>
                  </a:lnTo>
                  <a:lnTo>
                    <a:pt x="34925" y="5080"/>
                  </a:lnTo>
                  <a:lnTo>
                    <a:pt x="10161" y="0"/>
                  </a:lnTo>
                  <a:lnTo>
                    <a:pt x="0" y="49530"/>
                  </a:lnTo>
                  <a:lnTo>
                    <a:pt x="24765" y="54610"/>
                  </a:lnTo>
                  <a:lnTo>
                    <a:pt x="177165" y="8636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708" name="Google Shape;2708;p66"/>
            <p:cNvSpPr/>
            <p:nvPr/>
          </p:nvSpPr>
          <p:spPr>
            <a:xfrm>
              <a:off x="10669269" y="3623309"/>
              <a:ext cx="212725" cy="92075"/>
            </a:xfrm>
            <a:custGeom>
              <a:avLst/>
              <a:gdLst/>
              <a:ahLst/>
              <a:cxnLst/>
              <a:rect l="l" t="t" r="r" b="b"/>
              <a:pathLst>
                <a:path w="212725" h="92075" extrusionOk="0">
                  <a:moveTo>
                    <a:pt x="201930" y="92075"/>
                  </a:moveTo>
                  <a:lnTo>
                    <a:pt x="212725" y="41910"/>
                  </a:lnTo>
                  <a:lnTo>
                    <a:pt x="187325" y="36830"/>
                  </a:lnTo>
                  <a:lnTo>
                    <a:pt x="34925" y="5080"/>
                  </a:lnTo>
                  <a:lnTo>
                    <a:pt x="10161" y="0"/>
                  </a:lnTo>
                  <a:lnTo>
                    <a:pt x="0" y="49530"/>
                  </a:lnTo>
                  <a:lnTo>
                    <a:pt x="24765" y="54610"/>
                  </a:lnTo>
                  <a:lnTo>
                    <a:pt x="177165" y="8636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709" name="Google Shape;2709;p66"/>
            <p:cNvSpPr/>
            <p:nvPr/>
          </p:nvSpPr>
          <p:spPr>
            <a:xfrm>
              <a:off x="11304269" y="3985259"/>
              <a:ext cx="212725" cy="92075"/>
            </a:xfrm>
            <a:custGeom>
              <a:avLst/>
              <a:gdLst/>
              <a:ahLst/>
              <a:cxnLst/>
              <a:rect l="l" t="t" r="r" b="b"/>
              <a:pathLst>
                <a:path w="212725" h="92075" extrusionOk="0">
                  <a:moveTo>
                    <a:pt x="177165" y="86360"/>
                  </a:moveTo>
                  <a:lnTo>
                    <a:pt x="201930" y="92075"/>
                  </a:lnTo>
                  <a:lnTo>
                    <a:pt x="212725" y="41910"/>
                  </a:lnTo>
                  <a:lnTo>
                    <a:pt x="187325" y="36830"/>
                  </a:lnTo>
                  <a:lnTo>
                    <a:pt x="34925" y="5080"/>
                  </a:lnTo>
                  <a:lnTo>
                    <a:pt x="10161" y="0"/>
                  </a:lnTo>
                  <a:lnTo>
                    <a:pt x="0" y="49530"/>
                  </a:lnTo>
                  <a:lnTo>
                    <a:pt x="24765" y="5461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710" name="Google Shape;2710;p66"/>
            <p:cNvSpPr/>
            <p:nvPr/>
          </p:nvSpPr>
          <p:spPr>
            <a:xfrm>
              <a:off x="11939269" y="4347209"/>
              <a:ext cx="212725" cy="92075"/>
            </a:xfrm>
            <a:custGeom>
              <a:avLst/>
              <a:gdLst/>
              <a:ahLst/>
              <a:cxnLst/>
              <a:rect l="l" t="t" r="r" b="b"/>
              <a:pathLst>
                <a:path w="212725" h="92075" extrusionOk="0">
                  <a:moveTo>
                    <a:pt x="201930" y="92075"/>
                  </a:moveTo>
                  <a:lnTo>
                    <a:pt x="212725" y="41910"/>
                  </a:lnTo>
                  <a:lnTo>
                    <a:pt x="187325" y="36830"/>
                  </a:lnTo>
                  <a:lnTo>
                    <a:pt x="34925" y="5080"/>
                  </a:lnTo>
                  <a:lnTo>
                    <a:pt x="10161" y="0"/>
                  </a:lnTo>
                  <a:lnTo>
                    <a:pt x="0" y="49530"/>
                  </a:lnTo>
                  <a:lnTo>
                    <a:pt x="24765" y="54610"/>
                  </a:lnTo>
                  <a:lnTo>
                    <a:pt x="177165" y="8636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711" name="Google Shape;2711;p66"/>
            <p:cNvSpPr/>
            <p:nvPr/>
          </p:nvSpPr>
          <p:spPr>
            <a:xfrm>
              <a:off x="4935854" y="24129"/>
              <a:ext cx="203200" cy="50800"/>
            </a:xfrm>
            <a:custGeom>
              <a:avLst/>
              <a:gdLst/>
              <a:ahLst/>
              <a:cxnLst/>
              <a:rect l="l" t="t" r="r" b="b"/>
              <a:pathLst>
                <a:path w="203200" h="50800" extrusionOk="0">
                  <a:moveTo>
                    <a:pt x="177800" y="50800"/>
                  </a:moveTo>
                  <a:lnTo>
                    <a:pt x="203200" y="50800"/>
                  </a:lnTo>
                  <a:lnTo>
                    <a:pt x="203200" y="0"/>
                  </a:lnTo>
                  <a:lnTo>
                    <a:pt x="177800" y="0"/>
                  </a:lnTo>
                  <a:lnTo>
                    <a:pt x="25400" y="0"/>
                  </a:lnTo>
                  <a:lnTo>
                    <a:pt x="0" y="0"/>
                  </a:lnTo>
                  <a:lnTo>
                    <a:pt x="0" y="50800"/>
                  </a:lnTo>
                  <a:lnTo>
                    <a:pt x="25400" y="5080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712" name="Google Shape;2712;p66"/>
            <p:cNvSpPr/>
            <p:nvPr/>
          </p:nvSpPr>
          <p:spPr>
            <a:xfrm>
              <a:off x="5570854" y="386079"/>
              <a:ext cx="203200" cy="50800"/>
            </a:xfrm>
            <a:custGeom>
              <a:avLst/>
              <a:gdLst/>
              <a:ahLst/>
              <a:cxnLst/>
              <a:rect l="l" t="t" r="r" b="b"/>
              <a:pathLst>
                <a:path w="203200" h="50800" extrusionOk="0">
                  <a:moveTo>
                    <a:pt x="177800" y="50800"/>
                  </a:moveTo>
                  <a:lnTo>
                    <a:pt x="203200" y="50800"/>
                  </a:lnTo>
                  <a:lnTo>
                    <a:pt x="203200" y="0"/>
                  </a:lnTo>
                  <a:lnTo>
                    <a:pt x="177800" y="0"/>
                  </a:lnTo>
                  <a:lnTo>
                    <a:pt x="25400" y="0"/>
                  </a:lnTo>
                  <a:lnTo>
                    <a:pt x="0" y="0"/>
                  </a:lnTo>
                  <a:lnTo>
                    <a:pt x="0" y="50800"/>
                  </a:lnTo>
                  <a:lnTo>
                    <a:pt x="25400" y="5080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713" name="Google Shape;2713;p66"/>
            <p:cNvSpPr/>
            <p:nvPr/>
          </p:nvSpPr>
          <p:spPr>
            <a:xfrm>
              <a:off x="6205854" y="748030"/>
              <a:ext cx="203200" cy="50800"/>
            </a:xfrm>
            <a:custGeom>
              <a:avLst/>
              <a:gdLst/>
              <a:ahLst/>
              <a:cxnLst/>
              <a:rect l="l" t="t" r="r" b="b"/>
              <a:pathLst>
                <a:path w="203200" h="50800" extrusionOk="0">
                  <a:moveTo>
                    <a:pt x="177800" y="50800"/>
                  </a:moveTo>
                  <a:lnTo>
                    <a:pt x="203200" y="50800"/>
                  </a:lnTo>
                  <a:lnTo>
                    <a:pt x="203200" y="0"/>
                  </a:lnTo>
                  <a:lnTo>
                    <a:pt x="177800" y="0"/>
                  </a:lnTo>
                  <a:lnTo>
                    <a:pt x="25400" y="0"/>
                  </a:lnTo>
                  <a:lnTo>
                    <a:pt x="0" y="0"/>
                  </a:lnTo>
                  <a:lnTo>
                    <a:pt x="0" y="50800"/>
                  </a:lnTo>
                  <a:lnTo>
                    <a:pt x="25400" y="5080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714" name="Google Shape;2714;p66"/>
            <p:cNvSpPr/>
            <p:nvPr/>
          </p:nvSpPr>
          <p:spPr>
            <a:xfrm>
              <a:off x="6840855" y="1109980"/>
              <a:ext cx="203200" cy="50800"/>
            </a:xfrm>
            <a:custGeom>
              <a:avLst/>
              <a:gdLst/>
              <a:ahLst/>
              <a:cxnLst/>
              <a:rect l="l" t="t" r="r" b="b"/>
              <a:pathLst>
                <a:path w="203200" h="50800" extrusionOk="0">
                  <a:moveTo>
                    <a:pt x="177800" y="50800"/>
                  </a:moveTo>
                  <a:lnTo>
                    <a:pt x="203200" y="50800"/>
                  </a:lnTo>
                  <a:lnTo>
                    <a:pt x="203200" y="0"/>
                  </a:lnTo>
                  <a:lnTo>
                    <a:pt x="177800" y="0"/>
                  </a:lnTo>
                  <a:lnTo>
                    <a:pt x="25400" y="0"/>
                  </a:lnTo>
                  <a:lnTo>
                    <a:pt x="0" y="0"/>
                  </a:lnTo>
                  <a:lnTo>
                    <a:pt x="0" y="50800"/>
                  </a:lnTo>
                  <a:lnTo>
                    <a:pt x="25400" y="5080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715" name="Google Shape;2715;p66"/>
            <p:cNvSpPr/>
            <p:nvPr/>
          </p:nvSpPr>
          <p:spPr>
            <a:xfrm>
              <a:off x="7475855" y="1471930"/>
              <a:ext cx="203200" cy="50800"/>
            </a:xfrm>
            <a:custGeom>
              <a:avLst/>
              <a:gdLst/>
              <a:ahLst/>
              <a:cxnLst/>
              <a:rect l="l" t="t" r="r" b="b"/>
              <a:pathLst>
                <a:path w="203200" h="50800" extrusionOk="0">
                  <a:moveTo>
                    <a:pt x="177800" y="50800"/>
                  </a:moveTo>
                  <a:lnTo>
                    <a:pt x="203200" y="50800"/>
                  </a:lnTo>
                  <a:lnTo>
                    <a:pt x="203200" y="0"/>
                  </a:lnTo>
                  <a:lnTo>
                    <a:pt x="177800" y="0"/>
                  </a:lnTo>
                  <a:lnTo>
                    <a:pt x="25400" y="0"/>
                  </a:lnTo>
                  <a:lnTo>
                    <a:pt x="0" y="0"/>
                  </a:lnTo>
                  <a:lnTo>
                    <a:pt x="0" y="50800"/>
                  </a:lnTo>
                  <a:lnTo>
                    <a:pt x="25400" y="5080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716" name="Google Shape;2716;p66"/>
            <p:cNvSpPr/>
            <p:nvPr/>
          </p:nvSpPr>
          <p:spPr>
            <a:xfrm>
              <a:off x="8110855" y="1833879"/>
              <a:ext cx="203200" cy="50800"/>
            </a:xfrm>
            <a:custGeom>
              <a:avLst/>
              <a:gdLst/>
              <a:ahLst/>
              <a:cxnLst/>
              <a:rect l="l" t="t" r="r" b="b"/>
              <a:pathLst>
                <a:path w="203200" h="50800" extrusionOk="0">
                  <a:moveTo>
                    <a:pt x="177800" y="50800"/>
                  </a:moveTo>
                  <a:lnTo>
                    <a:pt x="203200" y="50800"/>
                  </a:lnTo>
                  <a:lnTo>
                    <a:pt x="203200" y="0"/>
                  </a:lnTo>
                  <a:lnTo>
                    <a:pt x="177800" y="0"/>
                  </a:lnTo>
                  <a:lnTo>
                    <a:pt x="25400" y="0"/>
                  </a:lnTo>
                  <a:lnTo>
                    <a:pt x="0" y="0"/>
                  </a:lnTo>
                  <a:lnTo>
                    <a:pt x="0" y="50800"/>
                  </a:lnTo>
                  <a:lnTo>
                    <a:pt x="25400" y="5080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717" name="Google Shape;2717;p66"/>
            <p:cNvSpPr/>
            <p:nvPr/>
          </p:nvSpPr>
          <p:spPr>
            <a:xfrm>
              <a:off x="8745855" y="2195829"/>
              <a:ext cx="203200" cy="50800"/>
            </a:xfrm>
            <a:custGeom>
              <a:avLst/>
              <a:gdLst/>
              <a:ahLst/>
              <a:cxnLst/>
              <a:rect l="l" t="t" r="r" b="b"/>
              <a:pathLst>
                <a:path w="203200" h="50800" extrusionOk="0">
                  <a:moveTo>
                    <a:pt x="0" y="50800"/>
                  </a:moveTo>
                  <a:lnTo>
                    <a:pt x="25400" y="50800"/>
                  </a:lnTo>
                  <a:lnTo>
                    <a:pt x="177800" y="50800"/>
                  </a:lnTo>
                  <a:lnTo>
                    <a:pt x="203200" y="50800"/>
                  </a:lnTo>
                  <a:lnTo>
                    <a:pt x="203200" y="0"/>
                  </a:lnTo>
                  <a:lnTo>
                    <a:pt x="177800" y="0"/>
                  </a:lnTo>
                  <a:lnTo>
                    <a:pt x="25400" y="0"/>
                  </a:lnTo>
                  <a:lnTo>
                    <a:pt x="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718" name="Google Shape;2718;p66"/>
            <p:cNvSpPr/>
            <p:nvPr/>
          </p:nvSpPr>
          <p:spPr>
            <a:xfrm>
              <a:off x="9380855" y="2557779"/>
              <a:ext cx="203200" cy="50800"/>
            </a:xfrm>
            <a:custGeom>
              <a:avLst/>
              <a:gdLst/>
              <a:ahLst/>
              <a:cxnLst/>
              <a:rect l="l" t="t" r="r" b="b"/>
              <a:pathLst>
                <a:path w="203200" h="50800" extrusionOk="0">
                  <a:moveTo>
                    <a:pt x="0" y="50800"/>
                  </a:moveTo>
                  <a:lnTo>
                    <a:pt x="25400" y="50800"/>
                  </a:lnTo>
                  <a:lnTo>
                    <a:pt x="177800" y="50800"/>
                  </a:lnTo>
                  <a:lnTo>
                    <a:pt x="203200" y="50800"/>
                  </a:lnTo>
                  <a:lnTo>
                    <a:pt x="203200" y="0"/>
                  </a:lnTo>
                  <a:lnTo>
                    <a:pt x="177800" y="0"/>
                  </a:lnTo>
                  <a:lnTo>
                    <a:pt x="25400" y="0"/>
                  </a:lnTo>
                  <a:lnTo>
                    <a:pt x="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719" name="Google Shape;2719;p66"/>
            <p:cNvSpPr/>
            <p:nvPr/>
          </p:nvSpPr>
          <p:spPr>
            <a:xfrm>
              <a:off x="10015855" y="2919729"/>
              <a:ext cx="203200" cy="50800"/>
            </a:xfrm>
            <a:custGeom>
              <a:avLst/>
              <a:gdLst/>
              <a:ahLst/>
              <a:cxnLst/>
              <a:rect l="l" t="t" r="r" b="b"/>
              <a:pathLst>
                <a:path w="203200" h="50800" extrusionOk="0">
                  <a:moveTo>
                    <a:pt x="0" y="50800"/>
                  </a:moveTo>
                  <a:lnTo>
                    <a:pt x="25400" y="50800"/>
                  </a:lnTo>
                  <a:lnTo>
                    <a:pt x="177800" y="50800"/>
                  </a:lnTo>
                  <a:lnTo>
                    <a:pt x="203200" y="50800"/>
                  </a:lnTo>
                  <a:lnTo>
                    <a:pt x="203200" y="0"/>
                  </a:lnTo>
                  <a:lnTo>
                    <a:pt x="177800" y="0"/>
                  </a:lnTo>
                  <a:lnTo>
                    <a:pt x="25400" y="0"/>
                  </a:lnTo>
                  <a:lnTo>
                    <a:pt x="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720" name="Google Shape;2720;p66"/>
            <p:cNvSpPr/>
            <p:nvPr/>
          </p:nvSpPr>
          <p:spPr>
            <a:xfrm>
              <a:off x="10650855" y="3281679"/>
              <a:ext cx="203200" cy="50800"/>
            </a:xfrm>
            <a:custGeom>
              <a:avLst/>
              <a:gdLst/>
              <a:ahLst/>
              <a:cxnLst/>
              <a:rect l="l" t="t" r="r" b="b"/>
              <a:pathLst>
                <a:path w="203200" h="50800" extrusionOk="0">
                  <a:moveTo>
                    <a:pt x="0" y="50800"/>
                  </a:moveTo>
                  <a:lnTo>
                    <a:pt x="25400" y="50800"/>
                  </a:lnTo>
                  <a:lnTo>
                    <a:pt x="177800" y="50800"/>
                  </a:lnTo>
                  <a:lnTo>
                    <a:pt x="203200" y="50800"/>
                  </a:lnTo>
                  <a:lnTo>
                    <a:pt x="203200" y="0"/>
                  </a:lnTo>
                  <a:lnTo>
                    <a:pt x="177800" y="0"/>
                  </a:lnTo>
                  <a:lnTo>
                    <a:pt x="25400" y="0"/>
                  </a:lnTo>
                  <a:lnTo>
                    <a:pt x="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721" name="Google Shape;2721;p66"/>
            <p:cNvSpPr/>
            <p:nvPr/>
          </p:nvSpPr>
          <p:spPr>
            <a:xfrm>
              <a:off x="11285855" y="3643629"/>
              <a:ext cx="203200" cy="50800"/>
            </a:xfrm>
            <a:custGeom>
              <a:avLst/>
              <a:gdLst/>
              <a:ahLst/>
              <a:cxnLst/>
              <a:rect l="l" t="t" r="r" b="b"/>
              <a:pathLst>
                <a:path w="203200" h="50800" extrusionOk="0">
                  <a:moveTo>
                    <a:pt x="0" y="50800"/>
                  </a:moveTo>
                  <a:lnTo>
                    <a:pt x="25400" y="50800"/>
                  </a:lnTo>
                  <a:lnTo>
                    <a:pt x="177800" y="50800"/>
                  </a:lnTo>
                  <a:lnTo>
                    <a:pt x="203200" y="50800"/>
                  </a:lnTo>
                  <a:lnTo>
                    <a:pt x="203200" y="0"/>
                  </a:lnTo>
                  <a:lnTo>
                    <a:pt x="177800" y="0"/>
                  </a:lnTo>
                  <a:lnTo>
                    <a:pt x="25400" y="0"/>
                  </a:lnTo>
                  <a:lnTo>
                    <a:pt x="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722" name="Google Shape;2722;p66"/>
            <p:cNvSpPr/>
            <p:nvPr/>
          </p:nvSpPr>
          <p:spPr>
            <a:xfrm>
              <a:off x="11920855" y="4005579"/>
              <a:ext cx="203200" cy="50800"/>
            </a:xfrm>
            <a:custGeom>
              <a:avLst/>
              <a:gdLst/>
              <a:ahLst/>
              <a:cxnLst/>
              <a:rect l="l" t="t" r="r" b="b"/>
              <a:pathLst>
                <a:path w="203200" h="50800" extrusionOk="0">
                  <a:moveTo>
                    <a:pt x="177800" y="50800"/>
                  </a:moveTo>
                  <a:lnTo>
                    <a:pt x="203200" y="50800"/>
                  </a:lnTo>
                  <a:lnTo>
                    <a:pt x="203200" y="0"/>
                  </a:lnTo>
                  <a:lnTo>
                    <a:pt x="177800" y="0"/>
                  </a:lnTo>
                  <a:lnTo>
                    <a:pt x="25400" y="0"/>
                  </a:lnTo>
                  <a:lnTo>
                    <a:pt x="0" y="0"/>
                  </a:lnTo>
                  <a:lnTo>
                    <a:pt x="0" y="50800"/>
                  </a:lnTo>
                  <a:lnTo>
                    <a:pt x="25400" y="5080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723" name="Google Shape;2723;p66"/>
            <p:cNvSpPr/>
            <p:nvPr/>
          </p:nvSpPr>
          <p:spPr>
            <a:xfrm>
              <a:off x="5588634" y="3810"/>
              <a:ext cx="212090" cy="91439"/>
            </a:xfrm>
            <a:custGeom>
              <a:avLst/>
              <a:gdLst/>
              <a:ahLst/>
              <a:cxnLst/>
              <a:rect l="l" t="t" r="r" b="b"/>
              <a:pathLst>
                <a:path w="212090" h="91439" extrusionOk="0">
                  <a:moveTo>
                    <a:pt x="34925" y="86360"/>
                  </a:moveTo>
                  <a:lnTo>
                    <a:pt x="187325" y="55245"/>
                  </a:lnTo>
                  <a:lnTo>
                    <a:pt x="212090" y="50165"/>
                  </a:lnTo>
                  <a:lnTo>
                    <a:pt x="201930" y="0"/>
                  </a:lnTo>
                  <a:lnTo>
                    <a:pt x="177165" y="5080"/>
                  </a:lnTo>
                  <a:lnTo>
                    <a:pt x="24765" y="36830"/>
                  </a:lnTo>
                  <a:lnTo>
                    <a:pt x="0" y="41910"/>
                  </a:lnTo>
                  <a:lnTo>
                    <a:pt x="10160" y="914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724" name="Google Shape;2724;p66"/>
            <p:cNvSpPr/>
            <p:nvPr/>
          </p:nvSpPr>
          <p:spPr>
            <a:xfrm>
              <a:off x="6223634" y="365759"/>
              <a:ext cx="212090" cy="91440"/>
            </a:xfrm>
            <a:custGeom>
              <a:avLst/>
              <a:gdLst/>
              <a:ahLst/>
              <a:cxnLst/>
              <a:rect l="l" t="t" r="r" b="b"/>
              <a:pathLst>
                <a:path w="212090" h="91440" extrusionOk="0">
                  <a:moveTo>
                    <a:pt x="34925" y="86360"/>
                  </a:moveTo>
                  <a:lnTo>
                    <a:pt x="187325" y="55245"/>
                  </a:lnTo>
                  <a:lnTo>
                    <a:pt x="212090" y="50165"/>
                  </a:lnTo>
                  <a:lnTo>
                    <a:pt x="201930" y="0"/>
                  </a:lnTo>
                  <a:lnTo>
                    <a:pt x="177165" y="5080"/>
                  </a:lnTo>
                  <a:lnTo>
                    <a:pt x="24765" y="36830"/>
                  </a:lnTo>
                  <a:lnTo>
                    <a:pt x="0" y="41910"/>
                  </a:lnTo>
                  <a:lnTo>
                    <a:pt x="10160" y="914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725" name="Google Shape;2725;p66"/>
            <p:cNvSpPr/>
            <p:nvPr/>
          </p:nvSpPr>
          <p:spPr>
            <a:xfrm>
              <a:off x="6858634" y="727709"/>
              <a:ext cx="212090" cy="91440"/>
            </a:xfrm>
            <a:custGeom>
              <a:avLst/>
              <a:gdLst/>
              <a:ahLst/>
              <a:cxnLst/>
              <a:rect l="l" t="t" r="r" b="b"/>
              <a:pathLst>
                <a:path w="212090" h="91440" extrusionOk="0">
                  <a:moveTo>
                    <a:pt x="34925" y="86360"/>
                  </a:moveTo>
                  <a:lnTo>
                    <a:pt x="187325" y="55245"/>
                  </a:lnTo>
                  <a:lnTo>
                    <a:pt x="212090" y="50165"/>
                  </a:lnTo>
                  <a:lnTo>
                    <a:pt x="201930" y="0"/>
                  </a:lnTo>
                  <a:lnTo>
                    <a:pt x="177165" y="5080"/>
                  </a:lnTo>
                  <a:lnTo>
                    <a:pt x="24765" y="36830"/>
                  </a:lnTo>
                  <a:lnTo>
                    <a:pt x="0" y="41910"/>
                  </a:lnTo>
                  <a:lnTo>
                    <a:pt x="10160" y="914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726" name="Google Shape;2726;p66"/>
            <p:cNvSpPr/>
            <p:nvPr/>
          </p:nvSpPr>
          <p:spPr>
            <a:xfrm>
              <a:off x="7493634" y="1089660"/>
              <a:ext cx="212090" cy="91439"/>
            </a:xfrm>
            <a:custGeom>
              <a:avLst/>
              <a:gdLst/>
              <a:ahLst/>
              <a:cxnLst/>
              <a:rect l="l" t="t" r="r" b="b"/>
              <a:pathLst>
                <a:path w="212090" h="91439" extrusionOk="0">
                  <a:moveTo>
                    <a:pt x="34925" y="86360"/>
                  </a:moveTo>
                  <a:lnTo>
                    <a:pt x="187325" y="55245"/>
                  </a:lnTo>
                  <a:lnTo>
                    <a:pt x="212090" y="50165"/>
                  </a:lnTo>
                  <a:lnTo>
                    <a:pt x="201930" y="0"/>
                  </a:lnTo>
                  <a:lnTo>
                    <a:pt x="177165" y="5080"/>
                  </a:lnTo>
                  <a:lnTo>
                    <a:pt x="24765" y="36830"/>
                  </a:lnTo>
                  <a:lnTo>
                    <a:pt x="0" y="41910"/>
                  </a:lnTo>
                  <a:lnTo>
                    <a:pt x="10160" y="914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727" name="Google Shape;2727;p66"/>
            <p:cNvSpPr/>
            <p:nvPr/>
          </p:nvSpPr>
          <p:spPr>
            <a:xfrm>
              <a:off x="8128634" y="1451610"/>
              <a:ext cx="212090" cy="91439"/>
            </a:xfrm>
            <a:custGeom>
              <a:avLst/>
              <a:gdLst/>
              <a:ahLst/>
              <a:cxnLst/>
              <a:rect l="l" t="t" r="r" b="b"/>
              <a:pathLst>
                <a:path w="212090" h="91439" extrusionOk="0">
                  <a:moveTo>
                    <a:pt x="34925" y="86360"/>
                  </a:moveTo>
                  <a:lnTo>
                    <a:pt x="187325" y="55245"/>
                  </a:lnTo>
                  <a:lnTo>
                    <a:pt x="212090" y="50165"/>
                  </a:lnTo>
                  <a:lnTo>
                    <a:pt x="201930" y="0"/>
                  </a:lnTo>
                  <a:lnTo>
                    <a:pt x="177165" y="5080"/>
                  </a:lnTo>
                  <a:lnTo>
                    <a:pt x="24765" y="36830"/>
                  </a:lnTo>
                  <a:lnTo>
                    <a:pt x="0" y="41910"/>
                  </a:lnTo>
                  <a:lnTo>
                    <a:pt x="10160" y="914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728" name="Google Shape;2728;p66"/>
            <p:cNvSpPr/>
            <p:nvPr/>
          </p:nvSpPr>
          <p:spPr>
            <a:xfrm>
              <a:off x="8763634" y="1813560"/>
              <a:ext cx="212090" cy="91439"/>
            </a:xfrm>
            <a:custGeom>
              <a:avLst/>
              <a:gdLst/>
              <a:ahLst/>
              <a:cxnLst/>
              <a:rect l="l" t="t" r="r" b="b"/>
              <a:pathLst>
                <a:path w="212090" h="91439" extrusionOk="0">
                  <a:moveTo>
                    <a:pt x="177165" y="5080"/>
                  </a:moveTo>
                  <a:lnTo>
                    <a:pt x="24765" y="36830"/>
                  </a:lnTo>
                  <a:lnTo>
                    <a:pt x="0" y="41910"/>
                  </a:lnTo>
                  <a:lnTo>
                    <a:pt x="10160" y="91440"/>
                  </a:lnTo>
                  <a:lnTo>
                    <a:pt x="34925" y="86360"/>
                  </a:lnTo>
                  <a:lnTo>
                    <a:pt x="187325" y="55245"/>
                  </a:lnTo>
                  <a:lnTo>
                    <a:pt x="212090" y="50165"/>
                  </a:lnTo>
                  <a:lnTo>
                    <a:pt x="20193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729" name="Google Shape;2729;p66"/>
            <p:cNvSpPr/>
            <p:nvPr/>
          </p:nvSpPr>
          <p:spPr>
            <a:xfrm>
              <a:off x="9398634" y="2175510"/>
              <a:ext cx="212090" cy="91439"/>
            </a:xfrm>
            <a:custGeom>
              <a:avLst/>
              <a:gdLst/>
              <a:ahLst/>
              <a:cxnLst/>
              <a:rect l="l" t="t" r="r" b="b"/>
              <a:pathLst>
                <a:path w="212090" h="91439" extrusionOk="0">
                  <a:moveTo>
                    <a:pt x="0" y="41910"/>
                  </a:moveTo>
                  <a:lnTo>
                    <a:pt x="10160" y="91440"/>
                  </a:lnTo>
                  <a:lnTo>
                    <a:pt x="34925" y="86360"/>
                  </a:lnTo>
                  <a:lnTo>
                    <a:pt x="187325" y="55245"/>
                  </a:lnTo>
                  <a:lnTo>
                    <a:pt x="212090" y="50165"/>
                  </a:lnTo>
                  <a:lnTo>
                    <a:pt x="201930" y="0"/>
                  </a:lnTo>
                  <a:lnTo>
                    <a:pt x="177165" y="5080"/>
                  </a:lnTo>
                  <a:lnTo>
                    <a:pt x="24765" y="3683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730" name="Google Shape;2730;p66"/>
            <p:cNvSpPr/>
            <p:nvPr/>
          </p:nvSpPr>
          <p:spPr>
            <a:xfrm>
              <a:off x="10033634" y="2537460"/>
              <a:ext cx="212090" cy="91439"/>
            </a:xfrm>
            <a:custGeom>
              <a:avLst/>
              <a:gdLst/>
              <a:ahLst/>
              <a:cxnLst/>
              <a:rect l="l" t="t" r="r" b="b"/>
              <a:pathLst>
                <a:path w="212090" h="91439" extrusionOk="0">
                  <a:moveTo>
                    <a:pt x="0" y="41910"/>
                  </a:moveTo>
                  <a:lnTo>
                    <a:pt x="10160" y="91440"/>
                  </a:lnTo>
                  <a:lnTo>
                    <a:pt x="34925" y="86360"/>
                  </a:lnTo>
                  <a:lnTo>
                    <a:pt x="187325" y="55245"/>
                  </a:lnTo>
                  <a:lnTo>
                    <a:pt x="212090" y="50165"/>
                  </a:lnTo>
                  <a:lnTo>
                    <a:pt x="201930" y="0"/>
                  </a:lnTo>
                  <a:lnTo>
                    <a:pt x="177165" y="5080"/>
                  </a:lnTo>
                  <a:lnTo>
                    <a:pt x="24765" y="3683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731" name="Google Shape;2731;p66"/>
            <p:cNvSpPr/>
            <p:nvPr/>
          </p:nvSpPr>
          <p:spPr>
            <a:xfrm>
              <a:off x="10668634" y="2899410"/>
              <a:ext cx="212090" cy="91439"/>
            </a:xfrm>
            <a:custGeom>
              <a:avLst/>
              <a:gdLst/>
              <a:ahLst/>
              <a:cxnLst/>
              <a:rect l="l" t="t" r="r" b="b"/>
              <a:pathLst>
                <a:path w="212090" h="91439" extrusionOk="0">
                  <a:moveTo>
                    <a:pt x="0" y="41910"/>
                  </a:moveTo>
                  <a:lnTo>
                    <a:pt x="10160" y="91440"/>
                  </a:lnTo>
                  <a:lnTo>
                    <a:pt x="34925" y="86360"/>
                  </a:lnTo>
                  <a:lnTo>
                    <a:pt x="187325" y="55245"/>
                  </a:lnTo>
                  <a:lnTo>
                    <a:pt x="212090" y="50165"/>
                  </a:lnTo>
                  <a:lnTo>
                    <a:pt x="201930" y="0"/>
                  </a:lnTo>
                  <a:lnTo>
                    <a:pt x="177165" y="5080"/>
                  </a:lnTo>
                  <a:lnTo>
                    <a:pt x="24765" y="3683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732" name="Google Shape;2732;p66"/>
            <p:cNvSpPr/>
            <p:nvPr/>
          </p:nvSpPr>
          <p:spPr>
            <a:xfrm>
              <a:off x="11303634" y="3261359"/>
              <a:ext cx="212090" cy="91440"/>
            </a:xfrm>
            <a:custGeom>
              <a:avLst/>
              <a:gdLst/>
              <a:ahLst/>
              <a:cxnLst/>
              <a:rect l="l" t="t" r="r" b="b"/>
              <a:pathLst>
                <a:path w="212090" h="91440" extrusionOk="0">
                  <a:moveTo>
                    <a:pt x="34925" y="86360"/>
                  </a:moveTo>
                  <a:lnTo>
                    <a:pt x="187325" y="55245"/>
                  </a:lnTo>
                  <a:lnTo>
                    <a:pt x="212090" y="50165"/>
                  </a:lnTo>
                  <a:lnTo>
                    <a:pt x="201930" y="0"/>
                  </a:lnTo>
                  <a:lnTo>
                    <a:pt x="177165" y="5080"/>
                  </a:lnTo>
                  <a:lnTo>
                    <a:pt x="24765" y="36830"/>
                  </a:lnTo>
                  <a:lnTo>
                    <a:pt x="0" y="41910"/>
                  </a:lnTo>
                  <a:lnTo>
                    <a:pt x="10160" y="914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733" name="Google Shape;2733;p66"/>
            <p:cNvSpPr/>
            <p:nvPr/>
          </p:nvSpPr>
          <p:spPr>
            <a:xfrm>
              <a:off x="11938634" y="3623309"/>
              <a:ext cx="212090" cy="91440"/>
            </a:xfrm>
            <a:custGeom>
              <a:avLst/>
              <a:gdLst/>
              <a:ahLst/>
              <a:cxnLst/>
              <a:rect l="l" t="t" r="r" b="b"/>
              <a:pathLst>
                <a:path w="212090" h="91440" extrusionOk="0">
                  <a:moveTo>
                    <a:pt x="177165" y="5080"/>
                  </a:moveTo>
                  <a:lnTo>
                    <a:pt x="24765" y="36830"/>
                  </a:lnTo>
                  <a:lnTo>
                    <a:pt x="0" y="41910"/>
                  </a:lnTo>
                  <a:lnTo>
                    <a:pt x="10160" y="91440"/>
                  </a:lnTo>
                  <a:lnTo>
                    <a:pt x="34925" y="86360"/>
                  </a:lnTo>
                  <a:lnTo>
                    <a:pt x="187325" y="55245"/>
                  </a:lnTo>
                  <a:lnTo>
                    <a:pt x="212090" y="50165"/>
                  </a:lnTo>
                  <a:lnTo>
                    <a:pt x="20193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734" name="Google Shape;2734;p66"/>
            <p:cNvSpPr/>
            <p:nvPr/>
          </p:nvSpPr>
          <p:spPr>
            <a:xfrm>
              <a:off x="6287134" y="0"/>
              <a:ext cx="218440" cy="113664"/>
            </a:xfrm>
            <a:custGeom>
              <a:avLst/>
              <a:gdLst/>
              <a:ahLst/>
              <a:cxnLst/>
              <a:rect l="l" t="t" r="r" b="b"/>
              <a:pathLst>
                <a:path w="218440" h="113664" extrusionOk="0">
                  <a:moveTo>
                    <a:pt x="42545" y="104140"/>
                  </a:moveTo>
                  <a:lnTo>
                    <a:pt x="194945" y="42545"/>
                  </a:lnTo>
                  <a:lnTo>
                    <a:pt x="218440" y="33020"/>
                  </a:lnTo>
                  <a:lnTo>
                    <a:pt x="205740" y="0"/>
                  </a:lnTo>
                  <a:lnTo>
                    <a:pt x="164465" y="0"/>
                  </a:lnTo>
                  <a:lnTo>
                    <a:pt x="23495" y="57150"/>
                  </a:lnTo>
                  <a:lnTo>
                    <a:pt x="0" y="66675"/>
                  </a:lnTo>
                  <a:lnTo>
                    <a:pt x="19050" y="11366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735" name="Google Shape;2735;p66"/>
            <p:cNvSpPr/>
            <p:nvPr/>
          </p:nvSpPr>
          <p:spPr>
            <a:xfrm>
              <a:off x="6922134" y="347979"/>
              <a:ext cx="218440" cy="127635"/>
            </a:xfrm>
            <a:custGeom>
              <a:avLst/>
              <a:gdLst/>
              <a:ahLst/>
              <a:cxnLst/>
              <a:rect l="l" t="t" r="r" b="b"/>
              <a:pathLst>
                <a:path w="218440" h="127635" extrusionOk="0">
                  <a:moveTo>
                    <a:pt x="42545" y="118110"/>
                  </a:moveTo>
                  <a:lnTo>
                    <a:pt x="194945" y="56515"/>
                  </a:lnTo>
                  <a:lnTo>
                    <a:pt x="218440" y="46990"/>
                  </a:lnTo>
                  <a:lnTo>
                    <a:pt x="199390" y="0"/>
                  </a:lnTo>
                  <a:lnTo>
                    <a:pt x="175895" y="9525"/>
                  </a:lnTo>
                  <a:lnTo>
                    <a:pt x="23495" y="71120"/>
                  </a:lnTo>
                  <a:lnTo>
                    <a:pt x="0" y="80645"/>
                  </a:lnTo>
                  <a:lnTo>
                    <a:pt x="19050" y="12763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736" name="Google Shape;2736;p66"/>
            <p:cNvSpPr/>
            <p:nvPr/>
          </p:nvSpPr>
          <p:spPr>
            <a:xfrm>
              <a:off x="7557134" y="709930"/>
              <a:ext cx="218440" cy="127634"/>
            </a:xfrm>
            <a:custGeom>
              <a:avLst/>
              <a:gdLst/>
              <a:ahLst/>
              <a:cxnLst/>
              <a:rect l="l" t="t" r="r" b="b"/>
              <a:pathLst>
                <a:path w="218440" h="127634" extrusionOk="0">
                  <a:moveTo>
                    <a:pt x="42545" y="118110"/>
                  </a:moveTo>
                  <a:lnTo>
                    <a:pt x="194945" y="56515"/>
                  </a:lnTo>
                  <a:lnTo>
                    <a:pt x="218440" y="46990"/>
                  </a:lnTo>
                  <a:lnTo>
                    <a:pt x="199390" y="0"/>
                  </a:lnTo>
                  <a:lnTo>
                    <a:pt x="175895" y="9525"/>
                  </a:lnTo>
                  <a:lnTo>
                    <a:pt x="23495" y="71120"/>
                  </a:lnTo>
                  <a:lnTo>
                    <a:pt x="0" y="80645"/>
                  </a:lnTo>
                  <a:lnTo>
                    <a:pt x="19050" y="12763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737" name="Google Shape;2737;p66"/>
            <p:cNvSpPr/>
            <p:nvPr/>
          </p:nvSpPr>
          <p:spPr>
            <a:xfrm>
              <a:off x="8192134" y="1071880"/>
              <a:ext cx="218440" cy="127634"/>
            </a:xfrm>
            <a:custGeom>
              <a:avLst/>
              <a:gdLst/>
              <a:ahLst/>
              <a:cxnLst/>
              <a:rect l="l" t="t" r="r" b="b"/>
              <a:pathLst>
                <a:path w="218440" h="127634" extrusionOk="0">
                  <a:moveTo>
                    <a:pt x="42545" y="118110"/>
                  </a:moveTo>
                  <a:lnTo>
                    <a:pt x="194945" y="56515"/>
                  </a:lnTo>
                  <a:lnTo>
                    <a:pt x="218440" y="46990"/>
                  </a:lnTo>
                  <a:lnTo>
                    <a:pt x="199390" y="0"/>
                  </a:lnTo>
                  <a:lnTo>
                    <a:pt x="175895" y="9525"/>
                  </a:lnTo>
                  <a:lnTo>
                    <a:pt x="23495" y="71120"/>
                  </a:lnTo>
                  <a:lnTo>
                    <a:pt x="0" y="80645"/>
                  </a:lnTo>
                  <a:lnTo>
                    <a:pt x="19050" y="12763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738" name="Google Shape;2738;p66"/>
            <p:cNvSpPr/>
            <p:nvPr/>
          </p:nvSpPr>
          <p:spPr>
            <a:xfrm>
              <a:off x="8827134" y="1433830"/>
              <a:ext cx="218440" cy="127634"/>
            </a:xfrm>
            <a:custGeom>
              <a:avLst/>
              <a:gdLst/>
              <a:ahLst/>
              <a:cxnLst/>
              <a:rect l="l" t="t" r="r" b="b"/>
              <a:pathLst>
                <a:path w="218440" h="127634" extrusionOk="0">
                  <a:moveTo>
                    <a:pt x="19050" y="127635"/>
                  </a:moveTo>
                  <a:lnTo>
                    <a:pt x="42545" y="118110"/>
                  </a:lnTo>
                  <a:lnTo>
                    <a:pt x="194945" y="56515"/>
                  </a:lnTo>
                  <a:lnTo>
                    <a:pt x="218440" y="46990"/>
                  </a:lnTo>
                  <a:lnTo>
                    <a:pt x="199390" y="0"/>
                  </a:lnTo>
                  <a:lnTo>
                    <a:pt x="175895" y="9525"/>
                  </a:lnTo>
                  <a:lnTo>
                    <a:pt x="23495" y="71120"/>
                  </a:lnTo>
                  <a:lnTo>
                    <a:pt x="0" y="8064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739" name="Google Shape;2739;p66"/>
            <p:cNvSpPr/>
            <p:nvPr/>
          </p:nvSpPr>
          <p:spPr>
            <a:xfrm>
              <a:off x="9462134" y="1795779"/>
              <a:ext cx="218440" cy="127635"/>
            </a:xfrm>
            <a:custGeom>
              <a:avLst/>
              <a:gdLst/>
              <a:ahLst/>
              <a:cxnLst/>
              <a:rect l="l" t="t" r="r" b="b"/>
              <a:pathLst>
                <a:path w="218440" h="127635" extrusionOk="0">
                  <a:moveTo>
                    <a:pt x="0" y="80645"/>
                  </a:moveTo>
                  <a:lnTo>
                    <a:pt x="19050" y="127635"/>
                  </a:lnTo>
                  <a:lnTo>
                    <a:pt x="42545" y="118110"/>
                  </a:lnTo>
                  <a:lnTo>
                    <a:pt x="194945" y="56515"/>
                  </a:lnTo>
                  <a:lnTo>
                    <a:pt x="218440" y="46990"/>
                  </a:lnTo>
                  <a:lnTo>
                    <a:pt x="199390" y="0"/>
                  </a:lnTo>
                  <a:lnTo>
                    <a:pt x="175895" y="9525"/>
                  </a:lnTo>
                  <a:lnTo>
                    <a:pt x="23495" y="7112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740" name="Google Shape;2740;p66"/>
            <p:cNvSpPr/>
            <p:nvPr/>
          </p:nvSpPr>
          <p:spPr>
            <a:xfrm>
              <a:off x="10097134" y="2157729"/>
              <a:ext cx="218440" cy="127635"/>
            </a:xfrm>
            <a:custGeom>
              <a:avLst/>
              <a:gdLst/>
              <a:ahLst/>
              <a:cxnLst/>
              <a:rect l="l" t="t" r="r" b="b"/>
              <a:pathLst>
                <a:path w="218440" h="127635" extrusionOk="0">
                  <a:moveTo>
                    <a:pt x="0" y="80645"/>
                  </a:moveTo>
                  <a:lnTo>
                    <a:pt x="19050" y="127635"/>
                  </a:lnTo>
                  <a:lnTo>
                    <a:pt x="42545" y="118110"/>
                  </a:lnTo>
                  <a:lnTo>
                    <a:pt x="194945" y="56515"/>
                  </a:lnTo>
                  <a:lnTo>
                    <a:pt x="218440" y="46990"/>
                  </a:lnTo>
                  <a:lnTo>
                    <a:pt x="199390" y="0"/>
                  </a:lnTo>
                  <a:lnTo>
                    <a:pt x="175895" y="9525"/>
                  </a:lnTo>
                  <a:lnTo>
                    <a:pt x="23495" y="7112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741" name="Google Shape;2741;p66"/>
            <p:cNvSpPr/>
            <p:nvPr/>
          </p:nvSpPr>
          <p:spPr>
            <a:xfrm>
              <a:off x="10732134" y="2519679"/>
              <a:ext cx="218440" cy="127635"/>
            </a:xfrm>
            <a:custGeom>
              <a:avLst/>
              <a:gdLst/>
              <a:ahLst/>
              <a:cxnLst/>
              <a:rect l="l" t="t" r="r" b="b"/>
              <a:pathLst>
                <a:path w="218440" h="127635" extrusionOk="0">
                  <a:moveTo>
                    <a:pt x="0" y="80645"/>
                  </a:moveTo>
                  <a:lnTo>
                    <a:pt x="19050" y="127635"/>
                  </a:lnTo>
                  <a:lnTo>
                    <a:pt x="42545" y="118110"/>
                  </a:lnTo>
                  <a:lnTo>
                    <a:pt x="194945" y="56515"/>
                  </a:lnTo>
                  <a:lnTo>
                    <a:pt x="218440" y="46990"/>
                  </a:lnTo>
                  <a:lnTo>
                    <a:pt x="199390" y="0"/>
                  </a:lnTo>
                  <a:lnTo>
                    <a:pt x="175895" y="9525"/>
                  </a:lnTo>
                  <a:lnTo>
                    <a:pt x="23495" y="7112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742" name="Google Shape;2742;p66"/>
            <p:cNvSpPr/>
            <p:nvPr/>
          </p:nvSpPr>
          <p:spPr>
            <a:xfrm>
              <a:off x="11367134" y="2881629"/>
              <a:ext cx="218440" cy="127635"/>
            </a:xfrm>
            <a:custGeom>
              <a:avLst/>
              <a:gdLst/>
              <a:ahLst/>
              <a:cxnLst/>
              <a:rect l="l" t="t" r="r" b="b"/>
              <a:pathLst>
                <a:path w="218440" h="127635" extrusionOk="0">
                  <a:moveTo>
                    <a:pt x="0" y="80645"/>
                  </a:moveTo>
                  <a:lnTo>
                    <a:pt x="19050" y="127635"/>
                  </a:lnTo>
                  <a:lnTo>
                    <a:pt x="42545" y="118110"/>
                  </a:lnTo>
                  <a:lnTo>
                    <a:pt x="194945" y="56515"/>
                  </a:lnTo>
                  <a:lnTo>
                    <a:pt x="218440" y="46990"/>
                  </a:lnTo>
                  <a:lnTo>
                    <a:pt x="199390" y="0"/>
                  </a:lnTo>
                  <a:lnTo>
                    <a:pt x="175895" y="9525"/>
                  </a:lnTo>
                  <a:lnTo>
                    <a:pt x="23495" y="7112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743" name="Google Shape;2743;p66"/>
            <p:cNvSpPr/>
            <p:nvPr/>
          </p:nvSpPr>
          <p:spPr>
            <a:xfrm>
              <a:off x="12002134" y="3247389"/>
              <a:ext cx="189865" cy="123825"/>
            </a:xfrm>
            <a:custGeom>
              <a:avLst/>
              <a:gdLst/>
              <a:ahLst/>
              <a:cxnLst/>
              <a:rect l="l" t="t" r="r" b="b"/>
              <a:pathLst>
                <a:path w="189865" h="123825" extrusionOk="0">
                  <a:moveTo>
                    <a:pt x="23495" y="67310"/>
                  </a:moveTo>
                  <a:lnTo>
                    <a:pt x="0" y="76835"/>
                  </a:lnTo>
                  <a:lnTo>
                    <a:pt x="19050" y="123825"/>
                  </a:lnTo>
                  <a:lnTo>
                    <a:pt x="42545" y="114300"/>
                  </a:lnTo>
                  <a:lnTo>
                    <a:pt x="189865" y="54610"/>
                  </a:lnTo>
                  <a:lnTo>
                    <a:pt x="189865" y="0"/>
                  </a:lnTo>
                  <a:lnTo>
                    <a:pt x="175895" y="57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744" name="Google Shape;2744;p66"/>
            <p:cNvSpPr/>
            <p:nvPr/>
          </p:nvSpPr>
          <p:spPr>
            <a:xfrm>
              <a:off x="7029450" y="0"/>
              <a:ext cx="222250" cy="128904"/>
            </a:xfrm>
            <a:custGeom>
              <a:avLst/>
              <a:gdLst/>
              <a:ahLst/>
              <a:cxnLst/>
              <a:rect l="l" t="t" r="r" b="b"/>
              <a:pathLst>
                <a:path w="222250" h="128904" extrusionOk="0">
                  <a:moveTo>
                    <a:pt x="47625" y="116205"/>
                  </a:moveTo>
                  <a:lnTo>
                    <a:pt x="200025" y="26670"/>
                  </a:lnTo>
                  <a:lnTo>
                    <a:pt x="222250" y="13970"/>
                  </a:lnTo>
                  <a:lnTo>
                    <a:pt x="213995" y="0"/>
                  </a:lnTo>
                  <a:lnTo>
                    <a:pt x="145415" y="0"/>
                  </a:lnTo>
                  <a:lnTo>
                    <a:pt x="22225" y="72390"/>
                  </a:lnTo>
                  <a:lnTo>
                    <a:pt x="0" y="85090"/>
                  </a:lnTo>
                  <a:lnTo>
                    <a:pt x="26035" y="12890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745" name="Google Shape;2745;p66"/>
            <p:cNvSpPr/>
            <p:nvPr/>
          </p:nvSpPr>
          <p:spPr>
            <a:xfrm>
              <a:off x="7664450" y="332104"/>
              <a:ext cx="222250" cy="158750"/>
            </a:xfrm>
            <a:custGeom>
              <a:avLst/>
              <a:gdLst/>
              <a:ahLst/>
              <a:cxnLst/>
              <a:rect l="l" t="t" r="r" b="b"/>
              <a:pathLst>
                <a:path w="222250" h="158750" extrusionOk="0">
                  <a:moveTo>
                    <a:pt x="47625" y="146050"/>
                  </a:moveTo>
                  <a:lnTo>
                    <a:pt x="200025" y="56515"/>
                  </a:lnTo>
                  <a:lnTo>
                    <a:pt x="222250" y="43815"/>
                  </a:lnTo>
                  <a:lnTo>
                    <a:pt x="196215" y="0"/>
                  </a:lnTo>
                  <a:lnTo>
                    <a:pt x="174625" y="12700"/>
                  </a:lnTo>
                  <a:lnTo>
                    <a:pt x="22225" y="102235"/>
                  </a:lnTo>
                  <a:lnTo>
                    <a:pt x="0" y="114935"/>
                  </a:lnTo>
                  <a:lnTo>
                    <a:pt x="26035" y="15875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746" name="Google Shape;2746;p66"/>
            <p:cNvSpPr/>
            <p:nvPr/>
          </p:nvSpPr>
          <p:spPr>
            <a:xfrm>
              <a:off x="8299450" y="694055"/>
              <a:ext cx="222250" cy="158750"/>
            </a:xfrm>
            <a:custGeom>
              <a:avLst/>
              <a:gdLst/>
              <a:ahLst/>
              <a:cxnLst/>
              <a:rect l="l" t="t" r="r" b="b"/>
              <a:pathLst>
                <a:path w="222250" h="158750" extrusionOk="0">
                  <a:moveTo>
                    <a:pt x="47625" y="146050"/>
                  </a:moveTo>
                  <a:lnTo>
                    <a:pt x="200025" y="56515"/>
                  </a:lnTo>
                  <a:lnTo>
                    <a:pt x="222250" y="43815"/>
                  </a:lnTo>
                  <a:lnTo>
                    <a:pt x="196215" y="0"/>
                  </a:lnTo>
                  <a:lnTo>
                    <a:pt x="174625" y="12700"/>
                  </a:lnTo>
                  <a:lnTo>
                    <a:pt x="22225" y="102235"/>
                  </a:lnTo>
                  <a:lnTo>
                    <a:pt x="0" y="114935"/>
                  </a:lnTo>
                  <a:lnTo>
                    <a:pt x="26035" y="15875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747" name="Google Shape;2747;p66"/>
            <p:cNvSpPr/>
            <p:nvPr/>
          </p:nvSpPr>
          <p:spPr>
            <a:xfrm>
              <a:off x="8934450" y="1056005"/>
              <a:ext cx="222250" cy="158750"/>
            </a:xfrm>
            <a:custGeom>
              <a:avLst/>
              <a:gdLst/>
              <a:ahLst/>
              <a:cxnLst/>
              <a:rect l="l" t="t" r="r" b="b"/>
              <a:pathLst>
                <a:path w="222250" h="158750" extrusionOk="0">
                  <a:moveTo>
                    <a:pt x="47625" y="146050"/>
                  </a:moveTo>
                  <a:lnTo>
                    <a:pt x="200025" y="56515"/>
                  </a:lnTo>
                  <a:lnTo>
                    <a:pt x="222250" y="43815"/>
                  </a:lnTo>
                  <a:lnTo>
                    <a:pt x="196215" y="0"/>
                  </a:lnTo>
                  <a:lnTo>
                    <a:pt x="174625" y="12700"/>
                  </a:lnTo>
                  <a:lnTo>
                    <a:pt x="22225" y="102235"/>
                  </a:lnTo>
                  <a:lnTo>
                    <a:pt x="0" y="114935"/>
                  </a:lnTo>
                  <a:lnTo>
                    <a:pt x="26035" y="15875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748" name="Google Shape;2748;p66"/>
            <p:cNvSpPr/>
            <p:nvPr/>
          </p:nvSpPr>
          <p:spPr>
            <a:xfrm>
              <a:off x="9569450" y="1417955"/>
              <a:ext cx="222250" cy="158750"/>
            </a:xfrm>
            <a:custGeom>
              <a:avLst/>
              <a:gdLst/>
              <a:ahLst/>
              <a:cxnLst/>
              <a:rect l="l" t="t" r="r" b="b"/>
              <a:pathLst>
                <a:path w="222250" h="158750" extrusionOk="0">
                  <a:moveTo>
                    <a:pt x="174625" y="12700"/>
                  </a:moveTo>
                  <a:lnTo>
                    <a:pt x="22225" y="102235"/>
                  </a:lnTo>
                  <a:lnTo>
                    <a:pt x="0" y="114935"/>
                  </a:lnTo>
                  <a:lnTo>
                    <a:pt x="26035" y="158750"/>
                  </a:lnTo>
                  <a:lnTo>
                    <a:pt x="47625" y="146050"/>
                  </a:lnTo>
                  <a:lnTo>
                    <a:pt x="200025" y="56515"/>
                  </a:lnTo>
                  <a:lnTo>
                    <a:pt x="222250" y="43815"/>
                  </a:lnTo>
                  <a:lnTo>
                    <a:pt x="19621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749" name="Google Shape;2749;p66"/>
            <p:cNvSpPr/>
            <p:nvPr/>
          </p:nvSpPr>
          <p:spPr>
            <a:xfrm>
              <a:off x="10204450" y="1779904"/>
              <a:ext cx="222250" cy="158750"/>
            </a:xfrm>
            <a:custGeom>
              <a:avLst/>
              <a:gdLst/>
              <a:ahLst/>
              <a:cxnLst/>
              <a:rect l="l" t="t" r="r" b="b"/>
              <a:pathLst>
                <a:path w="222250" h="158750" extrusionOk="0">
                  <a:moveTo>
                    <a:pt x="174625" y="12700"/>
                  </a:moveTo>
                  <a:lnTo>
                    <a:pt x="22225" y="102235"/>
                  </a:lnTo>
                  <a:lnTo>
                    <a:pt x="0" y="114935"/>
                  </a:lnTo>
                  <a:lnTo>
                    <a:pt x="26035" y="158750"/>
                  </a:lnTo>
                  <a:lnTo>
                    <a:pt x="47625" y="146050"/>
                  </a:lnTo>
                  <a:lnTo>
                    <a:pt x="200025" y="56515"/>
                  </a:lnTo>
                  <a:lnTo>
                    <a:pt x="222250" y="43815"/>
                  </a:lnTo>
                  <a:lnTo>
                    <a:pt x="19621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750" name="Google Shape;2750;p66"/>
            <p:cNvSpPr/>
            <p:nvPr/>
          </p:nvSpPr>
          <p:spPr>
            <a:xfrm>
              <a:off x="10839450" y="2141854"/>
              <a:ext cx="222250" cy="158750"/>
            </a:xfrm>
            <a:custGeom>
              <a:avLst/>
              <a:gdLst/>
              <a:ahLst/>
              <a:cxnLst/>
              <a:rect l="l" t="t" r="r" b="b"/>
              <a:pathLst>
                <a:path w="222250" h="158750" extrusionOk="0">
                  <a:moveTo>
                    <a:pt x="0" y="114935"/>
                  </a:moveTo>
                  <a:lnTo>
                    <a:pt x="26035" y="158750"/>
                  </a:lnTo>
                  <a:lnTo>
                    <a:pt x="47625" y="146050"/>
                  </a:lnTo>
                  <a:lnTo>
                    <a:pt x="200025" y="56515"/>
                  </a:lnTo>
                  <a:lnTo>
                    <a:pt x="222250" y="43815"/>
                  </a:lnTo>
                  <a:lnTo>
                    <a:pt x="196215" y="0"/>
                  </a:lnTo>
                  <a:lnTo>
                    <a:pt x="174625" y="12700"/>
                  </a:lnTo>
                  <a:lnTo>
                    <a:pt x="22225" y="10223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751" name="Google Shape;2751;p66"/>
            <p:cNvSpPr/>
            <p:nvPr/>
          </p:nvSpPr>
          <p:spPr>
            <a:xfrm>
              <a:off x="11474450" y="2503804"/>
              <a:ext cx="222250" cy="158750"/>
            </a:xfrm>
            <a:custGeom>
              <a:avLst/>
              <a:gdLst/>
              <a:ahLst/>
              <a:cxnLst/>
              <a:rect l="l" t="t" r="r" b="b"/>
              <a:pathLst>
                <a:path w="222250" h="158750" extrusionOk="0">
                  <a:moveTo>
                    <a:pt x="0" y="114935"/>
                  </a:moveTo>
                  <a:lnTo>
                    <a:pt x="26035" y="158750"/>
                  </a:lnTo>
                  <a:lnTo>
                    <a:pt x="47625" y="146050"/>
                  </a:lnTo>
                  <a:lnTo>
                    <a:pt x="200025" y="56515"/>
                  </a:lnTo>
                  <a:lnTo>
                    <a:pt x="222250" y="43815"/>
                  </a:lnTo>
                  <a:lnTo>
                    <a:pt x="196215" y="0"/>
                  </a:lnTo>
                  <a:lnTo>
                    <a:pt x="174625" y="12700"/>
                  </a:lnTo>
                  <a:lnTo>
                    <a:pt x="22225" y="10223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752" name="Google Shape;2752;p66"/>
            <p:cNvSpPr/>
            <p:nvPr/>
          </p:nvSpPr>
          <p:spPr>
            <a:xfrm>
              <a:off x="12109450" y="2932429"/>
              <a:ext cx="82550" cy="92075"/>
            </a:xfrm>
            <a:custGeom>
              <a:avLst/>
              <a:gdLst/>
              <a:ahLst/>
              <a:cxnLst/>
              <a:rect l="l" t="t" r="r" b="b"/>
              <a:pathLst>
                <a:path w="82550" h="92075" extrusionOk="0">
                  <a:moveTo>
                    <a:pt x="0" y="48260"/>
                  </a:moveTo>
                  <a:lnTo>
                    <a:pt x="26035" y="92075"/>
                  </a:lnTo>
                  <a:lnTo>
                    <a:pt x="47625" y="79375"/>
                  </a:lnTo>
                  <a:lnTo>
                    <a:pt x="82550" y="59055"/>
                  </a:lnTo>
                  <a:lnTo>
                    <a:pt x="82550" y="0"/>
                  </a:lnTo>
                  <a:lnTo>
                    <a:pt x="22225" y="3556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753" name="Google Shape;2753;p66"/>
            <p:cNvSpPr/>
            <p:nvPr/>
          </p:nvSpPr>
          <p:spPr>
            <a:xfrm>
              <a:off x="7810500" y="0"/>
              <a:ext cx="220980" cy="142239"/>
            </a:xfrm>
            <a:custGeom>
              <a:avLst/>
              <a:gdLst/>
              <a:ahLst/>
              <a:cxnLst/>
              <a:rect l="l" t="t" r="r" b="b"/>
              <a:pathLst>
                <a:path w="220980" h="142239" extrusionOk="0">
                  <a:moveTo>
                    <a:pt x="50800" y="127000"/>
                  </a:moveTo>
                  <a:lnTo>
                    <a:pt x="203200" y="13335"/>
                  </a:lnTo>
                  <a:lnTo>
                    <a:pt x="220980" y="0"/>
                  </a:lnTo>
                  <a:lnTo>
                    <a:pt x="135890" y="0"/>
                  </a:lnTo>
                  <a:lnTo>
                    <a:pt x="20320" y="86360"/>
                  </a:lnTo>
                  <a:lnTo>
                    <a:pt x="0" y="100965"/>
                  </a:lnTo>
                  <a:lnTo>
                    <a:pt x="30480" y="1422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754" name="Google Shape;2754;p66"/>
            <p:cNvSpPr/>
            <p:nvPr/>
          </p:nvSpPr>
          <p:spPr>
            <a:xfrm>
              <a:off x="8445500" y="319404"/>
              <a:ext cx="223519" cy="184785"/>
            </a:xfrm>
            <a:custGeom>
              <a:avLst/>
              <a:gdLst/>
              <a:ahLst/>
              <a:cxnLst/>
              <a:rect l="l" t="t" r="r" b="b"/>
              <a:pathLst>
                <a:path w="223519" h="184785" extrusionOk="0">
                  <a:moveTo>
                    <a:pt x="50800" y="169545"/>
                  </a:moveTo>
                  <a:lnTo>
                    <a:pt x="203200" y="55880"/>
                  </a:lnTo>
                  <a:lnTo>
                    <a:pt x="223520" y="40640"/>
                  </a:lnTo>
                  <a:lnTo>
                    <a:pt x="193040" y="0"/>
                  </a:lnTo>
                  <a:lnTo>
                    <a:pt x="172720" y="15240"/>
                  </a:lnTo>
                  <a:lnTo>
                    <a:pt x="20320" y="128905"/>
                  </a:lnTo>
                  <a:lnTo>
                    <a:pt x="0" y="143510"/>
                  </a:lnTo>
                  <a:lnTo>
                    <a:pt x="30480" y="18478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755" name="Google Shape;2755;p66"/>
            <p:cNvSpPr/>
            <p:nvPr/>
          </p:nvSpPr>
          <p:spPr>
            <a:xfrm>
              <a:off x="9080500" y="681355"/>
              <a:ext cx="223519" cy="184784"/>
            </a:xfrm>
            <a:custGeom>
              <a:avLst/>
              <a:gdLst/>
              <a:ahLst/>
              <a:cxnLst/>
              <a:rect l="l" t="t" r="r" b="b"/>
              <a:pathLst>
                <a:path w="223519" h="184784" extrusionOk="0">
                  <a:moveTo>
                    <a:pt x="50800" y="169545"/>
                  </a:moveTo>
                  <a:lnTo>
                    <a:pt x="203200" y="55880"/>
                  </a:lnTo>
                  <a:lnTo>
                    <a:pt x="223520" y="40640"/>
                  </a:lnTo>
                  <a:lnTo>
                    <a:pt x="193040" y="0"/>
                  </a:lnTo>
                  <a:lnTo>
                    <a:pt x="172720" y="15240"/>
                  </a:lnTo>
                  <a:lnTo>
                    <a:pt x="20320" y="128905"/>
                  </a:lnTo>
                  <a:lnTo>
                    <a:pt x="0" y="143510"/>
                  </a:lnTo>
                  <a:lnTo>
                    <a:pt x="30480" y="18478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756" name="Google Shape;2756;p66"/>
            <p:cNvSpPr/>
            <p:nvPr/>
          </p:nvSpPr>
          <p:spPr>
            <a:xfrm>
              <a:off x="9715500" y="1043305"/>
              <a:ext cx="223519" cy="184784"/>
            </a:xfrm>
            <a:custGeom>
              <a:avLst/>
              <a:gdLst/>
              <a:ahLst/>
              <a:cxnLst/>
              <a:rect l="l" t="t" r="r" b="b"/>
              <a:pathLst>
                <a:path w="223519" h="184784" extrusionOk="0">
                  <a:moveTo>
                    <a:pt x="50800" y="169545"/>
                  </a:moveTo>
                  <a:lnTo>
                    <a:pt x="203200" y="55880"/>
                  </a:lnTo>
                  <a:lnTo>
                    <a:pt x="223520" y="40640"/>
                  </a:lnTo>
                  <a:lnTo>
                    <a:pt x="193040" y="0"/>
                  </a:lnTo>
                  <a:lnTo>
                    <a:pt x="172720" y="15240"/>
                  </a:lnTo>
                  <a:lnTo>
                    <a:pt x="20320" y="128905"/>
                  </a:lnTo>
                  <a:lnTo>
                    <a:pt x="0" y="143510"/>
                  </a:lnTo>
                  <a:lnTo>
                    <a:pt x="30480" y="18478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757" name="Google Shape;2757;p66"/>
            <p:cNvSpPr/>
            <p:nvPr/>
          </p:nvSpPr>
          <p:spPr>
            <a:xfrm>
              <a:off x="10350500" y="1405255"/>
              <a:ext cx="223519" cy="184784"/>
            </a:xfrm>
            <a:custGeom>
              <a:avLst/>
              <a:gdLst/>
              <a:ahLst/>
              <a:cxnLst/>
              <a:rect l="l" t="t" r="r" b="b"/>
              <a:pathLst>
                <a:path w="223519" h="184784" extrusionOk="0">
                  <a:moveTo>
                    <a:pt x="0" y="143510"/>
                  </a:moveTo>
                  <a:lnTo>
                    <a:pt x="30480" y="184785"/>
                  </a:lnTo>
                  <a:lnTo>
                    <a:pt x="50800" y="169545"/>
                  </a:lnTo>
                  <a:lnTo>
                    <a:pt x="203200" y="55880"/>
                  </a:lnTo>
                  <a:lnTo>
                    <a:pt x="223520" y="40640"/>
                  </a:lnTo>
                  <a:lnTo>
                    <a:pt x="193040" y="0"/>
                  </a:lnTo>
                  <a:lnTo>
                    <a:pt x="172720" y="15240"/>
                  </a:lnTo>
                  <a:lnTo>
                    <a:pt x="20320" y="12890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758" name="Google Shape;2758;p66"/>
            <p:cNvSpPr/>
            <p:nvPr/>
          </p:nvSpPr>
          <p:spPr>
            <a:xfrm>
              <a:off x="10985500" y="1767204"/>
              <a:ext cx="223519" cy="184785"/>
            </a:xfrm>
            <a:custGeom>
              <a:avLst/>
              <a:gdLst/>
              <a:ahLst/>
              <a:cxnLst/>
              <a:rect l="l" t="t" r="r" b="b"/>
              <a:pathLst>
                <a:path w="223519" h="184785" extrusionOk="0">
                  <a:moveTo>
                    <a:pt x="20320" y="128905"/>
                  </a:moveTo>
                  <a:lnTo>
                    <a:pt x="0" y="143510"/>
                  </a:lnTo>
                  <a:lnTo>
                    <a:pt x="30480" y="184785"/>
                  </a:lnTo>
                  <a:lnTo>
                    <a:pt x="50800" y="169545"/>
                  </a:lnTo>
                  <a:lnTo>
                    <a:pt x="203200" y="55880"/>
                  </a:lnTo>
                  <a:lnTo>
                    <a:pt x="223520" y="40640"/>
                  </a:lnTo>
                  <a:lnTo>
                    <a:pt x="193040" y="0"/>
                  </a:lnTo>
                  <a:lnTo>
                    <a:pt x="172720" y="1524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759" name="Google Shape;2759;p66"/>
            <p:cNvSpPr/>
            <p:nvPr/>
          </p:nvSpPr>
          <p:spPr>
            <a:xfrm>
              <a:off x="11620500" y="2129154"/>
              <a:ext cx="223519" cy="184785"/>
            </a:xfrm>
            <a:custGeom>
              <a:avLst/>
              <a:gdLst/>
              <a:ahLst/>
              <a:cxnLst/>
              <a:rect l="l" t="t" r="r" b="b"/>
              <a:pathLst>
                <a:path w="223519" h="184785" extrusionOk="0">
                  <a:moveTo>
                    <a:pt x="172720" y="15240"/>
                  </a:moveTo>
                  <a:lnTo>
                    <a:pt x="20320" y="128905"/>
                  </a:lnTo>
                  <a:lnTo>
                    <a:pt x="0" y="143510"/>
                  </a:lnTo>
                  <a:lnTo>
                    <a:pt x="30480" y="184785"/>
                  </a:lnTo>
                  <a:lnTo>
                    <a:pt x="50800" y="169545"/>
                  </a:lnTo>
                  <a:lnTo>
                    <a:pt x="203200" y="55880"/>
                  </a:lnTo>
                  <a:lnTo>
                    <a:pt x="223520" y="40640"/>
                  </a:lnTo>
                  <a:lnTo>
                    <a:pt x="19304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760" name="Google Shape;2760;p66"/>
            <p:cNvSpPr/>
            <p:nvPr/>
          </p:nvSpPr>
          <p:spPr>
            <a:xfrm>
              <a:off x="8623934" y="0"/>
              <a:ext cx="207009" cy="152400"/>
            </a:xfrm>
            <a:custGeom>
              <a:avLst/>
              <a:gdLst/>
              <a:ahLst/>
              <a:cxnLst/>
              <a:rect l="l" t="t" r="r" b="b"/>
              <a:pathLst>
                <a:path w="207009" h="152400" extrusionOk="0">
                  <a:moveTo>
                    <a:pt x="52705" y="135255"/>
                  </a:moveTo>
                  <a:lnTo>
                    <a:pt x="205105" y="1905"/>
                  </a:lnTo>
                  <a:lnTo>
                    <a:pt x="207010" y="0"/>
                  </a:lnTo>
                  <a:lnTo>
                    <a:pt x="130175" y="0"/>
                  </a:lnTo>
                  <a:lnTo>
                    <a:pt x="19050" y="97155"/>
                  </a:lnTo>
                  <a:lnTo>
                    <a:pt x="0" y="113665"/>
                  </a:lnTo>
                  <a:lnTo>
                    <a:pt x="33020" y="15240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761" name="Google Shape;2761;p66"/>
            <p:cNvSpPr/>
            <p:nvPr/>
          </p:nvSpPr>
          <p:spPr>
            <a:xfrm>
              <a:off x="9258934" y="309245"/>
              <a:ext cx="224155" cy="205104"/>
            </a:xfrm>
            <a:custGeom>
              <a:avLst/>
              <a:gdLst/>
              <a:ahLst/>
              <a:cxnLst/>
              <a:rect l="l" t="t" r="r" b="b"/>
              <a:pathLst>
                <a:path w="224155" h="205104" extrusionOk="0">
                  <a:moveTo>
                    <a:pt x="52705" y="187960"/>
                  </a:moveTo>
                  <a:lnTo>
                    <a:pt x="205105" y="54610"/>
                  </a:lnTo>
                  <a:lnTo>
                    <a:pt x="224155" y="38100"/>
                  </a:lnTo>
                  <a:lnTo>
                    <a:pt x="190500" y="0"/>
                  </a:lnTo>
                  <a:lnTo>
                    <a:pt x="171450" y="16510"/>
                  </a:lnTo>
                  <a:lnTo>
                    <a:pt x="19050" y="149860"/>
                  </a:lnTo>
                  <a:lnTo>
                    <a:pt x="0" y="166370"/>
                  </a:lnTo>
                  <a:lnTo>
                    <a:pt x="33020" y="20510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762" name="Google Shape;2762;p66"/>
            <p:cNvSpPr/>
            <p:nvPr/>
          </p:nvSpPr>
          <p:spPr>
            <a:xfrm>
              <a:off x="9893934" y="671194"/>
              <a:ext cx="224155" cy="205105"/>
            </a:xfrm>
            <a:custGeom>
              <a:avLst/>
              <a:gdLst/>
              <a:ahLst/>
              <a:cxnLst/>
              <a:rect l="l" t="t" r="r" b="b"/>
              <a:pathLst>
                <a:path w="224155" h="205105" extrusionOk="0">
                  <a:moveTo>
                    <a:pt x="52705" y="187960"/>
                  </a:moveTo>
                  <a:lnTo>
                    <a:pt x="205105" y="54610"/>
                  </a:lnTo>
                  <a:lnTo>
                    <a:pt x="224155" y="38100"/>
                  </a:lnTo>
                  <a:lnTo>
                    <a:pt x="190500" y="0"/>
                  </a:lnTo>
                  <a:lnTo>
                    <a:pt x="171450" y="16510"/>
                  </a:lnTo>
                  <a:lnTo>
                    <a:pt x="19050" y="149860"/>
                  </a:lnTo>
                  <a:lnTo>
                    <a:pt x="0" y="166370"/>
                  </a:lnTo>
                  <a:lnTo>
                    <a:pt x="33020" y="20510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763" name="Google Shape;2763;p66"/>
            <p:cNvSpPr/>
            <p:nvPr/>
          </p:nvSpPr>
          <p:spPr>
            <a:xfrm>
              <a:off x="10528934" y="1033144"/>
              <a:ext cx="224155" cy="205105"/>
            </a:xfrm>
            <a:custGeom>
              <a:avLst/>
              <a:gdLst/>
              <a:ahLst/>
              <a:cxnLst/>
              <a:rect l="l" t="t" r="r" b="b"/>
              <a:pathLst>
                <a:path w="224155" h="205105" extrusionOk="0">
                  <a:moveTo>
                    <a:pt x="52705" y="187960"/>
                  </a:moveTo>
                  <a:lnTo>
                    <a:pt x="205105" y="54610"/>
                  </a:lnTo>
                  <a:lnTo>
                    <a:pt x="224155" y="38100"/>
                  </a:lnTo>
                  <a:lnTo>
                    <a:pt x="190500" y="0"/>
                  </a:lnTo>
                  <a:lnTo>
                    <a:pt x="171450" y="16510"/>
                  </a:lnTo>
                  <a:lnTo>
                    <a:pt x="19050" y="149860"/>
                  </a:lnTo>
                  <a:lnTo>
                    <a:pt x="0" y="166370"/>
                  </a:lnTo>
                  <a:lnTo>
                    <a:pt x="33020" y="20510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764" name="Google Shape;2764;p66"/>
            <p:cNvSpPr/>
            <p:nvPr/>
          </p:nvSpPr>
          <p:spPr>
            <a:xfrm>
              <a:off x="11163934" y="1395094"/>
              <a:ext cx="224155" cy="205105"/>
            </a:xfrm>
            <a:custGeom>
              <a:avLst/>
              <a:gdLst/>
              <a:ahLst/>
              <a:cxnLst/>
              <a:rect l="l" t="t" r="r" b="b"/>
              <a:pathLst>
                <a:path w="224155" h="205105" extrusionOk="0">
                  <a:moveTo>
                    <a:pt x="171450" y="16510"/>
                  </a:moveTo>
                  <a:lnTo>
                    <a:pt x="19050" y="149860"/>
                  </a:lnTo>
                  <a:lnTo>
                    <a:pt x="0" y="166370"/>
                  </a:lnTo>
                  <a:lnTo>
                    <a:pt x="33020" y="205105"/>
                  </a:lnTo>
                  <a:lnTo>
                    <a:pt x="52705" y="187960"/>
                  </a:lnTo>
                  <a:lnTo>
                    <a:pt x="205105" y="54610"/>
                  </a:lnTo>
                  <a:lnTo>
                    <a:pt x="224155" y="38100"/>
                  </a:lnTo>
                  <a:lnTo>
                    <a:pt x="19050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765" name="Google Shape;2765;p66"/>
            <p:cNvSpPr/>
            <p:nvPr/>
          </p:nvSpPr>
          <p:spPr>
            <a:xfrm>
              <a:off x="11798934" y="1757045"/>
              <a:ext cx="224155" cy="205104"/>
            </a:xfrm>
            <a:custGeom>
              <a:avLst/>
              <a:gdLst/>
              <a:ahLst/>
              <a:cxnLst/>
              <a:rect l="l" t="t" r="r" b="b"/>
              <a:pathLst>
                <a:path w="224155" h="205104" extrusionOk="0">
                  <a:moveTo>
                    <a:pt x="224155" y="38100"/>
                  </a:moveTo>
                  <a:lnTo>
                    <a:pt x="190500" y="0"/>
                  </a:lnTo>
                  <a:lnTo>
                    <a:pt x="171450" y="16510"/>
                  </a:lnTo>
                  <a:lnTo>
                    <a:pt x="19050" y="149860"/>
                  </a:lnTo>
                  <a:lnTo>
                    <a:pt x="0" y="166370"/>
                  </a:lnTo>
                  <a:lnTo>
                    <a:pt x="33020" y="205105"/>
                  </a:lnTo>
                  <a:lnTo>
                    <a:pt x="52705" y="187960"/>
                  </a:lnTo>
                  <a:lnTo>
                    <a:pt x="205105" y="5461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766" name="Google Shape;2766;p66"/>
            <p:cNvSpPr/>
            <p:nvPr/>
          </p:nvSpPr>
          <p:spPr>
            <a:xfrm>
              <a:off x="9462134" y="0"/>
              <a:ext cx="199390" cy="159385"/>
            </a:xfrm>
            <a:custGeom>
              <a:avLst/>
              <a:gdLst/>
              <a:ahLst/>
              <a:cxnLst/>
              <a:rect l="l" t="t" r="r" b="b"/>
              <a:pathLst>
                <a:path w="199390" h="159385" extrusionOk="0">
                  <a:moveTo>
                    <a:pt x="53340" y="141605"/>
                  </a:moveTo>
                  <a:lnTo>
                    <a:pt x="199390" y="0"/>
                  </a:lnTo>
                  <a:lnTo>
                    <a:pt x="126365" y="0"/>
                  </a:lnTo>
                  <a:lnTo>
                    <a:pt x="17780" y="105410"/>
                  </a:lnTo>
                  <a:lnTo>
                    <a:pt x="0" y="123190"/>
                  </a:lnTo>
                  <a:lnTo>
                    <a:pt x="34925" y="15938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767" name="Google Shape;2767;p66"/>
            <p:cNvSpPr/>
            <p:nvPr/>
          </p:nvSpPr>
          <p:spPr>
            <a:xfrm>
              <a:off x="10097134" y="301625"/>
              <a:ext cx="224155" cy="219709"/>
            </a:xfrm>
            <a:custGeom>
              <a:avLst/>
              <a:gdLst/>
              <a:ahLst/>
              <a:cxnLst/>
              <a:rect l="l" t="t" r="r" b="b"/>
              <a:pathLst>
                <a:path w="224155" h="219709" extrusionOk="0">
                  <a:moveTo>
                    <a:pt x="53340" y="201930"/>
                  </a:moveTo>
                  <a:lnTo>
                    <a:pt x="205740" y="53975"/>
                  </a:lnTo>
                  <a:lnTo>
                    <a:pt x="224155" y="36830"/>
                  </a:lnTo>
                  <a:lnTo>
                    <a:pt x="188595" y="0"/>
                  </a:lnTo>
                  <a:lnTo>
                    <a:pt x="170180" y="17780"/>
                  </a:lnTo>
                  <a:lnTo>
                    <a:pt x="17780" y="165735"/>
                  </a:lnTo>
                  <a:lnTo>
                    <a:pt x="0" y="183515"/>
                  </a:lnTo>
                  <a:lnTo>
                    <a:pt x="34925" y="21971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768" name="Google Shape;2768;p66"/>
            <p:cNvSpPr/>
            <p:nvPr/>
          </p:nvSpPr>
          <p:spPr>
            <a:xfrm>
              <a:off x="10732134" y="663575"/>
              <a:ext cx="224155" cy="219710"/>
            </a:xfrm>
            <a:custGeom>
              <a:avLst/>
              <a:gdLst/>
              <a:ahLst/>
              <a:cxnLst/>
              <a:rect l="l" t="t" r="r" b="b"/>
              <a:pathLst>
                <a:path w="224155" h="219710" extrusionOk="0">
                  <a:moveTo>
                    <a:pt x="53340" y="201930"/>
                  </a:moveTo>
                  <a:lnTo>
                    <a:pt x="205740" y="53975"/>
                  </a:lnTo>
                  <a:lnTo>
                    <a:pt x="224155" y="36830"/>
                  </a:lnTo>
                  <a:lnTo>
                    <a:pt x="188595" y="0"/>
                  </a:lnTo>
                  <a:lnTo>
                    <a:pt x="170180" y="17780"/>
                  </a:lnTo>
                  <a:lnTo>
                    <a:pt x="17780" y="165735"/>
                  </a:lnTo>
                  <a:lnTo>
                    <a:pt x="0" y="183515"/>
                  </a:lnTo>
                  <a:lnTo>
                    <a:pt x="34925" y="21971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769" name="Google Shape;2769;p66"/>
            <p:cNvSpPr/>
            <p:nvPr/>
          </p:nvSpPr>
          <p:spPr>
            <a:xfrm>
              <a:off x="11367134" y="1025525"/>
              <a:ext cx="224155" cy="219710"/>
            </a:xfrm>
            <a:custGeom>
              <a:avLst/>
              <a:gdLst/>
              <a:ahLst/>
              <a:cxnLst/>
              <a:rect l="l" t="t" r="r" b="b"/>
              <a:pathLst>
                <a:path w="224155" h="219710" extrusionOk="0">
                  <a:moveTo>
                    <a:pt x="34925" y="219710"/>
                  </a:moveTo>
                  <a:lnTo>
                    <a:pt x="53340" y="201930"/>
                  </a:lnTo>
                  <a:lnTo>
                    <a:pt x="205740" y="53975"/>
                  </a:lnTo>
                  <a:lnTo>
                    <a:pt x="224155" y="36830"/>
                  </a:lnTo>
                  <a:lnTo>
                    <a:pt x="188595" y="0"/>
                  </a:lnTo>
                  <a:lnTo>
                    <a:pt x="170180" y="17780"/>
                  </a:lnTo>
                  <a:lnTo>
                    <a:pt x="17780" y="165735"/>
                  </a:lnTo>
                  <a:lnTo>
                    <a:pt x="0" y="18351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770" name="Google Shape;2770;p66"/>
            <p:cNvSpPr/>
            <p:nvPr/>
          </p:nvSpPr>
          <p:spPr>
            <a:xfrm>
              <a:off x="12002134" y="1387475"/>
              <a:ext cx="189865" cy="219710"/>
            </a:xfrm>
            <a:custGeom>
              <a:avLst/>
              <a:gdLst/>
              <a:ahLst/>
              <a:cxnLst/>
              <a:rect l="l" t="t" r="r" b="b"/>
              <a:pathLst>
                <a:path w="189865" h="219710" extrusionOk="0">
                  <a:moveTo>
                    <a:pt x="170180" y="17780"/>
                  </a:moveTo>
                  <a:lnTo>
                    <a:pt x="17780" y="165735"/>
                  </a:lnTo>
                  <a:lnTo>
                    <a:pt x="0" y="183515"/>
                  </a:lnTo>
                  <a:lnTo>
                    <a:pt x="34925" y="219710"/>
                  </a:lnTo>
                  <a:lnTo>
                    <a:pt x="53340" y="201930"/>
                  </a:lnTo>
                  <a:lnTo>
                    <a:pt x="189865" y="69850"/>
                  </a:lnTo>
                  <a:lnTo>
                    <a:pt x="189865" y="1270"/>
                  </a:lnTo>
                  <a:lnTo>
                    <a:pt x="188595"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771" name="Google Shape;2771;p66"/>
            <p:cNvSpPr/>
            <p:nvPr/>
          </p:nvSpPr>
          <p:spPr>
            <a:xfrm>
              <a:off x="10316844" y="0"/>
              <a:ext cx="195580" cy="163829"/>
            </a:xfrm>
            <a:custGeom>
              <a:avLst/>
              <a:gdLst/>
              <a:ahLst/>
              <a:cxnLst/>
              <a:rect l="l" t="t" r="r" b="b"/>
              <a:pathLst>
                <a:path w="195580" h="163829" extrusionOk="0">
                  <a:moveTo>
                    <a:pt x="53975" y="145415"/>
                  </a:moveTo>
                  <a:lnTo>
                    <a:pt x="195580" y="0"/>
                  </a:lnTo>
                  <a:lnTo>
                    <a:pt x="125095" y="0"/>
                  </a:lnTo>
                  <a:lnTo>
                    <a:pt x="17780" y="109855"/>
                  </a:lnTo>
                  <a:lnTo>
                    <a:pt x="0" y="128270"/>
                  </a:lnTo>
                  <a:lnTo>
                    <a:pt x="36195" y="16383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772" name="Google Shape;2772;p66"/>
            <p:cNvSpPr/>
            <p:nvPr/>
          </p:nvSpPr>
          <p:spPr>
            <a:xfrm>
              <a:off x="10951844" y="297179"/>
              <a:ext cx="224155" cy="228600"/>
            </a:xfrm>
            <a:custGeom>
              <a:avLst/>
              <a:gdLst/>
              <a:ahLst/>
              <a:cxnLst/>
              <a:rect l="l" t="t" r="r" b="b"/>
              <a:pathLst>
                <a:path w="224155" h="228600" extrusionOk="0">
                  <a:moveTo>
                    <a:pt x="53975" y="210185"/>
                  </a:moveTo>
                  <a:lnTo>
                    <a:pt x="206375" y="53975"/>
                  </a:lnTo>
                  <a:lnTo>
                    <a:pt x="224155" y="35560"/>
                  </a:lnTo>
                  <a:lnTo>
                    <a:pt x="187961" y="0"/>
                  </a:lnTo>
                  <a:lnTo>
                    <a:pt x="170180" y="18415"/>
                  </a:lnTo>
                  <a:lnTo>
                    <a:pt x="17780" y="174625"/>
                  </a:lnTo>
                  <a:lnTo>
                    <a:pt x="0" y="193040"/>
                  </a:lnTo>
                  <a:lnTo>
                    <a:pt x="36195" y="22860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773" name="Google Shape;2773;p66"/>
            <p:cNvSpPr/>
            <p:nvPr/>
          </p:nvSpPr>
          <p:spPr>
            <a:xfrm>
              <a:off x="11586844" y="659130"/>
              <a:ext cx="224155" cy="228600"/>
            </a:xfrm>
            <a:custGeom>
              <a:avLst/>
              <a:gdLst/>
              <a:ahLst/>
              <a:cxnLst/>
              <a:rect l="l" t="t" r="r" b="b"/>
              <a:pathLst>
                <a:path w="224155" h="228600" extrusionOk="0">
                  <a:moveTo>
                    <a:pt x="53975" y="210185"/>
                  </a:moveTo>
                  <a:lnTo>
                    <a:pt x="206375" y="53975"/>
                  </a:lnTo>
                  <a:lnTo>
                    <a:pt x="224155" y="35560"/>
                  </a:lnTo>
                  <a:lnTo>
                    <a:pt x="187961" y="0"/>
                  </a:lnTo>
                  <a:lnTo>
                    <a:pt x="170180" y="18415"/>
                  </a:lnTo>
                  <a:lnTo>
                    <a:pt x="17780" y="174625"/>
                  </a:lnTo>
                  <a:lnTo>
                    <a:pt x="0" y="193040"/>
                  </a:lnTo>
                  <a:lnTo>
                    <a:pt x="36195" y="22860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774" name="Google Shape;2774;p66"/>
            <p:cNvSpPr/>
            <p:nvPr/>
          </p:nvSpPr>
          <p:spPr>
            <a:xfrm>
              <a:off x="11179175" y="0"/>
              <a:ext cx="194944" cy="165100"/>
            </a:xfrm>
            <a:custGeom>
              <a:avLst/>
              <a:gdLst/>
              <a:ahLst/>
              <a:cxnLst/>
              <a:rect l="l" t="t" r="r" b="b"/>
              <a:pathLst>
                <a:path w="194944" h="165100" extrusionOk="0">
                  <a:moveTo>
                    <a:pt x="54610" y="146685"/>
                  </a:moveTo>
                  <a:lnTo>
                    <a:pt x="194945" y="0"/>
                  </a:lnTo>
                  <a:lnTo>
                    <a:pt x="124460" y="0"/>
                  </a:lnTo>
                  <a:lnTo>
                    <a:pt x="17780" y="111125"/>
                  </a:lnTo>
                  <a:lnTo>
                    <a:pt x="0" y="129540"/>
                  </a:lnTo>
                  <a:lnTo>
                    <a:pt x="36830" y="16510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775" name="Google Shape;2775;p66"/>
            <p:cNvSpPr/>
            <p:nvPr/>
          </p:nvSpPr>
          <p:spPr>
            <a:xfrm>
              <a:off x="11814175" y="296545"/>
              <a:ext cx="224155" cy="230504"/>
            </a:xfrm>
            <a:custGeom>
              <a:avLst/>
              <a:gdLst/>
              <a:ahLst/>
              <a:cxnLst/>
              <a:rect l="l" t="t" r="r" b="b"/>
              <a:pathLst>
                <a:path w="224155" h="230504" extrusionOk="0">
                  <a:moveTo>
                    <a:pt x="54610" y="212090"/>
                  </a:moveTo>
                  <a:lnTo>
                    <a:pt x="207010" y="53340"/>
                  </a:lnTo>
                  <a:lnTo>
                    <a:pt x="224155" y="34925"/>
                  </a:lnTo>
                  <a:lnTo>
                    <a:pt x="187960" y="0"/>
                  </a:lnTo>
                  <a:lnTo>
                    <a:pt x="170180" y="17780"/>
                  </a:lnTo>
                  <a:lnTo>
                    <a:pt x="17780" y="176530"/>
                  </a:lnTo>
                  <a:lnTo>
                    <a:pt x="0" y="194945"/>
                  </a:lnTo>
                  <a:lnTo>
                    <a:pt x="36830" y="23050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776" name="Google Shape;2776;p66"/>
            <p:cNvSpPr/>
            <p:nvPr/>
          </p:nvSpPr>
          <p:spPr>
            <a:xfrm>
              <a:off x="12040869" y="0"/>
              <a:ext cx="151130" cy="162560"/>
            </a:xfrm>
            <a:custGeom>
              <a:avLst/>
              <a:gdLst/>
              <a:ahLst/>
              <a:cxnLst/>
              <a:rect l="l" t="t" r="r" b="b"/>
              <a:pathLst>
                <a:path w="151130" h="162560" extrusionOk="0">
                  <a:moveTo>
                    <a:pt x="125095" y="0"/>
                  </a:moveTo>
                  <a:lnTo>
                    <a:pt x="17780" y="109220"/>
                  </a:lnTo>
                  <a:lnTo>
                    <a:pt x="0" y="127000"/>
                  </a:lnTo>
                  <a:lnTo>
                    <a:pt x="36195" y="162560"/>
                  </a:lnTo>
                  <a:lnTo>
                    <a:pt x="53975" y="144780"/>
                  </a:lnTo>
                  <a:lnTo>
                    <a:pt x="151130" y="45720"/>
                  </a:lnTo>
                  <a:lnTo>
                    <a:pt x="15113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grpSp>
      <p:sp>
        <p:nvSpPr>
          <p:cNvPr id="2777" name="Google Shape;2777;p66"/>
          <p:cNvSpPr/>
          <p:nvPr/>
        </p:nvSpPr>
        <p:spPr>
          <a:xfrm>
            <a:off x="7843534" y="1475434"/>
            <a:ext cx="2987033" cy="5382567"/>
          </a:xfrm>
          <a:custGeom>
            <a:avLst/>
            <a:gdLst/>
            <a:ahLst/>
            <a:cxnLst/>
            <a:rect l="l" t="t" r="r" b="b"/>
            <a:pathLst>
              <a:path w="89611" h="161477" extrusionOk="0">
                <a:moveTo>
                  <a:pt x="12478" y="0"/>
                </a:moveTo>
                <a:lnTo>
                  <a:pt x="24536" y="23174"/>
                </a:lnTo>
                <a:lnTo>
                  <a:pt x="24227" y="35246"/>
                </a:lnTo>
                <a:lnTo>
                  <a:pt x="22780" y="45189"/>
                </a:lnTo>
                <a:lnTo>
                  <a:pt x="27233" y="59290"/>
                </a:lnTo>
                <a:lnTo>
                  <a:pt x="50831" y="99634"/>
                </a:lnTo>
                <a:lnTo>
                  <a:pt x="89611" y="161477"/>
                </a:lnTo>
                <a:lnTo>
                  <a:pt x="31089" y="161477"/>
                </a:lnTo>
                <a:lnTo>
                  <a:pt x="0" y="161477"/>
                </a:lnTo>
                <a:close/>
              </a:path>
            </a:pathLst>
          </a:custGeom>
          <a:solidFill>
            <a:schemeClr val="dk2"/>
          </a:solidFill>
          <a:ln>
            <a:noFill/>
          </a:ln>
        </p:spPr>
      </p:sp>
      <p:sp>
        <p:nvSpPr>
          <p:cNvPr id="2778" name="Google Shape;2778;p66"/>
          <p:cNvSpPr/>
          <p:nvPr/>
        </p:nvSpPr>
        <p:spPr>
          <a:xfrm>
            <a:off x="-11067" y="0"/>
            <a:ext cx="8327200" cy="6858000"/>
          </a:xfrm>
          <a:prstGeom prst="rect">
            <a:avLst/>
          </a:prstGeom>
          <a:solidFill>
            <a:schemeClr val="dk2"/>
          </a:solidFill>
          <a:ln>
            <a:noFill/>
          </a:ln>
        </p:spPr>
        <p:txBody>
          <a:bodyPr spcFirstLastPara="1" wrap="square" lIns="121900" tIns="121900" rIns="121900" bIns="121900"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sp>
        <p:nvSpPr>
          <p:cNvPr id="2779" name="Google Shape;2779;p66"/>
          <p:cNvSpPr/>
          <p:nvPr/>
        </p:nvSpPr>
        <p:spPr>
          <a:xfrm>
            <a:off x="8123900" y="1"/>
            <a:ext cx="1069267" cy="1782100"/>
          </a:xfrm>
          <a:custGeom>
            <a:avLst/>
            <a:gdLst/>
            <a:ahLst/>
            <a:cxnLst/>
            <a:rect l="l" t="t" r="r" b="b"/>
            <a:pathLst>
              <a:path w="32078" h="53463" extrusionOk="0">
                <a:moveTo>
                  <a:pt x="6637" y="53463"/>
                </a:moveTo>
                <a:lnTo>
                  <a:pt x="32078" y="0"/>
                </a:lnTo>
                <a:lnTo>
                  <a:pt x="3318" y="0"/>
                </a:lnTo>
                <a:lnTo>
                  <a:pt x="0" y="47195"/>
                </a:lnTo>
                <a:close/>
              </a:path>
            </a:pathLst>
          </a:custGeom>
          <a:solidFill>
            <a:schemeClr val="dk2"/>
          </a:solidFill>
          <a:ln>
            <a:noFill/>
          </a:ln>
        </p:spPr>
      </p:sp>
      <p:sp>
        <p:nvSpPr>
          <p:cNvPr id="2780" name="Google Shape;2780;p66"/>
          <p:cNvSpPr txBox="1"/>
          <p:nvPr/>
        </p:nvSpPr>
        <p:spPr>
          <a:xfrm>
            <a:off x="481600" y="6245247"/>
            <a:ext cx="1288400" cy="273200"/>
          </a:xfrm>
          <a:prstGeom prst="rect">
            <a:avLst/>
          </a:prstGeom>
          <a:noFill/>
          <a:ln>
            <a:noFill/>
          </a:ln>
        </p:spPr>
        <p:txBody>
          <a:bodyPr spcFirstLastPara="1" wrap="square" lIns="0" tIns="0" rIns="0" bIns="0" anchor="b" anchorCtr="0">
            <a:noAutofit/>
          </a:bodyPr>
          <a:lstStyle/>
          <a:p>
            <a:pPr marL="0" lvl="0" indent="0" algn="l" rtl="0">
              <a:spcBef>
                <a:spcPts val="0"/>
              </a:spcBef>
              <a:spcAft>
                <a:spcPts val="0"/>
              </a:spcAft>
              <a:buNone/>
            </a:pPr>
            <a:r>
              <a:rPr lang="en-GB" sz="667">
                <a:solidFill>
                  <a:schemeClr val="lt1"/>
                </a:solidFill>
                <a:latin typeface="Inter"/>
                <a:ea typeface="Inter"/>
                <a:cs typeface="Inter"/>
                <a:sym typeface="Inter"/>
              </a:rPr>
              <a:t>Multiverse</a:t>
            </a:r>
            <a:endParaRPr sz="667">
              <a:solidFill>
                <a:schemeClr val="lt1"/>
              </a:solidFill>
              <a:latin typeface="Inter"/>
              <a:ea typeface="Inter"/>
              <a:cs typeface="Inter"/>
              <a:sym typeface="Inter"/>
            </a:endParaRPr>
          </a:p>
        </p:txBody>
      </p:sp>
      <p:sp>
        <p:nvSpPr>
          <p:cNvPr id="2781" name="Google Shape;2781;p66"/>
          <p:cNvSpPr/>
          <p:nvPr/>
        </p:nvSpPr>
        <p:spPr>
          <a:xfrm>
            <a:off x="481601" y="414630"/>
            <a:ext cx="349111" cy="305471"/>
          </a:xfrm>
          <a:custGeom>
            <a:avLst/>
            <a:gdLst/>
            <a:ahLst/>
            <a:cxnLst/>
            <a:rect l="l" t="t" r="r" b="b"/>
            <a:pathLst>
              <a:path w="1586865" h="1388506" extrusionOk="0">
                <a:moveTo>
                  <a:pt x="1083683" y="969931"/>
                </a:moveTo>
                <a:lnTo>
                  <a:pt x="1083683" y="579692"/>
                </a:lnTo>
                <a:lnTo>
                  <a:pt x="849297" y="969931"/>
                </a:lnTo>
                <a:lnTo>
                  <a:pt x="848892" y="969931"/>
                </a:lnTo>
                <a:cubicBezTo>
                  <a:pt x="848892" y="969931"/>
                  <a:pt x="848892" y="969931"/>
                  <a:pt x="848892" y="969931"/>
                </a:cubicBezTo>
                <a:lnTo>
                  <a:pt x="738783" y="969931"/>
                </a:lnTo>
                <a:lnTo>
                  <a:pt x="738783" y="577668"/>
                </a:lnTo>
                <a:lnTo>
                  <a:pt x="549735" y="892612"/>
                </a:lnTo>
                <a:cubicBezTo>
                  <a:pt x="527876" y="929449"/>
                  <a:pt x="510873" y="958191"/>
                  <a:pt x="503992" y="969931"/>
                </a:cubicBezTo>
                <a:lnTo>
                  <a:pt x="393073" y="969931"/>
                </a:lnTo>
                <a:lnTo>
                  <a:pt x="393073" y="418576"/>
                </a:lnTo>
                <a:lnTo>
                  <a:pt x="503992" y="418576"/>
                </a:lnTo>
                <a:lnTo>
                  <a:pt x="502777" y="760643"/>
                </a:lnTo>
                <a:lnTo>
                  <a:pt x="503587" y="782098"/>
                </a:lnTo>
                <a:lnTo>
                  <a:pt x="721781" y="418981"/>
                </a:lnTo>
                <a:lnTo>
                  <a:pt x="721781" y="418981"/>
                </a:lnTo>
                <a:lnTo>
                  <a:pt x="721781" y="418981"/>
                </a:lnTo>
                <a:lnTo>
                  <a:pt x="739188" y="418981"/>
                </a:lnTo>
                <a:lnTo>
                  <a:pt x="847678" y="418981"/>
                </a:lnTo>
                <a:cubicBezTo>
                  <a:pt x="847678" y="418981"/>
                  <a:pt x="848487" y="722995"/>
                  <a:pt x="848892" y="783717"/>
                </a:cubicBezTo>
                <a:lnTo>
                  <a:pt x="1067895" y="418981"/>
                </a:lnTo>
                <a:lnTo>
                  <a:pt x="1067895" y="418981"/>
                </a:lnTo>
                <a:lnTo>
                  <a:pt x="1067895" y="418981"/>
                </a:lnTo>
                <a:lnTo>
                  <a:pt x="1085302" y="418981"/>
                </a:lnTo>
                <a:lnTo>
                  <a:pt x="1193387" y="418981"/>
                </a:lnTo>
                <a:lnTo>
                  <a:pt x="1193387" y="970336"/>
                </a:lnTo>
                <a:lnTo>
                  <a:pt x="1083683" y="970336"/>
                </a:lnTo>
                <a:close/>
                <a:moveTo>
                  <a:pt x="1190149" y="0"/>
                </a:moveTo>
                <a:lnTo>
                  <a:pt x="396716" y="0"/>
                </a:lnTo>
                <a:lnTo>
                  <a:pt x="0" y="694253"/>
                </a:lnTo>
                <a:lnTo>
                  <a:pt x="396716" y="1388507"/>
                </a:lnTo>
                <a:lnTo>
                  <a:pt x="1190149" y="1388507"/>
                </a:lnTo>
                <a:lnTo>
                  <a:pt x="1586865" y="694253"/>
                </a:lnTo>
                <a:lnTo>
                  <a:pt x="1190149" y="0"/>
                </a:lnTo>
                <a:close/>
              </a:path>
            </a:pathLst>
          </a:custGeom>
          <a:solidFill>
            <a:schemeClr val="lt1"/>
          </a:solidFill>
          <a:ln>
            <a:noFill/>
          </a:ln>
        </p:spPr>
        <p:txBody>
          <a:bodyPr spcFirstLastPara="1" wrap="square" lIns="91433" tIns="45700" rIns="91433" bIns="45700"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782" name="Google Shape;2782;p66"/>
          <p:cNvSpPr txBox="1"/>
          <p:nvPr/>
        </p:nvSpPr>
        <p:spPr>
          <a:xfrm>
            <a:off x="5451800" y="6245247"/>
            <a:ext cx="1288400" cy="273200"/>
          </a:xfrm>
          <a:prstGeom prst="rect">
            <a:avLst/>
          </a:prstGeom>
          <a:noFill/>
          <a:ln>
            <a:noFill/>
          </a:ln>
        </p:spPr>
        <p:txBody>
          <a:bodyPr spcFirstLastPara="1" wrap="square" lIns="0" tIns="0" rIns="0" bIns="0" anchor="b" anchorCtr="0">
            <a:noAutofit/>
          </a:bodyPr>
          <a:lstStyle/>
          <a:p>
            <a:pPr marL="0" lvl="0" indent="0" algn="ctr" rtl="0">
              <a:spcBef>
                <a:spcPts val="0"/>
              </a:spcBef>
              <a:spcAft>
                <a:spcPts val="0"/>
              </a:spcAft>
              <a:buNone/>
            </a:pPr>
            <a:r>
              <a:rPr lang="en-GB" sz="667">
                <a:solidFill>
                  <a:schemeClr val="lt1"/>
                </a:solidFill>
                <a:latin typeface="Inter"/>
                <a:ea typeface="Inter"/>
                <a:cs typeface="Inter"/>
                <a:sym typeface="Inter"/>
              </a:rPr>
              <a:t>Private and Confidential</a:t>
            </a:r>
            <a:endParaRPr sz="667">
              <a:solidFill>
                <a:schemeClr val="lt1"/>
              </a:solidFill>
              <a:latin typeface="Inter"/>
              <a:ea typeface="Inter"/>
              <a:cs typeface="Inter"/>
              <a:sym typeface="Inter"/>
            </a:endParaRPr>
          </a:p>
        </p:txBody>
      </p:sp>
      <p:sp>
        <p:nvSpPr>
          <p:cNvPr id="2783" name="Google Shape;2783;p66"/>
          <p:cNvSpPr txBox="1">
            <a:spLocks noGrp="1"/>
          </p:cNvSpPr>
          <p:nvPr>
            <p:ph type="subTitle" idx="1"/>
          </p:nvPr>
        </p:nvSpPr>
        <p:spPr>
          <a:xfrm>
            <a:off x="481600" y="2309467"/>
            <a:ext cx="6442800" cy="1612800"/>
          </a:xfrm>
          <a:prstGeom prst="rect">
            <a:avLst/>
          </a:prstGeom>
        </p:spPr>
        <p:txBody>
          <a:bodyPr spcFirstLastPara="1" wrap="square" lIns="0" tIns="34275" rIns="68575" bIns="34275" anchor="t" anchorCtr="0">
            <a:normAutofit/>
          </a:bodyPr>
          <a:lstStyle>
            <a:lvl1pPr lvl="0" rtl="0">
              <a:spcBef>
                <a:spcPts val="1067"/>
              </a:spcBef>
              <a:spcAft>
                <a:spcPts val="0"/>
              </a:spcAft>
              <a:buClr>
                <a:schemeClr val="lt1"/>
              </a:buClr>
              <a:buSzPts val="4600"/>
              <a:buFont typeface="Inter Medium"/>
              <a:buNone/>
              <a:defRPr sz="6133">
                <a:solidFill>
                  <a:schemeClr val="lt1"/>
                </a:solidFill>
                <a:latin typeface="Inter Medium"/>
                <a:ea typeface="Inter Medium"/>
                <a:cs typeface="Inter Medium"/>
                <a:sym typeface="Inter Medium"/>
              </a:defRPr>
            </a:lvl1pPr>
            <a:lvl2pPr lvl="1" rtl="0">
              <a:spcBef>
                <a:spcPts val="533"/>
              </a:spcBef>
              <a:spcAft>
                <a:spcPts val="0"/>
              </a:spcAft>
              <a:buClr>
                <a:schemeClr val="lt1"/>
              </a:buClr>
              <a:buSzPts val="1200"/>
              <a:buNone/>
              <a:defRPr>
                <a:solidFill>
                  <a:schemeClr val="lt1"/>
                </a:solidFill>
              </a:defRPr>
            </a:lvl2pPr>
            <a:lvl3pPr lvl="2" rtl="0">
              <a:spcBef>
                <a:spcPts val="533"/>
              </a:spcBef>
              <a:spcAft>
                <a:spcPts val="0"/>
              </a:spcAft>
              <a:buClr>
                <a:schemeClr val="lt1"/>
              </a:buClr>
              <a:buSzPts val="1200"/>
              <a:buNone/>
              <a:defRPr>
                <a:solidFill>
                  <a:schemeClr val="lt1"/>
                </a:solidFill>
              </a:defRPr>
            </a:lvl3pPr>
            <a:lvl4pPr lvl="3" rtl="0">
              <a:spcBef>
                <a:spcPts val="533"/>
              </a:spcBef>
              <a:spcAft>
                <a:spcPts val="0"/>
              </a:spcAft>
              <a:buClr>
                <a:schemeClr val="lt1"/>
              </a:buClr>
              <a:buSzPts val="1200"/>
              <a:buNone/>
              <a:defRPr>
                <a:solidFill>
                  <a:schemeClr val="lt1"/>
                </a:solidFill>
              </a:defRPr>
            </a:lvl4pPr>
            <a:lvl5pPr lvl="4" rtl="0">
              <a:spcBef>
                <a:spcPts val="533"/>
              </a:spcBef>
              <a:spcAft>
                <a:spcPts val="0"/>
              </a:spcAft>
              <a:buClr>
                <a:schemeClr val="lt1"/>
              </a:buClr>
              <a:buSzPts val="1200"/>
              <a:buNone/>
              <a:defRPr>
                <a:solidFill>
                  <a:schemeClr val="lt1"/>
                </a:solidFill>
              </a:defRPr>
            </a:lvl5pPr>
            <a:lvl6pPr lvl="5" rtl="0">
              <a:spcBef>
                <a:spcPts val="533"/>
              </a:spcBef>
              <a:spcAft>
                <a:spcPts val="0"/>
              </a:spcAft>
              <a:buClr>
                <a:schemeClr val="lt1"/>
              </a:buClr>
              <a:buSzPts val="1200"/>
              <a:buNone/>
              <a:defRPr>
                <a:solidFill>
                  <a:schemeClr val="lt1"/>
                </a:solidFill>
              </a:defRPr>
            </a:lvl6pPr>
            <a:lvl7pPr lvl="6" rtl="0">
              <a:spcBef>
                <a:spcPts val="533"/>
              </a:spcBef>
              <a:spcAft>
                <a:spcPts val="0"/>
              </a:spcAft>
              <a:buClr>
                <a:schemeClr val="lt1"/>
              </a:buClr>
              <a:buSzPts val="1200"/>
              <a:buNone/>
              <a:defRPr>
                <a:solidFill>
                  <a:schemeClr val="lt1"/>
                </a:solidFill>
              </a:defRPr>
            </a:lvl7pPr>
            <a:lvl8pPr lvl="7" rtl="0">
              <a:spcBef>
                <a:spcPts val="533"/>
              </a:spcBef>
              <a:spcAft>
                <a:spcPts val="0"/>
              </a:spcAft>
              <a:buClr>
                <a:schemeClr val="lt1"/>
              </a:buClr>
              <a:buSzPts val="1200"/>
              <a:buNone/>
              <a:defRPr>
                <a:solidFill>
                  <a:schemeClr val="lt1"/>
                </a:solidFill>
              </a:defRPr>
            </a:lvl8pPr>
            <a:lvl9pPr lvl="8" rtl="0">
              <a:spcBef>
                <a:spcPts val="533"/>
              </a:spcBef>
              <a:spcAft>
                <a:spcPts val="0"/>
              </a:spcAft>
              <a:buClr>
                <a:schemeClr val="lt1"/>
              </a:buClr>
              <a:buSzPts val="1200"/>
              <a:buNone/>
              <a:defRPr>
                <a:solidFill>
                  <a:schemeClr val="lt1"/>
                </a:solidFill>
              </a:defRPr>
            </a:lvl9pPr>
          </a:lstStyle>
          <a:p>
            <a:endParaRPr/>
          </a:p>
        </p:txBody>
      </p:sp>
      <p:grpSp>
        <p:nvGrpSpPr>
          <p:cNvPr id="2784" name="Google Shape;2784;p66"/>
          <p:cNvGrpSpPr/>
          <p:nvPr/>
        </p:nvGrpSpPr>
        <p:grpSpPr>
          <a:xfrm>
            <a:off x="7147194" y="1435988"/>
            <a:ext cx="3739185" cy="2657459"/>
            <a:chOff x="361200" y="538650"/>
            <a:chExt cx="2645400" cy="1880100"/>
          </a:xfrm>
        </p:grpSpPr>
        <p:sp>
          <p:nvSpPr>
            <p:cNvPr id="2785" name="Google Shape;2785;p66"/>
            <p:cNvSpPr/>
            <p:nvPr/>
          </p:nvSpPr>
          <p:spPr>
            <a:xfrm>
              <a:off x="376975" y="590650"/>
              <a:ext cx="2614575" cy="1780025"/>
            </a:xfrm>
            <a:custGeom>
              <a:avLst/>
              <a:gdLst/>
              <a:ahLst/>
              <a:cxnLst/>
              <a:rect l="l" t="t" r="r" b="b"/>
              <a:pathLst>
                <a:path w="104583" h="71201" extrusionOk="0">
                  <a:moveTo>
                    <a:pt x="9676" y="71201"/>
                  </a:moveTo>
                  <a:lnTo>
                    <a:pt x="0" y="56485"/>
                  </a:lnTo>
                  <a:lnTo>
                    <a:pt x="94947" y="0"/>
                  </a:lnTo>
                  <a:lnTo>
                    <a:pt x="104583" y="14474"/>
                  </a:lnTo>
                  <a:close/>
                </a:path>
              </a:pathLst>
            </a:custGeom>
            <a:solidFill>
              <a:schemeClr val="accent2"/>
            </a:solidFill>
            <a:ln>
              <a:noFill/>
            </a:ln>
          </p:spPr>
        </p:sp>
        <p:sp>
          <p:nvSpPr>
            <p:cNvPr id="2786" name="Google Shape;2786;p66"/>
            <p:cNvSpPr/>
            <p:nvPr/>
          </p:nvSpPr>
          <p:spPr>
            <a:xfrm>
              <a:off x="589800" y="882150"/>
              <a:ext cx="2416800" cy="1536600"/>
            </a:xfrm>
            <a:prstGeom prst="roundRect">
              <a:avLst>
                <a:gd name="adj" fmla="val 7455"/>
              </a:avLst>
            </a:prstGeom>
            <a:solidFill>
              <a:schemeClr val="accent2"/>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sp>
          <p:nvSpPr>
            <p:cNvPr id="2787" name="Google Shape;2787;p66"/>
            <p:cNvSpPr/>
            <p:nvPr/>
          </p:nvSpPr>
          <p:spPr>
            <a:xfrm>
              <a:off x="361200" y="538650"/>
              <a:ext cx="2416800" cy="1536600"/>
            </a:xfrm>
            <a:prstGeom prst="roundRect">
              <a:avLst>
                <a:gd name="adj" fmla="val 7455"/>
              </a:avLst>
            </a:prstGeom>
            <a:solidFill>
              <a:schemeClr val="accent2"/>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grpSp>
      <p:grpSp>
        <p:nvGrpSpPr>
          <p:cNvPr id="2788" name="Google Shape;2788;p66"/>
          <p:cNvGrpSpPr/>
          <p:nvPr/>
        </p:nvGrpSpPr>
        <p:grpSpPr>
          <a:xfrm>
            <a:off x="7147194" y="3189081"/>
            <a:ext cx="3739185" cy="2657459"/>
            <a:chOff x="361200" y="538650"/>
            <a:chExt cx="2645400" cy="1880100"/>
          </a:xfrm>
        </p:grpSpPr>
        <p:sp>
          <p:nvSpPr>
            <p:cNvPr id="2789" name="Google Shape;2789;p66"/>
            <p:cNvSpPr/>
            <p:nvPr/>
          </p:nvSpPr>
          <p:spPr>
            <a:xfrm>
              <a:off x="376975" y="590650"/>
              <a:ext cx="2614575" cy="1780025"/>
            </a:xfrm>
            <a:custGeom>
              <a:avLst/>
              <a:gdLst/>
              <a:ahLst/>
              <a:cxnLst/>
              <a:rect l="l" t="t" r="r" b="b"/>
              <a:pathLst>
                <a:path w="104583" h="71201" extrusionOk="0">
                  <a:moveTo>
                    <a:pt x="9676" y="71201"/>
                  </a:moveTo>
                  <a:lnTo>
                    <a:pt x="0" y="56485"/>
                  </a:lnTo>
                  <a:lnTo>
                    <a:pt x="94947" y="0"/>
                  </a:lnTo>
                  <a:lnTo>
                    <a:pt x="104583" y="14474"/>
                  </a:lnTo>
                  <a:close/>
                </a:path>
              </a:pathLst>
            </a:custGeom>
            <a:solidFill>
              <a:schemeClr val="accent2"/>
            </a:solidFill>
            <a:ln>
              <a:noFill/>
            </a:ln>
          </p:spPr>
        </p:sp>
        <p:sp>
          <p:nvSpPr>
            <p:cNvPr id="2790" name="Google Shape;2790;p66"/>
            <p:cNvSpPr/>
            <p:nvPr/>
          </p:nvSpPr>
          <p:spPr>
            <a:xfrm>
              <a:off x="589800" y="882150"/>
              <a:ext cx="2416800" cy="1536600"/>
            </a:xfrm>
            <a:prstGeom prst="roundRect">
              <a:avLst>
                <a:gd name="adj" fmla="val 7455"/>
              </a:avLst>
            </a:prstGeom>
            <a:solidFill>
              <a:schemeClr val="accent2"/>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sp>
          <p:nvSpPr>
            <p:cNvPr id="2791" name="Google Shape;2791;p66"/>
            <p:cNvSpPr/>
            <p:nvPr/>
          </p:nvSpPr>
          <p:spPr>
            <a:xfrm>
              <a:off x="361200" y="538650"/>
              <a:ext cx="2416800" cy="1536600"/>
            </a:xfrm>
            <a:prstGeom prst="roundRect">
              <a:avLst>
                <a:gd name="adj" fmla="val 7455"/>
              </a:avLst>
            </a:prstGeom>
            <a:solidFill>
              <a:schemeClr val="accent2"/>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grpSp>
      <p:grpSp>
        <p:nvGrpSpPr>
          <p:cNvPr id="2792" name="Google Shape;2792;p66"/>
          <p:cNvGrpSpPr/>
          <p:nvPr/>
        </p:nvGrpSpPr>
        <p:grpSpPr>
          <a:xfrm>
            <a:off x="7267845" y="1528855"/>
            <a:ext cx="3739185" cy="2647125"/>
            <a:chOff x="361200" y="545961"/>
            <a:chExt cx="2645400" cy="1872789"/>
          </a:xfrm>
        </p:grpSpPr>
        <p:sp>
          <p:nvSpPr>
            <p:cNvPr id="2793" name="Google Shape;2793;p66"/>
            <p:cNvSpPr/>
            <p:nvPr/>
          </p:nvSpPr>
          <p:spPr>
            <a:xfrm>
              <a:off x="376975" y="590650"/>
              <a:ext cx="2614575" cy="1780025"/>
            </a:xfrm>
            <a:custGeom>
              <a:avLst/>
              <a:gdLst/>
              <a:ahLst/>
              <a:cxnLst/>
              <a:rect l="l" t="t" r="r" b="b"/>
              <a:pathLst>
                <a:path w="104583" h="71201" extrusionOk="0">
                  <a:moveTo>
                    <a:pt x="9676" y="71201"/>
                  </a:moveTo>
                  <a:lnTo>
                    <a:pt x="0" y="56485"/>
                  </a:lnTo>
                  <a:lnTo>
                    <a:pt x="94947" y="0"/>
                  </a:lnTo>
                  <a:lnTo>
                    <a:pt x="104583" y="14474"/>
                  </a:lnTo>
                  <a:close/>
                </a:path>
              </a:pathLst>
            </a:custGeom>
            <a:solidFill>
              <a:schemeClr val="accent2"/>
            </a:solidFill>
            <a:ln>
              <a:noFill/>
            </a:ln>
          </p:spPr>
        </p:sp>
        <p:sp>
          <p:nvSpPr>
            <p:cNvPr id="2794" name="Google Shape;2794;p66"/>
            <p:cNvSpPr/>
            <p:nvPr/>
          </p:nvSpPr>
          <p:spPr>
            <a:xfrm>
              <a:off x="589800" y="882150"/>
              <a:ext cx="2416800" cy="1536600"/>
            </a:xfrm>
            <a:prstGeom prst="roundRect">
              <a:avLst>
                <a:gd name="adj" fmla="val 7455"/>
              </a:avLst>
            </a:prstGeom>
            <a:solidFill>
              <a:schemeClr val="accent2"/>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sp>
          <p:nvSpPr>
            <p:cNvPr id="2795" name="Google Shape;2795;p66"/>
            <p:cNvSpPr/>
            <p:nvPr/>
          </p:nvSpPr>
          <p:spPr>
            <a:xfrm>
              <a:off x="361200" y="545961"/>
              <a:ext cx="2416800" cy="1536600"/>
            </a:xfrm>
            <a:prstGeom prst="roundRect">
              <a:avLst>
                <a:gd name="adj" fmla="val 7455"/>
              </a:avLst>
            </a:prstGeom>
            <a:solidFill>
              <a:schemeClr val="accent2"/>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grpSp>
      <p:grpSp>
        <p:nvGrpSpPr>
          <p:cNvPr id="2796" name="Google Shape;2796;p66"/>
          <p:cNvGrpSpPr/>
          <p:nvPr/>
        </p:nvGrpSpPr>
        <p:grpSpPr>
          <a:xfrm>
            <a:off x="7272513" y="3377774"/>
            <a:ext cx="3739176" cy="2657460"/>
            <a:chOff x="361206" y="538649"/>
            <a:chExt cx="2645394" cy="1880101"/>
          </a:xfrm>
        </p:grpSpPr>
        <p:sp>
          <p:nvSpPr>
            <p:cNvPr id="2797" name="Google Shape;2797;p66"/>
            <p:cNvSpPr/>
            <p:nvPr/>
          </p:nvSpPr>
          <p:spPr>
            <a:xfrm>
              <a:off x="376975" y="590650"/>
              <a:ext cx="2614575" cy="1780025"/>
            </a:xfrm>
            <a:custGeom>
              <a:avLst/>
              <a:gdLst/>
              <a:ahLst/>
              <a:cxnLst/>
              <a:rect l="l" t="t" r="r" b="b"/>
              <a:pathLst>
                <a:path w="104583" h="71201" extrusionOk="0">
                  <a:moveTo>
                    <a:pt x="9676" y="71201"/>
                  </a:moveTo>
                  <a:lnTo>
                    <a:pt x="0" y="56485"/>
                  </a:lnTo>
                  <a:lnTo>
                    <a:pt x="94947" y="0"/>
                  </a:lnTo>
                  <a:lnTo>
                    <a:pt x="104583" y="14474"/>
                  </a:lnTo>
                  <a:close/>
                </a:path>
              </a:pathLst>
            </a:custGeom>
            <a:solidFill>
              <a:schemeClr val="accent2"/>
            </a:solidFill>
            <a:ln>
              <a:noFill/>
            </a:ln>
          </p:spPr>
        </p:sp>
        <p:sp>
          <p:nvSpPr>
            <p:cNvPr id="2798" name="Google Shape;2798;p66"/>
            <p:cNvSpPr/>
            <p:nvPr/>
          </p:nvSpPr>
          <p:spPr>
            <a:xfrm>
              <a:off x="589800" y="882150"/>
              <a:ext cx="2416800" cy="1536600"/>
            </a:xfrm>
            <a:prstGeom prst="roundRect">
              <a:avLst>
                <a:gd name="adj" fmla="val 7455"/>
              </a:avLst>
            </a:prstGeom>
            <a:solidFill>
              <a:schemeClr val="accent2"/>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sp>
          <p:nvSpPr>
            <p:cNvPr id="2799" name="Google Shape;2799;p66"/>
            <p:cNvSpPr/>
            <p:nvPr/>
          </p:nvSpPr>
          <p:spPr>
            <a:xfrm>
              <a:off x="361206" y="538649"/>
              <a:ext cx="2416800" cy="223800"/>
            </a:xfrm>
            <a:prstGeom prst="roundRect">
              <a:avLst>
                <a:gd name="adj" fmla="val 7455"/>
              </a:avLst>
            </a:prstGeom>
            <a:solidFill>
              <a:schemeClr val="accent2"/>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grpSp>
      <p:sp>
        <p:nvSpPr>
          <p:cNvPr id="2800" name="Google Shape;2800;p66"/>
          <p:cNvSpPr/>
          <p:nvPr/>
        </p:nvSpPr>
        <p:spPr>
          <a:xfrm>
            <a:off x="7172867" y="5258434"/>
            <a:ext cx="642367" cy="705333"/>
          </a:xfrm>
          <a:custGeom>
            <a:avLst/>
            <a:gdLst/>
            <a:ahLst/>
            <a:cxnLst/>
            <a:rect l="l" t="t" r="r" b="b"/>
            <a:pathLst>
              <a:path w="19271" h="21160" extrusionOk="0">
                <a:moveTo>
                  <a:pt x="0" y="882"/>
                </a:moveTo>
                <a:lnTo>
                  <a:pt x="13540" y="21160"/>
                </a:lnTo>
                <a:lnTo>
                  <a:pt x="19271" y="18074"/>
                </a:lnTo>
                <a:lnTo>
                  <a:pt x="9447" y="0"/>
                </a:lnTo>
                <a:lnTo>
                  <a:pt x="567" y="378"/>
                </a:lnTo>
              </a:path>
            </a:pathLst>
          </a:custGeom>
          <a:solidFill>
            <a:schemeClr val="accent2"/>
          </a:solidFill>
          <a:ln>
            <a:noFill/>
          </a:ln>
        </p:spPr>
      </p:sp>
      <p:sp>
        <p:nvSpPr>
          <p:cNvPr id="2801" name="Google Shape;2801;p66"/>
          <p:cNvSpPr/>
          <p:nvPr/>
        </p:nvSpPr>
        <p:spPr>
          <a:xfrm rot="10800000">
            <a:off x="10296272" y="1412731"/>
            <a:ext cx="780861" cy="857403"/>
          </a:xfrm>
          <a:custGeom>
            <a:avLst/>
            <a:gdLst/>
            <a:ahLst/>
            <a:cxnLst/>
            <a:rect l="l" t="t" r="r" b="b"/>
            <a:pathLst>
              <a:path w="19271" h="21160" extrusionOk="0">
                <a:moveTo>
                  <a:pt x="0" y="882"/>
                </a:moveTo>
                <a:lnTo>
                  <a:pt x="13540" y="21160"/>
                </a:lnTo>
                <a:lnTo>
                  <a:pt x="19271" y="18074"/>
                </a:lnTo>
                <a:lnTo>
                  <a:pt x="9447" y="0"/>
                </a:lnTo>
                <a:lnTo>
                  <a:pt x="567" y="378"/>
                </a:lnTo>
              </a:path>
            </a:pathLst>
          </a:custGeom>
          <a:solidFill>
            <a:schemeClr val="accent2"/>
          </a:solidFill>
          <a:ln>
            <a:noFill/>
          </a:ln>
        </p:spPr>
      </p:sp>
      <p:grpSp>
        <p:nvGrpSpPr>
          <p:cNvPr id="2802" name="Google Shape;2802;p66"/>
          <p:cNvGrpSpPr/>
          <p:nvPr/>
        </p:nvGrpSpPr>
        <p:grpSpPr>
          <a:xfrm>
            <a:off x="7380112" y="1769822"/>
            <a:ext cx="3739185" cy="2583959"/>
            <a:chOff x="361200" y="590650"/>
            <a:chExt cx="2645400" cy="1828100"/>
          </a:xfrm>
        </p:grpSpPr>
        <p:sp>
          <p:nvSpPr>
            <p:cNvPr id="2803" name="Google Shape;2803;p66"/>
            <p:cNvSpPr/>
            <p:nvPr/>
          </p:nvSpPr>
          <p:spPr>
            <a:xfrm>
              <a:off x="376975" y="590650"/>
              <a:ext cx="2614575" cy="1780025"/>
            </a:xfrm>
            <a:custGeom>
              <a:avLst/>
              <a:gdLst/>
              <a:ahLst/>
              <a:cxnLst/>
              <a:rect l="l" t="t" r="r" b="b"/>
              <a:pathLst>
                <a:path w="104583" h="71201" extrusionOk="0">
                  <a:moveTo>
                    <a:pt x="9676" y="71201"/>
                  </a:moveTo>
                  <a:lnTo>
                    <a:pt x="0" y="56485"/>
                  </a:lnTo>
                  <a:lnTo>
                    <a:pt x="94947" y="0"/>
                  </a:lnTo>
                  <a:lnTo>
                    <a:pt x="104583" y="14474"/>
                  </a:lnTo>
                  <a:close/>
                </a:path>
              </a:pathLst>
            </a:custGeom>
            <a:solidFill>
              <a:schemeClr val="accent2"/>
            </a:solidFill>
            <a:ln>
              <a:noFill/>
            </a:ln>
          </p:spPr>
        </p:sp>
        <p:sp>
          <p:nvSpPr>
            <p:cNvPr id="2804" name="Google Shape;2804;p66"/>
            <p:cNvSpPr/>
            <p:nvPr/>
          </p:nvSpPr>
          <p:spPr>
            <a:xfrm>
              <a:off x="589800" y="882150"/>
              <a:ext cx="2416800" cy="1536600"/>
            </a:xfrm>
            <a:prstGeom prst="roundRect">
              <a:avLst>
                <a:gd name="adj" fmla="val 7455"/>
              </a:avLst>
            </a:prstGeom>
            <a:solidFill>
              <a:schemeClr val="accent2"/>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sp>
          <p:nvSpPr>
            <p:cNvPr id="2805" name="Google Shape;2805;p66"/>
            <p:cNvSpPr/>
            <p:nvPr/>
          </p:nvSpPr>
          <p:spPr>
            <a:xfrm>
              <a:off x="361200" y="682410"/>
              <a:ext cx="2416800" cy="1536600"/>
            </a:xfrm>
            <a:prstGeom prst="roundRect">
              <a:avLst>
                <a:gd name="adj" fmla="val 7455"/>
              </a:avLst>
            </a:prstGeom>
            <a:solidFill>
              <a:schemeClr val="accent2"/>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grpSp>
      <p:grpSp>
        <p:nvGrpSpPr>
          <p:cNvPr id="2806" name="Google Shape;2806;p66"/>
          <p:cNvGrpSpPr/>
          <p:nvPr/>
        </p:nvGrpSpPr>
        <p:grpSpPr>
          <a:xfrm>
            <a:off x="7384780" y="3377774"/>
            <a:ext cx="3739176" cy="2657460"/>
            <a:chOff x="361206" y="538649"/>
            <a:chExt cx="2645394" cy="1880101"/>
          </a:xfrm>
        </p:grpSpPr>
        <p:sp>
          <p:nvSpPr>
            <p:cNvPr id="2807" name="Google Shape;2807;p66"/>
            <p:cNvSpPr/>
            <p:nvPr/>
          </p:nvSpPr>
          <p:spPr>
            <a:xfrm>
              <a:off x="376975" y="590650"/>
              <a:ext cx="2614575" cy="1780025"/>
            </a:xfrm>
            <a:custGeom>
              <a:avLst/>
              <a:gdLst/>
              <a:ahLst/>
              <a:cxnLst/>
              <a:rect l="l" t="t" r="r" b="b"/>
              <a:pathLst>
                <a:path w="104583" h="71201" extrusionOk="0">
                  <a:moveTo>
                    <a:pt x="9676" y="71201"/>
                  </a:moveTo>
                  <a:lnTo>
                    <a:pt x="0" y="56485"/>
                  </a:lnTo>
                  <a:lnTo>
                    <a:pt x="94947" y="0"/>
                  </a:lnTo>
                  <a:lnTo>
                    <a:pt x="104583" y="14474"/>
                  </a:lnTo>
                  <a:close/>
                </a:path>
              </a:pathLst>
            </a:custGeom>
            <a:solidFill>
              <a:schemeClr val="accent2"/>
            </a:solidFill>
            <a:ln>
              <a:noFill/>
            </a:ln>
          </p:spPr>
        </p:sp>
        <p:sp>
          <p:nvSpPr>
            <p:cNvPr id="2808" name="Google Shape;2808;p66"/>
            <p:cNvSpPr/>
            <p:nvPr/>
          </p:nvSpPr>
          <p:spPr>
            <a:xfrm>
              <a:off x="589800" y="882150"/>
              <a:ext cx="2416800" cy="1536600"/>
            </a:xfrm>
            <a:prstGeom prst="roundRect">
              <a:avLst>
                <a:gd name="adj" fmla="val 7455"/>
              </a:avLst>
            </a:prstGeom>
            <a:solidFill>
              <a:schemeClr val="accent2"/>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sp>
          <p:nvSpPr>
            <p:cNvPr id="2809" name="Google Shape;2809;p66"/>
            <p:cNvSpPr/>
            <p:nvPr/>
          </p:nvSpPr>
          <p:spPr>
            <a:xfrm>
              <a:off x="361206" y="538649"/>
              <a:ext cx="2416800" cy="223800"/>
            </a:xfrm>
            <a:prstGeom prst="roundRect">
              <a:avLst>
                <a:gd name="adj" fmla="val 7455"/>
              </a:avLst>
            </a:prstGeom>
            <a:solidFill>
              <a:schemeClr val="accent2"/>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grpSp>
      <p:sp>
        <p:nvSpPr>
          <p:cNvPr id="2810" name="Google Shape;2810;p66"/>
          <p:cNvSpPr>
            <a:spLocks noGrp="1"/>
          </p:cNvSpPr>
          <p:nvPr>
            <p:ph type="pic" idx="2"/>
          </p:nvPr>
        </p:nvSpPr>
        <p:spPr>
          <a:xfrm>
            <a:off x="7147200" y="1334400"/>
            <a:ext cx="3416000" cy="4032000"/>
          </a:xfrm>
          <a:prstGeom prst="roundRect">
            <a:avLst>
              <a:gd name="adj" fmla="val 5078"/>
            </a:avLst>
          </a:prstGeom>
          <a:noFill/>
          <a:ln>
            <a:noFill/>
          </a:ln>
        </p:spPr>
      </p:sp>
    </p:spTree>
    <p:extLst>
      <p:ext uri="{BB962C8B-B14F-4D97-AF65-F5344CB8AC3E}">
        <p14:creationId xmlns:p14="http://schemas.microsoft.com/office/powerpoint/2010/main" val="140222432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matchingName="Quality Values Champ">
  <p:cSld name="Quality Values Champ">
    <p:bg>
      <p:bgPr>
        <a:solidFill>
          <a:schemeClr val="dk2"/>
        </a:solidFill>
        <a:effectLst/>
      </p:bgPr>
    </p:bg>
    <p:spTree>
      <p:nvGrpSpPr>
        <p:cNvPr id="1" name="Shape 2811"/>
        <p:cNvGrpSpPr/>
        <p:nvPr/>
      </p:nvGrpSpPr>
      <p:grpSpPr>
        <a:xfrm>
          <a:off x="0" y="0"/>
          <a:ext cx="0" cy="0"/>
          <a:chOff x="0" y="0"/>
          <a:chExt cx="0" cy="0"/>
        </a:xfrm>
      </p:grpSpPr>
      <p:sp>
        <p:nvSpPr>
          <p:cNvPr id="2812" name="Google Shape;2812;p67"/>
          <p:cNvSpPr/>
          <p:nvPr/>
        </p:nvSpPr>
        <p:spPr>
          <a:xfrm>
            <a:off x="481601" y="414630"/>
            <a:ext cx="349111" cy="305471"/>
          </a:xfrm>
          <a:custGeom>
            <a:avLst/>
            <a:gdLst/>
            <a:ahLst/>
            <a:cxnLst/>
            <a:rect l="l" t="t" r="r" b="b"/>
            <a:pathLst>
              <a:path w="1586865" h="1388506" extrusionOk="0">
                <a:moveTo>
                  <a:pt x="1083683" y="969931"/>
                </a:moveTo>
                <a:lnTo>
                  <a:pt x="1083683" y="579692"/>
                </a:lnTo>
                <a:lnTo>
                  <a:pt x="849297" y="969931"/>
                </a:lnTo>
                <a:lnTo>
                  <a:pt x="848892" y="969931"/>
                </a:lnTo>
                <a:cubicBezTo>
                  <a:pt x="848892" y="969931"/>
                  <a:pt x="848892" y="969931"/>
                  <a:pt x="848892" y="969931"/>
                </a:cubicBezTo>
                <a:lnTo>
                  <a:pt x="738783" y="969931"/>
                </a:lnTo>
                <a:lnTo>
                  <a:pt x="738783" y="577668"/>
                </a:lnTo>
                <a:lnTo>
                  <a:pt x="549735" y="892612"/>
                </a:lnTo>
                <a:cubicBezTo>
                  <a:pt x="527876" y="929449"/>
                  <a:pt x="510873" y="958191"/>
                  <a:pt x="503992" y="969931"/>
                </a:cubicBezTo>
                <a:lnTo>
                  <a:pt x="393073" y="969931"/>
                </a:lnTo>
                <a:lnTo>
                  <a:pt x="393073" y="418576"/>
                </a:lnTo>
                <a:lnTo>
                  <a:pt x="503992" y="418576"/>
                </a:lnTo>
                <a:lnTo>
                  <a:pt x="502777" y="760643"/>
                </a:lnTo>
                <a:lnTo>
                  <a:pt x="503587" y="782098"/>
                </a:lnTo>
                <a:lnTo>
                  <a:pt x="721781" y="418981"/>
                </a:lnTo>
                <a:lnTo>
                  <a:pt x="721781" y="418981"/>
                </a:lnTo>
                <a:lnTo>
                  <a:pt x="721781" y="418981"/>
                </a:lnTo>
                <a:lnTo>
                  <a:pt x="739188" y="418981"/>
                </a:lnTo>
                <a:lnTo>
                  <a:pt x="847678" y="418981"/>
                </a:lnTo>
                <a:cubicBezTo>
                  <a:pt x="847678" y="418981"/>
                  <a:pt x="848487" y="722995"/>
                  <a:pt x="848892" y="783717"/>
                </a:cubicBezTo>
                <a:lnTo>
                  <a:pt x="1067895" y="418981"/>
                </a:lnTo>
                <a:lnTo>
                  <a:pt x="1067895" y="418981"/>
                </a:lnTo>
                <a:lnTo>
                  <a:pt x="1067895" y="418981"/>
                </a:lnTo>
                <a:lnTo>
                  <a:pt x="1085302" y="418981"/>
                </a:lnTo>
                <a:lnTo>
                  <a:pt x="1193387" y="418981"/>
                </a:lnTo>
                <a:lnTo>
                  <a:pt x="1193387" y="970336"/>
                </a:lnTo>
                <a:lnTo>
                  <a:pt x="1083683" y="970336"/>
                </a:lnTo>
                <a:close/>
                <a:moveTo>
                  <a:pt x="1190149" y="0"/>
                </a:moveTo>
                <a:lnTo>
                  <a:pt x="396716" y="0"/>
                </a:lnTo>
                <a:lnTo>
                  <a:pt x="0" y="694253"/>
                </a:lnTo>
                <a:lnTo>
                  <a:pt x="396716" y="1388507"/>
                </a:lnTo>
                <a:lnTo>
                  <a:pt x="1190149" y="1388507"/>
                </a:lnTo>
                <a:lnTo>
                  <a:pt x="1586865" y="694253"/>
                </a:lnTo>
                <a:lnTo>
                  <a:pt x="1190149" y="0"/>
                </a:lnTo>
                <a:close/>
              </a:path>
            </a:pathLst>
          </a:custGeom>
          <a:solidFill>
            <a:schemeClr val="lt1"/>
          </a:solidFill>
          <a:ln>
            <a:noFill/>
          </a:ln>
        </p:spPr>
        <p:txBody>
          <a:bodyPr spcFirstLastPara="1" wrap="square" lIns="91433" tIns="45700" rIns="91433" bIns="45700"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813" name="Google Shape;2813;p67"/>
          <p:cNvSpPr txBox="1"/>
          <p:nvPr/>
        </p:nvSpPr>
        <p:spPr>
          <a:xfrm>
            <a:off x="5451800" y="6245247"/>
            <a:ext cx="1288400" cy="273200"/>
          </a:xfrm>
          <a:prstGeom prst="rect">
            <a:avLst/>
          </a:prstGeom>
          <a:noFill/>
          <a:ln>
            <a:noFill/>
          </a:ln>
        </p:spPr>
        <p:txBody>
          <a:bodyPr spcFirstLastPara="1" wrap="square" lIns="0" tIns="0" rIns="0" bIns="0" anchor="b" anchorCtr="0">
            <a:noAutofit/>
          </a:bodyPr>
          <a:lstStyle/>
          <a:p>
            <a:pPr marL="0" lvl="0" indent="0" algn="ctr" rtl="0">
              <a:spcBef>
                <a:spcPts val="0"/>
              </a:spcBef>
              <a:spcAft>
                <a:spcPts val="0"/>
              </a:spcAft>
              <a:buNone/>
            </a:pPr>
            <a:r>
              <a:rPr lang="en-GB" sz="667">
                <a:solidFill>
                  <a:schemeClr val="lt1"/>
                </a:solidFill>
                <a:latin typeface="Inter"/>
                <a:ea typeface="Inter"/>
                <a:cs typeface="Inter"/>
                <a:sym typeface="Inter"/>
              </a:rPr>
              <a:t>Private and Confidential</a:t>
            </a:r>
            <a:endParaRPr sz="667">
              <a:solidFill>
                <a:schemeClr val="lt1"/>
              </a:solidFill>
              <a:latin typeface="Inter"/>
              <a:ea typeface="Inter"/>
              <a:cs typeface="Inter"/>
              <a:sym typeface="Inter"/>
            </a:endParaRPr>
          </a:p>
        </p:txBody>
      </p:sp>
      <p:sp>
        <p:nvSpPr>
          <p:cNvPr id="2814" name="Google Shape;2814;p67"/>
          <p:cNvSpPr txBox="1">
            <a:spLocks noGrp="1"/>
          </p:cNvSpPr>
          <p:nvPr>
            <p:ph type="subTitle" idx="1"/>
          </p:nvPr>
        </p:nvSpPr>
        <p:spPr>
          <a:xfrm>
            <a:off x="481600" y="2309467"/>
            <a:ext cx="7672000" cy="1612800"/>
          </a:xfrm>
          <a:prstGeom prst="rect">
            <a:avLst/>
          </a:prstGeom>
        </p:spPr>
        <p:txBody>
          <a:bodyPr spcFirstLastPara="1" wrap="square" lIns="0" tIns="34275" rIns="68575" bIns="34275" anchor="t" anchorCtr="0">
            <a:normAutofit/>
          </a:bodyPr>
          <a:lstStyle>
            <a:lvl1pPr lvl="0" rtl="0">
              <a:spcBef>
                <a:spcPts val="1067"/>
              </a:spcBef>
              <a:spcAft>
                <a:spcPts val="0"/>
              </a:spcAft>
              <a:buClr>
                <a:schemeClr val="lt1"/>
              </a:buClr>
              <a:buSzPts val="4600"/>
              <a:buFont typeface="Inter Medium"/>
              <a:buNone/>
              <a:defRPr sz="6133">
                <a:solidFill>
                  <a:schemeClr val="lt1"/>
                </a:solidFill>
                <a:latin typeface="Inter Medium"/>
                <a:ea typeface="Inter Medium"/>
                <a:cs typeface="Inter Medium"/>
                <a:sym typeface="Inter Medium"/>
              </a:defRPr>
            </a:lvl1pPr>
            <a:lvl2pPr lvl="1" rtl="0">
              <a:spcBef>
                <a:spcPts val="533"/>
              </a:spcBef>
              <a:spcAft>
                <a:spcPts val="0"/>
              </a:spcAft>
              <a:buClr>
                <a:schemeClr val="lt1"/>
              </a:buClr>
              <a:buSzPts val="1200"/>
              <a:buNone/>
              <a:defRPr>
                <a:solidFill>
                  <a:schemeClr val="lt1"/>
                </a:solidFill>
              </a:defRPr>
            </a:lvl2pPr>
            <a:lvl3pPr lvl="2" rtl="0">
              <a:spcBef>
                <a:spcPts val="533"/>
              </a:spcBef>
              <a:spcAft>
                <a:spcPts val="0"/>
              </a:spcAft>
              <a:buClr>
                <a:schemeClr val="lt1"/>
              </a:buClr>
              <a:buSzPts val="1200"/>
              <a:buNone/>
              <a:defRPr>
                <a:solidFill>
                  <a:schemeClr val="lt1"/>
                </a:solidFill>
              </a:defRPr>
            </a:lvl3pPr>
            <a:lvl4pPr lvl="3" rtl="0">
              <a:spcBef>
                <a:spcPts val="533"/>
              </a:spcBef>
              <a:spcAft>
                <a:spcPts val="0"/>
              </a:spcAft>
              <a:buClr>
                <a:schemeClr val="lt1"/>
              </a:buClr>
              <a:buSzPts val="1200"/>
              <a:buNone/>
              <a:defRPr>
                <a:solidFill>
                  <a:schemeClr val="lt1"/>
                </a:solidFill>
              </a:defRPr>
            </a:lvl4pPr>
            <a:lvl5pPr lvl="4" rtl="0">
              <a:spcBef>
                <a:spcPts val="533"/>
              </a:spcBef>
              <a:spcAft>
                <a:spcPts val="0"/>
              </a:spcAft>
              <a:buClr>
                <a:schemeClr val="lt1"/>
              </a:buClr>
              <a:buSzPts val="1200"/>
              <a:buNone/>
              <a:defRPr>
                <a:solidFill>
                  <a:schemeClr val="lt1"/>
                </a:solidFill>
              </a:defRPr>
            </a:lvl5pPr>
            <a:lvl6pPr lvl="5" rtl="0">
              <a:spcBef>
                <a:spcPts val="533"/>
              </a:spcBef>
              <a:spcAft>
                <a:spcPts val="0"/>
              </a:spcAft>
              <a:buClr>
                <a:schemeClr val="lt1"/>
              </a:buClr>
              <a:buSzPts val="1200"/>
              <a:buNone/>
              <a:defRPr>
                <a:solidFill>
                  <a:schemeClr val="lt1"/>
                </a:solidFill>
              </a:defRPr>
            </a:lvl6pPr>
            <a:lvl7pPr lvl="6" rtl="0">
              <a:spcBef>
                <a:spcPts val="533"/>
              </a:spcBef>
              <a:spcAft>
                <a:spcPts val="0"/>
              </a:spcAft>
              <a:buClr>
                <a:schemeClr val="lt1"/>
              </a:buClr>
              <a:buSzPts val="1200"/>
              <a:buNone/>
              <a:defRPr>
                <a:solidFill>
                  <a:schemeClr val="lt1"/>
                </a:solidFill>
              </a:defRPr>
            </a:lvl7pPr>
            <a:lvl8pPr lvl="7" rtl="0">
              <a:spcBef>
                <a:spcPts val="533"/>
              </a:spcBef>
              <a:spcAft>
                <a:spcPts val="0"/>
              </a:spcAft>
              <a:buClr>
                <a:schemeClr val="lt1"/>
              </a:buClr>
              <a:buSzPts val="1200"/>
              <a:buNone/>
              <a:defRPr>
                <a:solidFill>
                  <a:schemeClr val="lt1"/>
                </a:solidFill>
              </a:defRPr>
            </a:lvl8pPr>
            <a:lvl9pPr lvl="8" rtl="0">
              <a:spcBef>
                <a:spcPts val="533"/>
              </a:spcBef>
              <a:spcAft>
                <a:spcPts val="0"/>
              </a:spcAft>
              <a:buClr>
                <a:schemeClr val="lt1"/>
              </a:buClr>
              <a:buSzPts val="1200"/>
              <a:buNone/>
              <a:defRPr>
                <a:solidFill>
                  <a:schemeClr val="lt1"/>
                </a:solidFill>
              </a:defRPr>
            </a:lvl9pPr>
          </a:lstStyle>
          <a:p>
            <a:endParaRPr/>
          </a:p>
        </p:txBody>
      </p:sp>
      <p:grpSp>
        <p:nvGrpSpPr>
          <p:cNvPr id="2815" name="Google Shape;2815;p67"/>
          <p:cNvGrpSpPr/>
          <p:nvPr/>
        </p:nvGrpSpPr>
        <p:grpSpPr>
          <a:xfrm>
            <a:off x="7147194" y="1435988"/>
            <a:ext cx="3739185" cy="2657459"/>
            <a:chOff x="361200" y="538650"/>
            <a:chExt cx="2645400" cy="1880100"/>
          </a:xfrm>
        </p:grpSpPr>
        <p:sp>
          <p:nvSpPr>
            <p:cNvPr id="2816" name="Google Shape;2816;p67"/>
            <p:cNvSpPr/>
            <p:nvPr/>
          </p:nvSpPr>
          <p:spPr>
            <a:xfrm>
              <a:off x="376975" y="590650"/>
              <a:ext cx="2614575" cy="1780025"/>
            </a:xfrm>
            <a:custGeom>
              <a:avLst/>
              <a:gdLst/>
              <a:ahLst/>
              <a:cxnLst/>
              <a:rect l="l" t="t" r="r" b="b"/>
              <a:pathLst>
                <a:path w="104583" h="71201" extrusionOk="0">
                  <a:moveTo>
                    <a:pt x="9676" y="71201"/>
                  </a:moveTo>
                  <a:lnTo>
                    <a:pt x="0" y="56485"/>
                  </a:lnTo>
                  <a:lnTo>
                    <a:pt x="94947" y="0"/>
                  </a:lnTo>
                  <a:lnTo>
                    <a:pt x="104583" y="14474"/>
                  </a:lnTo>
                  <a:close/>
                </a:path>
              </a:pathLst>
            </a:custGeom>
            <a:solidFill>
              <a:schemeClr val="accent2"/>
            </a:solidFill>
            <a:ln>
              <a:noFill/>
            </a:ln>
          </p:spPr>
        </p:sp>
        <p:sp>
          <p:nvSpPr>
            <p:cNvPr id="2817" name="Google Shape;2817;p67"/>
            <p:cNvSpPr/>
            <p:nvPr/>
          </p:nvSpPr>
          <p:spPr>
            <a:xfrm>
              <a:off x="589800" y="882150"/>
              <a:ext cx="2416800" cy="1536600"/>
            </a:xfrm>
            <a:prstGeom prst="roundRect">
              <a:avLst>
                <a:gd name="adj" fmla="val 7455"/>
              </a:avLst>
            </a:prstGeom>
            <a:solidFill>
              <a:schemeClr val="accent2"/>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sp>
          <p:nvSpPr>
            <p:cNvPr id="2818" name="Google Shape;2818;p67"/>
            <p:cNvSpPr/>
            <p:nvPr/>
          </p:nvSpPr>
          <p:spPr>
            <a:xfrm>
              <a:off x="361200" y="538650"/>
              <a:ext cx="2416800" cy="1536600"/>
            </a:xfrm>
            <a:prstGeom prst="roundRect">
              <a:avLst>
                <a:gd name="adj" fmla="val 7455"/>
              </a:avLst>
            </a:prstGeom>
            <a:solidFill>
              <a:schemeClr val="accent2"/>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grpSp>
      <p:grpSp>
        <p:nvGrpSpPr>
          <p:cNvPr id="2819" name="Google Shape;2819;p67"/>
          <p:cNvGrpSpPr/>
          <p:nvPr/>
        </p:nvGrpSpPr>
        <p:grpSpPr>
          <a:xfrm>
            <a:off x="7147194" y="3189081"/>
            <a:ext cx="3739185" cy="2657459"/>
            <a:chOff x="361200" y="538650"/>
            <a:chExt cx="2645400" cy="1880100"/>
          </a:xfrm>
        </p:grpSpPr>
        <p:sp>
          <p:nvSpPr>
            <p:cNvPr id="2820" name="Google Shape;2820;p67"/>
            <p:cNvSpPr/>
            <p:nvPr/>
          </p:nvSpPr>
          <p:spPr>
            <a:xfrm>
              <a:off x="376975" y="590650"/>
              <a:ext cx="2614575" cy="1780025"/>
            </a:xfrm>
            <a:custGeom>
              <a:avLst/>
              <a:gdLst/>
              <a:ahLst/>
              <a:cxnLst/>
              <a:rect l="l" t="t" r="r" b="b"/>
              <a:pathLst>
                <a:path w="104583" h="71201" extrusionOk="0">
                  <a:moveTo>
                    <a:pt x="9676" y="71201"/>
                  </a:moveTo>
                  <a:lnTo>
                    <a:pt x="0" y="56485"/>
                  </a:lnTo>
                  <a:lnTo>
                    <a:pt x="94947" y="0"/>
                  </a:lnTo>
                  <a:lnTo>
                    <a:pt x="104583" y="14474"/>
                  </a:lnTo>
                  <a:close/>
                </a:path>
              </a:pathLst>
            </a:custGeom>
            <a:solidFill>
              <a:schemeClr val="accent2"/>
            </a:solidFill>
            <a:ln>
              <a:noFill/>
            </a:ln>
          </p:spPr>
        </p:sp>
        <p:sp>
          <p:nvSpPr>
            <p:cNvPr id="2821" name="Google Shape;2821;p67"/>
            <p:cNvSpPr/>
            <p:nvPr/>
          </p:nvSpPr>
          <p:spPr>
            <a:xfrm>
              <a:off x="589800" y="882150"/>
              <a:ext cx="2416800" cy="1536600"/>
            </a:xfrm>
            <a:prstGeom prst="roundRect">
              <a:avLst>
                <a:gd name="adj" fmla="val 7455"/>
              </a:avLst>
            </a:prstGeom>
            <a:solidFill>
              <a:schemeClr val="accent2"/>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sp>
          <p:nvSpPr>
            <p:cNvPr id="2822" name="Google Shape;2822;p67"/>
            <p:cNvSpPr/>
            <p:nvPr/>
          </p:nvSpPr>
          <p:spPr>
            <a:xfrm>
              <a:off x="361200" y="538650"/>
              <a:ext cx="2416800" cy="1536600"/>
            </a:xfrm>
            <a:prstGeom prst="roundRect">
              <a:avLst>
                <a:gd name="adj" fmla="val 7455"/>
              </a:avLst>
            </a:prstGeom>
            <a:solidFill>
              <a:schemeClr val="accent2"/>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grpSp>
      <p:grpSp>
        <p:nvGrpSpPr>
          <p:cNvPr id="2823" name="Google Shape;2823;p67"/>
          <p:cNvGrpSpPr/>
          <p:nvPr/>
        </p:nvGrpSpPr>
        <p:grpSpPr>
          <a:xfrm>
            <a:off x="7267845" y="1528855"/>
            <a:ext cx="3739185" cy="2647125"/>
            <a:chOff x="361200" y="545961"/>
            <a:chExt cx="2645400" cy="1872789"/>
          </a:xfrm>
        </p:grpSpPr>
        <p:sp>
          <p:nvSpPr>
            <p:cNvPr id="2824" name="Google Shape;2824;p67"/>
            <p:cNvSpPr/>
            <p:nvPr/>
          </p:nvSpPr>
          <p:spPr>
            <a:xfrm>
              <a:off x="376975" y="590650"/>
              <a:ext cx="2614575" cy="1780025"/>
            </a:xfrm>
            <a:custGeom>
              <a:avLst/>
              <a:gdLst/>
              <a:ahLst/>
              <a:cxnLst/>
              <a:rect l="l" t="t" r="r" b="b"/>
              <a:pathLst>
                <a:path w="104583" h="71201" extrusionOk="0">
                  <a:moveTo>
                    <a:pt x="9676" y="71201"/>
                  </a:moveTo>
                  <a:lnTo>
                    <a:pt x="0" y="56485"/>
                  </a:lnTo>
                  <a:lnTo>
                    <a:pt x="94947" y="0"/>
                  </a:lnTo>
                  <a:lnTo>
                    <a:pt x="104583" y="14474"/>
                  </a:lnTo>
                  <a:close/>
                </a:path>
              </a:pathLst>
            </a:custGeom>
            <a:solidFill>
              <a:schemeClr val="accent2"/>
            </a:solidFill>
            <a:ln>
              <a:noFill/>
            </a:ln>
          </p:spPr>
        </p:sp>
        <p:sp>
          <p:nvSpPr>
            <p:cNvPr id="2825" name="Google Shape;2825;p67"/>
            <p:cNvSpPr/>
            <p:nvPr/>
          </p:nvSpPr>
          <p:spPr>
            <a:xfrm>
              <a:off x="589800" y="882150"/>
              <a:ext cx="2416800" cy="1536600"/>
            </a:xfrm>
            <a:prstGeom prst="roundRect">
              <a:avLst>
                <a:gd name="adj" fmla="val 7455"/>
              </a:avLst>
            </a:prstGeom>
            <a:solidFill>
              <a:schemeClr val="accent2"/>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sp>
          <p:nvSpPr>
            <p:cNvPr id="2826" name="Google Shape;2826;p67"/>
            <p:cNvSpPr/>
            <p:nvPr/>
          </p:nvSpPr>
          <p:spPr>
            <a:xfrm>
              <a:off x="361200" y="545961"/>
              <a:ext cx="2416800" cy="1536600"/>
            </a:xfrm>
            <a:prstGeom prst="roundRect">
              <a:avLst>
                <a:gd name="adj" fmla="val 7455"/>
              </a:avLst>
            </a:prstGeom>
            <a:solidFill>
              <a:schemeClr val="accent2"/>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grpSp>
      <p:grpSp>
        <p:nvGrpSpPr>
          <p:cNvPr id="2827" name="Google Shape;2827;p67"/>
          <p:cNvGrpSpPr/>
          <p:nvPr/>
        </p:nvGrpSpPr>
        <p:grpSpPr>
          <a:xfrm>
            <a:off x="7272513" y="3377774"/>
            <a:ext cx="3739176" cy="2657460"/>
            <a:chOff x="361206" y="538649"/>
            <a:chExt cx="2645394" cy="1880101"/>
          </a:xfrm>
        </p:grpSpPr>
        <p:sp>
          <p:nvSpPr>
            <p:cNvPr id="2828" name="Google Shape;2828;p67"/>
            <p:cNvSpPr/>
            <p:nvPr/>
          </p:nvSpPr>
          <p:spPr>
            <a:xfrm>
              <a:off x="376975" y="590650"/>
              <a:ext cx="2614575" cy="1780025"/>
            </a:xfrm>
            <a:custGeom>
              <a:avLst/>
              <a:gdLst/>
              <a:ahLst/>
              <a:cxnLst/>
              <a:rect l="l" t="t" r="r" b="b"/>
              <a:pathLst>
                <a:path w="104583" h="71201" extrusionOk="0">
                  <a:moveTo>
                    <a:pt x="9676" y="71201"/>
                  </a:moveTo>
                  <a:lnTo>
                    <a:pt x="0" y="56485"/>
                  </a:lnTo>
                  <a:lnTo>
                    <a:pt x="94947" y="0"/>
                  </a:lnTo>
                  <a:lnTo>
                    <a:pt x="104583" y="14474"/>
                  </a:lnTo>
                  <a:close/>
                </a:path>
              </a:pathLst>
            </a:custGeom>
            <a:solidFill>
              <a:schemeClr val="accent2"/>
            </a:solidFill>
            <a:ln>
              <a:noFill/>
            </a:ln>
          </p:spPr>
        </p:sp>
        <p:sp>
          <p:nvSpPr>
            <p:cNvPr id="2829" name="Google Shape;2829;p67"/>
            <p:cNvSpPr/>
            <p:nvPr/>
          </p:nvSpPr>
          <p:spPr>
            <a:xfrm>
              <a:off x="589800" y="882150"/>
              <a:ext cx="2416800" cy="1536600"/>
            </a:xfrm>
            <a:prstGeom prst="roundRect">
              <a:avLst>
                <a:gd name="adj" fmla="val 7455"/>
              </a:avLst>
            </a:prstGeom>
            <a:solidFill>
              <a:schemeClr val="accent2"/>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sp>
          <p:nvSpPr>
            <p:cNvPr id="2830" name="Google Shape;2830;p67"/>
            <p:cNvSpPr/>
            <p:nvPr/>
          </p:nvSpPr>
          <p:spPr>
            <a:xfrm>
              <a:off x="361206" y="538649"/>
              <a:ext cx="2416800" cy="223800"/>
            </a:xfrm>
            <a:prstGeom prst="roundRect">
              <a:avLst>
                <a:gd name="adj" fmla="val 7455"/>
              </a:avLst>
            </a:prstGeom>
            <a:solidFill>
              <a:schemeClr val="accent2"/>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grpSp>
      <p:sp>
        <p:nvSpPr>
          <p:cNvPr id="2831" name="Google Shape;2831;p67"/>
          <p:cNvSpPr/>
          <p:nvPr/>
        </p:nvSpPr>
        <p:spPr>
          <a:xfrm>
            <a:off x="7172867" y="5258434"/>
            <a:ext cx="642367" cy="705333"/>
          </a:xfrm>
          <a:custGeom>
            <a:avLst/>
            <a:gdLst/>
            <a:ahLst/>
            <a:cxnLst/>
            <a:rect l="l" t="t" r="r" b="b"/>
            <a:pathLst>
              <a:path w="19271" h="21160" extrusionOk="0">
                <a:moveTo>
                  <a:pt x="0" y="882"/>
                </a:moveTo>
                <a:lnTo>
                  <a:pt x="13540" y="21160"/>
                </a:lnTo>
                <a:lnTo>
                  <a:pt x="19271" y="18074"/>
                </a:lnTo>
                <a:lnTo>
                  <a:pt x="9447" y="0"/>
                </a:lnTo>
                <a:lnTo>
                  <a:pt x="567" y="378"/>
                </a:lnTo>
              </a:path>
            </a:pathLst>
          </a:custGeom>
          <a:solidFill>
            <a:schemeClr val="accent2"/>
          </a:solidFill>
          <a:ln>
            <a:noFill/>
          </a:ln>
        </p:spPr>
      </p:sp>
      <p:sp>
        <p:nvSpPr>
          <p:cNvPr id="2832" name="Google Shape;2832;p67"/>
          <p:cNvSpPr/>
          <p:nvPr/>
        </p:nvSpPr>
        <p:spPr>
          <a:xfrm rot="10800000">
            <a:off x="10296272" y="1412731"/>
            <a:ext cx="780861" cy="857403"/>
          </a:xfrm>
          <a:custGeom>
            <a:avLst/>
            <a:gdLst/>
            <a:ahLst/>
            <a:cxnLst/>
            <a:rect l="l" t="t" r="r" b="b"/>
            <a:pathLst>
              <a:path w="19271" h="21160" extrusionOk="0">
                <a:moveTo>
                  <a:pt x="0" y="882"/>
                </a:moveTo>
                <a:lnTo>
                  <a:pt x="13540" y="21160"/>
                </a:lnTo>
                <a:lnTo>
                  <a:pt x="19271" y="18074"/>
                </a:lnTo>
                <a:lnTo>
                  <a:pt x="9447" y="0"/>
                </a:lnTo>
                <a:lnTo>
                  <a:pt x="567" y="378"/>
                </a:lnTo>
              </a:path>
            </a:pathLst>
          </a:custGeom>
          <a:solidFill>
            <a:schemeClr val="accent2"/>
          </a:solidFill>
          <a:ln>
            <a:noFill/>
          </a:ln>
        </p:spPr>
      </p:sp>
      <p:grpSp>
        <p:nvGrpSpPr>
          <p:cNvPr id="2833" name="Google Shape;2833;p67"/>
          <p:cNvGrpSpPr/>
          <p:nvPr/>
        </p:nvGrpSpPr>
        <p:grpSpPr>
          <a:xfrm>
            <a:off x="7380112" y="1769822"/>
            <a:ext cx="3739185" cy="2583959"/>
            <a:chOff x="361200" y="590650"/>
            <a:chExt cx="2645400" cy="1828100"/>
          </a:xfrm>
        </p:grpSpPr>
        <p:sp>
          <p:nvSpPr>
            <p:cNvPr id="2834" name="Google Shape;2834;p67"/>
            <p:cNvSpPr/>
            <p:nvPr/>
          </p:nvSpPr>
          <p:spPr>
            <a:xfrm>
              <a:off x="376975" y="590650"/>
              <a:ext cx="2614575" cy="1780025"/>
            </a:xfrm>
            <a:custGeom>
              <a:avLst/>
              <a:gdLst/>
              <a:ahLst/>
              <a:cxnLst/>
              <a:rect l="l" t="t" r="r" b="b"/>
              <a:pathLst>
                <a:path w="104583" h="71201" extrusionOk="0">
                  <a:moveTo>
                    <a:pt x="9676" y="71201"/>
                  </a:moveTo>
                  <a:lnTo>
                    <a:pt x="0" y="56485"/>
                  </a:lnTo>
                  <a:lnTo>
                    <a:pt x="94947" y="0"/>
                  </a:lnTo>
                  <a:lnTo>
                    <a:pt x="104583" y="14474"/>
                  </a:lnTo>
                  <a:close/>
                </a:path>
              </a:pathLst>
            </a:custGeom>
            <a:solidFill>
              <a:schemeClr val="accent2"/>
            </a:solidFill>
            <a:ln>
              <a:noFill/>
            </a:ln>
          </p:spPr>
        </p:sp>
        <p:sp>
          <p:nvSpPr>
            <p:cNvPr id="2835" name="Google Shape;2835;p67"/>
            <p:cNvSpPr/>
            <p:nvPr/>
          </p:nvSpPr>
          <p:spPr>
            <a:xfrm>
              <a:off x="589800" y="882150"/>
              <a:ext cx="2416800" cy="1536600"/>
            </a:xfrm>
            <a:prstGeom prst="roundRect">
              <a:avLst>
                <a:gd name="adj" fmla="val 7455"/>
              </a:avLst>
            </a:prstGeom>
            <a:solidFill>
              <a:schemeClr val="accent2"/>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sp>
          <p:nvSpPr>
            <p:cNvPr id="2836" name="Google Shape;2836;p67"/>
            <p:cNvSpPr/>
            <p:nvPr/>
          </p:nvSpPr>
          <p:spPr>
            <a:xfrm>
              <a:off x="361200" y="682410"/>
              <a:ext cx="2416800" cy="1536600"/>
            </a:xfrm>
            <a:prstGeom prst="roundRect">
              <a:avLst>
                <a:gd name="adj" fmla="val 7455"/>
              </a:avLst>
            </a:prstGeom>
            <a:solidFill>
              <a:schemeClr val="accent2"/>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grpSp>
      <p:grpSp>
        <p:nvGrpSpPr>
          <p:cNvPr id="2837" name="Google Shape;2837;p67"/>
          <p:cNvGrpSpPr/>
          <p:nvPr/>
        </p:nvGrpSpPr>
        <p:grpSpPr>
          <a:xfrm>
            <a:off x="7384780" y="3377774"/>
            <a:ext cx="3739176" cy="2657460"/>
            <a:chOff x="361206" y="538649"/>
            <a:chExt cx="2645394" cy="1880101"/>
          </a:xfrm>
        </p:grpSpPr>
        <p:sp>
          <p:nvSpPr>
            <p:cNvPr id="2838" name="Google Shape;2838;p67"/>
            <p:cNvSpPr/>
            <p:nvPr/>
          </p:nvSpPr>
          <p:spPr>
            <a:xfrm>
              <a:off x="376975" y="590650"/>
              <a:ext cx="2614575" cy="1780025"/>
            </a:xfrm>
            <a:custGeom>
              <a:avLst/>
              <a:gdLst/>
              <a:ahLst/>
              <a:cxnLst/>
              <a:rect l="l" t="t" r="r" b="b"/>
              <a:pathLst>
                <a:path w="104583" h="71201" extrusionOk="0">
                  <a:moveTo>
                    <a:pt x="9676" y="71201"/>
                  </a:moveTo>
                  <a:lnTo>
                    <a:pt x="0" y="56485"/>
                  </a:lnTo>
                  <a:lnTo>
                    <a:pt x="94947" y="0"/>
                  </a:lnTo>
                  <a:lnTo>
                    <a:pt x="104583" y="14474"/>
                  </a:lnTo>
                  <a:close/>
                </a:path>
              </a:pathLst>
            </a:custGeom>
            <a:solidFill>
              <a:schemeClr val="accent2"/>
            </a:solidFill>
            <a:ln>
              <a:noFill/>
            </a:ln>
          </p:spPr>
        </p:sp>
        <p:sp>
          <p:nvSpPr>
            <p:cNvPr id="2839" name="Google Shape;2839;p67"/>
            <p:cNvSpPr/>
            <p:nvPr/>
          </p:nvSpPr>
          <p:spPr>
            <a:xfrm>
              <a:off x="589800" y="882150"/>
              <a:ext cx="2416800" cy="1536600"/>
            </a:xfrm>
            <a:prstGeom prst="roundRect">
              <a:avLst>
                <a:gd name="adj" fmla="val 7455"/>
              </a:avLst>
            </a:prstGeom>
            <a:solidFill>
              <a:schemeClr val="accent2"/>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sp>
          <p:nvSpPr>
            <p:cNvPr id="2840" name="Google Shape;2840;p67"/>
            <p:cNvSpPr/>
            <p:nvPr/>
          </p:nvSpPr>
          <p:spPr>
            <a:xfrm>
              <a:off x="361206" y="538649"/>
              <a:ext cx="2416800" cy="223800"/>
            </a:xfrm>
            <a:prstGeom prst="roundRect">
              <a:avLst>
                <a:gd name="adj" fmla="val 7455"/>
              </a:avLst>
            </a:prstGeom>
            <a:solidFill>
              <a:schemeClr val="accent2"/>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2400">
                <a:latin typeface="Inter"/>
                <a:ea typeface="Inter"/>
                <a:cs typeface="Inter"/>
                <a:sym typeface="Inter"/>
              </a:endParaRPr>
            </a:p>
          </p:txBody>
        </p:sp>
      </p:grpSp>
      <p:sp>
        <p:nvSpPr>
          <p:cNvPr id="2841" name="Google Shape;2841;p67"/>
          <p:cNvSpPr>
            <a:spLocks noGrp="1"/>
          </p:cNvSpPr>
          <p:nvPr>
            <p:ph type="pic" idx="2"/>
          </p:nvPr>
        </p:nvSpPr>
        <p:spPr>
          <a:xfrm>
            <a:off x="7147200" y="1334400"/>
            <a:ext cx="3416000" cy="4032000"/>
          </a:xfrm>
          <a:prstGeom prst="roundRect">
            <a:avLst>
              <a:gd name="adj" fmla="val 5078"/>
            </a:avLst>
          </a:prstGeom>
          <a:noFill/>
          <a:ln>
            <a:noFill/>
          </a:ln>
        </p:spPr>
      </p:sp>
      <p:sp>
        <p:nvSpPr>
          <p:cNvPr id="2842" name="Google Shape;2842;p67"/>
          <p:cNvSpPr txBox="1">
            <a:spLocks noGrp="1"/>
          </p:cNvSpPr>
          <p:nvPr>
            <p:ph type="subTitle" idx="3"/>
          </p:nvPr>
        </p:nvSpPr>
        <p:spPr>
          <a:xfrm>
            <a:off x="571500" y="3988800"/>
            <a:ext cx="2502000" cy="705200"/>
          </a:xfrm>
          <a:prstGeom prst="rect">
            <a:avLst/>
          </a:prstGeom>
        </p:spPr>
        <p:txBody>
          <a:bodyPr spcFirstLastPara="1" wrap="square" lIns="0" tIns="34275" rIns="68575" bIns="34275" anchor="t" anchorCtr="0">
            <a:normAutofit/>
          </a:bodyPr>
          <a:lstStyle>
            <a:lvl1pPr lvl="0" rtl="0">
              <a:spcBef>
                <a:spcPts val="0"/>
              </a:spcBef>
              <a:spcAft>
                <a:spcPts val="0"/>
              </a:spcAft>
              <a:buClr>
                <a:schemeClr val="lt1"/>
              </a:buClr>
              <a:buSzPts val="1200"/>
              <a:buNone/>
              <a:defRPr sz="1867">
                <a:solidFill>
                  <a:schemeClr val="lt1"/>
                </a:solidFill>
              </a:defRPr>
            </a:lvl1pPr>
            <a:lvl2pPr lvl="1" rtl="0">
              <a:spcBef>
                <a:spcPts val="533"/>
              </a:spcBef>
              <a:spcAft>
                <a:spcPts val="0"/>
              </a:spcAft>
              <a:buSzPts val="1200"/>
              <a:buNone/>
              <a:defRPr/>
            </a:lvl2pPr>
            <a:lvl3pPr lvl="2" rtl="0">
              <a:spcBef>
                <a:spcPts val="533"/>
              </a:spcBef>
              <a:spcAft>
                <a:spcPts val="0"/>
              </a:spcAft>
              <a:buSzPts val="1200"/>
              <a:buNone/>
              <a:defRPr/>
            </a:lvl3pPr>
            <a:lvl4pPr lvl="3" rtl="0">
              <a:spcBef>
                <a:spcPts val="533"/>
              </a:spcBef>
              <a:spcAft>
                <a:spcPts val="0"/>
              </a:spcAft>
              <a:buSzPts val="1200"/>
              <a:buNone/>
              <a:defRPr/>
            </a:lvl4pPr>
            <a:lvl5pPr lvl="4" rtl="0">
              <a:spcBef>
                <a:spcPts val="533"/>
              </a:spcBef>
              <a:spcAft>
                <a:spcPts val="0"/>
              </a:spcAft>
              <a:buSzPts val="1200"/>
              <a:buNone/>
              <a:defRPr/>
            </a:lvl5pPr>
            <a:lvl6pPr lvl="5" rtl="0">
              <a:spcBef>
                <a:spcPts val="533"/>
              </a:spcBef>
              <a:spcAft>
                <a:spcPts val="0"/>
              </a:spcAft>
              <a:buSzPts val="1200"/>
              <a:buNone/>
              <a:defRPr/>
            </a:lvl6pPr>
            <a:lvl7pPr lvl="6" rtl="0">
              <a:spcBef>
                <a:spcPts val="533"/>
              </a:spcBef>
              <a:spcAft>
                <a:spcPts val="0"/>
              </a:spcAft>
              <a:buSzPts val="1200"/>
              <a:buNone/>
              <a:defRPr/>
            </a:lvl7pPr>
            <a:lvl8pPr lvl="7" rtl="0">
              <a:spcBef>
                <a:spcPts val="533"/>
              </a:spcBef>
              <a:spcAft>
                <a:spcPts val="0"/>
              </a:spcAft>
              <a:buSzPts val="1200"/>
              <a:buNone/>
              <a:defRPr/>
            </a:lvl8pPr>
            <a:lvl9pPr lvl="8" rtl="0">
              <a:spcBef>
                <a:spcPts val="533"/>
              </a:spcBef>
              <a:spcAft>
                <a:spcPts val="0"/>
              </a:spcAft>
              <a:buSzPts val="1200"/>
              <a:buNone/>
              <a:defRPr/>
            </a:lvl9pPr>
          </a:lstStyle>
          <a:p>
            <a:endParaRPr/>
          </a:p>
        </p:txBody>
      </p:sp>
      <p:grpSp>
        <p:nvGrpSpPr>
          <p:cNvPr id="2843" name="Google Shape;2843;p67"/>
          <p:cNvGrpSpPr/>
          <p:nvPr/>
        </p:nvGrpSpPr>
        <p:grpSpPr>
          <a:xfrm>
            <a:off x="-1519495" y="5113322"/>
            <a:ext cx="7536561" cy="8485585"/>
            <a:chOff x="3534441" y="-879534"/>
            <a:chExt cx="5652421" cy="6364189"/>
          </a:xfrm>
        </p:grpSpPr>
        <p:sp>
          <p:nvSpPr>
            <p:cNvPr id="2844" name="Google Shape;2844;p67"/>
            <p:cNvSpPr/>
            <p:nvPr/>
          </p:nvSpPr>
          <p:spPr>
            <a:xfrm>
              <a:off x="3534441" y="-380259"/>
              <a:ext cx="1700689" cy="5167789"/>
            </a:xfrm>
            <a:custGeom>
              <a:avLst/>
              <a:gdLst/>
              <a:ahLst/>
              <a:cxnLst/>
              <a:rect l="l" t="t" r="r" b="b"/>
              <a:pathLst>
                <a:path w="2267585" h="6890385" extrusionOk="0">
                  <a:moveTo>
                    <a:pt x="224790" y="6890385"/>
                  </a:moveTo>
                  <a:lnTo>
                    <a:pt x="2267585" y="0"/>
                  </a:lnTo>
                  <a:lnTo>
                    <a:pt x="2042795" y="0"/>
                  </a:lnTo>
                  <a:lnTo>
                    <a:pt x="0" y="689038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845" name="Google Shape;2845;p67"/>
            <p:cNvSpPr/>
            <p:nvPr/>
          </p:nvSpPr>
          <p:spPr>
            <a:xfrm>
              <a:off x="4097549" y="-879534"/>
              <a:ext cx="1694497" cy="5167789"/>
            </a:xfrm>
            <a:custGeom>
              <a:avLst/>
              <a:gdLst/>
              <a:ahLst/>
              <a:cxnLst/>
              <a:rect l="l" t="t" r="r" b="b"/>
              <a:pathLst>
                <a:path w="2259329" h="6890385" extrusionOk="0">
                  <a:moveTo>
                    <a:pt x="224790" y="6890385"/>
                  </a:moveTo>
                  <a:lnTo>
                    <a:pt x="2259330" y="0"/>
                  </a:lnTo>
                  <a:lnTo>
                    <a:pt x="2034540" y="0"/>
                  </a:lnTo>
                  <a:lnTo>
                    <a:pt x="0" y="689038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846" name="Google Shape;2846;p67"/>
            <p:cNvSpPr/>
            <p:nvPr/>
          </p:nvSpPr>
          <p:spPr>
            <a:xfrm>
              <a:off x="4399843" y="-446196"/>
              <a:ext cx="1657826" cy="5167789"/>
            </a:xfrm>
            <a:custGeom>
              <a:avLst/>
              <a:gdLst/>
              <a:ahLst/>
              <a:cxnLst/>
              <a:rect l="l" t="t" r="r" b="b"/>
              <a:pathLst>
                <a:path w="2210434" h="6890385" extrusionOk="0">
                  <a:moveTo>
                    <a:pt x="224155" y="6890385"/>
                  </a:moveTo>
                  <a:lnTo>
                    <a:pt x="2210435" y="0"/>
                  </a:lnTo>
                  <a:lnTo>
                    <a:pt x="1986280" y="0"/>
                  </a:lnTo>
                  <a:lnTo>
                    <a:pt x="0" y="689038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847" name="Google Shape;2847;p67"/>
            <p:cNvSpPr/>
            <p:nvPr/>
          </p:nvSpPr>
          <p:spPr>
            <a:xfrm>
              <a:off x="4904499" y="-728809"/>
              <a:ext cx="1749265" cy="5167789"/>
            </a:xfrm>
            <a:custGeom>
              <a:avLst/>
              <a:gdLst/>
              <a:ahLst/>
              <a:cxnLst/>
              <a:rect l="l" t="t" r="r" b="b"/>
              <a:pathLst>
                <a:path w="2332354" h="6890385" extrusionOk="0">
                  <a:moveTo>
                    <a:pt x="225425" y="6890385"/>
                  </a:moveTo>
                  <a:lnTo>
                    <a:pt x="2332355" y="0"/>
                  </a:lnTo>
                  <a:lnTo>
                    <a:pt x="2106930" y="0"/>
                  </a:lnTo>
                  <a:lnTo>
                    <a:pt x="0" y="689038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848" name="Google Shape;2848;p67"/>
            <p:cNvSpPr/>
            <p:nvPr/>
          </p:nvSpPr>
          <p:spPr>
            <a:xfrm>
              <a:off x="5385231" y="-446196"/>
              <a:ext cx="1724977" cy="5167789"/>
            </a:xfrm>
            <a:custGeom>
              <a:avLst/>
              <a:gdLst/>
              <a:ahLst/>
              <a:cxnLst/>
              <a:rect l="l" t="t" r="r" b="b"/>
              <a:pathLst>
                <a:path w="2299969" h="6890385" extrusionOk="0">
                  <a:moveTo>
                    <a:pt x="225425" y="6890385"/>
                  </a:moveTo>
                  <a:lnTo>
                    <a:pt x="2299970" y="0"/>
                  </a:lnTo>
                  <a:lnTo>
                    <a:pt x="2074545" y="0"/>
                  </a:lnTo>
                  <a:lnTo>
                    <a:pt x="0" y="689038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849" name="Google Shape;2849;p67"/>
            <p:cNvSpPr/>
            <p:nvPr/>
          </p:nvSpPr>
          <p:spPr>
            <a:xfrm>
              <a:off x="5649963" y="316866"/>
              <a:ext cx="1719738" cy="5167789"/>
            </a:xfrm>
            <a:custGeom>
              <a:avLst/>
              <a:gdLst/>
              <a:ahLst/>
              <a:cxnLst/>
              <a:rect l="l" t="t" r="r" b="b"/>
              <a:pathLst>
                <a:path w="2292984" h="6890385" extrusionOk="0">
                  <a:moveTo>
                    <a:pt x="225425" y="6890385"/>
                  </a:moveTo>
                  <a:lnTo>
                    <a:pt x="2292985" y="0"/>
                  </a:lnTo>
                  <a:lnTo>
                    <a:pt x="2067560" y="0"/>
                  </a:lnTo>
                  <a:lnTo>
                    <a:pt x="0" y="689038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850" name="Google Shape;2850;p67"/>
            <p:cNvSpPr/>
            <p:nvPr/>
          </p:nvSpPr>
          <p:spPr>
            <a:xfrm>
              <a:off x="6457002" y="-634609"/>
              <a:ext cx="1716881" cy="5167789"/>
            </a:xfrm>
            <a:custGeom>
              <a:avLst/>
              <a:gdLst/>
              <a:ahLst/>
              <a:cxnLst/>
              <a:rect l="l" t="t" r="r" b="b"/>
              <a:pathLst>
                <a:path w="2289175" h="6890385" extrusionOk="0">
                  <a:moveTo>
                    <a:pt x="224790" y="6890385"/>
                  </a:moveTo>
                  <a:lnTo>
                    <a:pt x="2289175" y="0"/>
                  </a:lnTo>
                  <a:lnTo>
                    <a:pt x="2064386" y="0"/>
                  </a:lnTo>
                  <a:lnTo>
                    <a:pt x="0" y="689038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851" name="Google Shape;2851;p67"/>
            <p:cNvSpPr/>
            <p:nvPr/>
          </p:nvSpPr>
          <p:spPr>
            <a:xfrm>
              <a:off x="6907518" y="-154184"/>
              <a:ext cx="1715928" cy="5167789"/>
            </a:xfrm>
            <a:custGeom>
              <a:avLst/>
              <a:gdLst/>
              <a:ahLst/>
              <a:cxnLst/>
              <a:rect l="l" t="t" r="r" b="b"/>
              <a:pathLst>
                <a:path w="2287904" h="6890385" extrusionOk="0">
                  <a:moveTo>
                    <a:pt x="225425" y="6890385"/>
                  </a:moveTo>
                  <a:lnTo>
                    <a:pt x="2287905" y="0"/>
                  </a:lnTo>
                  <a:lnTo>
                    <a:pt x="2063115" y="0"/>
                  </a:lnTo>
                  <a:lnTo>
                    <a:pt x="0" y="689038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852" name="Google Shape;2852;p67"/>
            <p:cNvSpPr/>
            <p:nvPr/>
          </p:nvSpPr>
          <p:spPr>
            <a:xfrm>
              <a:off x="8712041" y="3568065"/>
              <a:ext cx="474821" cy="1586865"/>
            </a:xfrm>
            <a:custGeom>
              <a:avLst/>
              <a:gdLst/>
              <a:ahLst/>
              <a:cxnLst/>
              <a:rect l="l" t="t" r="r" b="b"/>
              <a:pathLst>
                <a:path w="633094" h="2115820" extrusionOk="0">
                  <a:moveTo>
                    <a:pt x="224789" y="2115820"/>
                  </a:moveTo>
                  <a:lnTo>
                    <a:pt x="633095" y="752475"/>
                  </a:lnTo>
                  <a:lnTo>
                    <a:pt x="633095" y="0"/>
                  </a:lnTo>
                  <a:lnTo>
                    <a:pt x="0" y="211582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grpSp>
    </p:spTree>
    <p:extLst>
      <p:ext uri="{BB962C8B-B14F-4D97-AF65-F5344CB8AC3E}">
        <p14:creationId xmlns:p14="http://schemas.microsoft.com/office/powerpoint/2010/main" val="58041580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matchingName="Thank You 1">
  <p:cSld name="Thank You 1">
    <p:bg>
      <p:bgPr>
        <a:solidFill>
          <a:schemeClr val="dk2"/>
        </a:solidFill>
        <a:effectLst/>
      </p:bgPr>
    </p:bg>
    <p:spTree>
      <p:nvGrpSpPr>
        <p:cNvPr id="1" name="Shape 2853"/>
        <p:cNvGrpSpPr/>
        <p:nvPr/>
      </p:nvGrpSpPr>
      <p:grpSpPr>
        <a:xfrm>
          <a:off x="0" y="0"/>
          <a:ext cx="0" cy="0"/>
          <a:chOff x="0" y="0"/>
          <a:chExt cx="0" cy="0"/>
        </a:xfrm>
      </p:grpSpPr>
      <p:sp>
        <p:nvSpPr>
          <p:cNvPr id="2854" name="Google Shape;2854;p68"/>
          <p:cNvSpPr/>
          <p:nvPr/>
        </p:nvSpPr>
        <p:spPr>
          <a:xfrm>
            <a:off x="481601" y="414630"/>
            <a:ext cx="349111" cy="305471"/>
          </a:xfrm>
          <a:custGeom>
            <a:avLst/>
            <a:gdLst/>
            <a:ahLst/>
            <a:cxnLst/>
            <a:rect l="l" t="t" r="r" b="b"/>
            <a:pathLst>
              <a:path w="1586865" h="1388506" extrusionOk="0">
                <a:moveTo>
                  <a:pt x="1083683" y="969931"/>
                </a:moveTo>
                <a:lnTo>
                  <a:pt x="1083683" y="579692"/>
                </a:lnTo>
                <a:lnTo>
                  <a:pt x="849297" y="969931"/>
                </a:lnTo>
                <a:lnTo>
                  <a:pt x="848892" y="969931"/>
                </a:lnTo>
                <a:cubicBezTo>
                  <a:pt x="848892" y="969931"/>
                  <a:pt x="848892" y="969931"/>
                  <a:pt x="848892" y="969931"/>
                </a:cubicBezTo>
                <a:lnTo>
                  <a:pt x="738783" y="969931"/>
                </a:lnTo>
                <a:lnTo>
                  <a:pt x="738783" y="577668"/>
                </a:lnTo>
                <a:lnTo>
                  <a:pt x="549735" y="892612"/>
                </a:lnTo>
                <a:cubicBezTo>
                  <a:pt x="527876" y="929449"/>
                  <a:pt x="510873" y="958191"/>
                  <a:pt x="503992" y="969931"/>
                </a:cubicBezTo>
                <a:lnTo>
                  <a:pt x="393073" y="969931"/>
                </a:lnTo>
                <a:lnTo>
                  <a:pt x="393073" y="418576"/>
                </a:lnTo>
                <a:lnTo>
                  <a:pt x="503992" y="418576"/>
                </a:lnTo>
                <a:lnTo>
                  <a:pt x="502777" y="760643"/>
                </a:lnTo>
                <a:lnTo>
                  <a:pt x="503587" y="782098"/>
                </a:lnTo>
                <a:lnTo>
                  <a:pt x="721781" y="418981"/>
                </a:lnTo>
                <a:lnTo>
                  <a:pt x="721781" y="418981"/>
                </a:lnTo>
                <a:lnTo>
                  <a:pt x="721781" y="418981"/>
                </a:lnTo>
                <a:lnTo>
                  <a:pt x="739188" y="418981"/>
                </a:lnTo>
                <a:lnTo>
                  <a:pt x="847678" y="418981"/>
                </a:lnTo>
                <a:cubicBezTo>
                  <a:pt x="847678" y="418981"/>
                  <a:pt x="848487" y="722995"/>
                  <a:pt x="848892" y="783717"/>
                </a:cubicBezTo>
                <a:lnTo>
                  <a:pt x="1067895" y="418981"/>
                </a:lnTo>
                <a:lnTo>
                  <a:pt x="1067895" y="418981"/>
                </a:lnTo>
                <a:lnTo>
                  <a:pt x="1067895" y="418981"/>
                </a:lnTo>
                <a:lnTo>
                  <a:pt x="1085302" y="418981"/>
                </a:lnTo>
                <a:lnTo>
                  <a:pt x="1193387" y="418981"/>
                </a:lnTo>
                <a:lnTo>
                  <a:pt x="1193387" y="970336"/>
                </a:lnTo>
                <a:lnTo>
                  <a:pt x="1083683" y="970336"/>
                </a:lnTo>
                <a:close/>
                <a:moveTo>
                  <a:pt x="1190149" y="0"/>
                </a:moveTo>
                <a:lnTo>
                  <a:pt x="396716" y="0"/>
                </a:lnTo>
                <a:lnTo>
                  <a:pt x="0" y="694253"/>
                </a:lnTo>
                <a:lnTo>
                  <a:pt x="396716" y="1388507"/>
                </a:lnTo>
                <a:lnTo>
                  <a:pt x="1190149" y="1388507"/>
                </a:lnTo>
                <a:lnTo>
                  <a:pt x="1586865" y="694253"/>
                </a:lnTo>
                <a:lnTo>
                  <a:pt x="1190149" y="0"/>
                </a:lnTo>
                <a:close/>
              </a:path>
            </a:pathLst>
          </a:custGeom>
          <a:solidFill>
            <a:schemeClr val="lt1"/>
          </a:solidFill>
          <a:ln>
            <a:noFill/>
          </a:ln>
        </p:spPr>
        <p:txBody>
          <a:bodyPr spcFirstLastPara="1" wrap="square" lIns="91433" tIns="45700" rIns="91433" bIns="45700"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855" name="Google Shape;2855;p68"/>
          <p:cNvSpPr txBox="1"/>
          <p:nvPr/>
        </p:nvSpPr>
        <p:spPr>
          <a:xfrm>
            <a:off x="5451800" y="6245247"/>
            <a:ext cx="1288400" cy="273200"/>
          </a:xfrm>
          <a:prstGeom prst="rect">
            <a:avLst/>
          </a:prstGeom>
          <a:noFill/>
          <a:ln>
            <a:noFill/>
          </a:ln>
        </p:spPr>
        <p:txBody>
          <a:bodyPr spcFirstLastPara="1" wrap="square" lIns="0" tIns="0" rIns="0" bIns="0" anchor="b" anchorCtr="0">
            <a:noAutofit/>
          </a:bodyPr>
          <a:lstStyle/>
          <a:p>
            <a:pPr marL="0" lvl="0" indent="0" algn="ctr" rtl="0">
              <a:spcBef>
                <a:spcPts val="0"/>
              </a:spcBef>
              <a:spcAft>
                <a:spcPts val="0"/>
              </a:spcAft>
              <a:buNone/>
            </a:pPr>
            <a:r>
              <a:rPr lang="en-GB" sz="667">
                <a:solidFill>
                  <a:schemeClr val="lt1"/>
                </a:solidFill>
                <a:latin typeface="Inter"/>
                <a:ea typeface="Inter"/>
                <a:cs typeface="Inter"/>
                <a:sym typeface="Inter"/>
              </a:rPr>
              <a:t>Private and Confidential</a:t>
            </a:r>
            <a:endParaRPr sz="667">
              <a:solidFill>
                <a:schemeClr val="lt1"/>
              </a:solidFill>
              <a:latin typeface="Inter"/>
              <a:ea typeface="Inter"/>
              <a:cs typeface="Inter"/>
              <a:sym typeface="Inter"/>
            </a:endParaRPr>
          </a:p>
        </p:txBody>
      </p:sp>
      <p:sp>
        <p:nvSpPr>
          <p:cNvPr id="2856" name="Google Shape;2856;p68"/>
          <p:cNvSpPr txBox="1">
            <a:spLocks noGrp="1"/>
          </p:cNvSpPr>
          <p:nvPr>
            <p:ph type="subTitle" idx="1"/>
          </p:nvPr>
        </p:nvSpPr>
        <p:spPr>
          <a:xfrm>
            <a:off x="481600" y="2309467"/>
            <a:ext cx="7672000" cy="1612800"/>
          </a:xfrm>
          <a:prstGeom prst="rect">
            <a:avLst/>
          </a:prstGeom>
        </p:spPr>
        <p:txBody>
          <a:bodyPr spcFirstLastPara="1" wrap="square" lIns="0" tIns="34275" rIns="68575" bIns="34275" anchor="t" anchorCtr="0">
            <a:normAutofit/>
          </a:bodyPr>
          <a:lstStyle>
            <a:lvl1pPr lvl="0" rtl="0">
              <a:spcBef>
                <a:spcPts val="1067"/>
              </a:spcBef>
              <a:spcAft>
                <a:spcPts val="0"/>
              </a:spcAft>
              <a:buClr>
                <a:schemeClr val="lt1"/>
              </a:buClr>
              <a:buSzPts val="4600"/>
              <a:buFont typeface="Inter Medium"/>
              <a:buNone/>
              <a:defRPr sz="6133">
                <a:solidFill>
                  <a:schemeClr val="lt1"/>
                </a:solidFill>
                <a:latin typeface="Inter Medium"/>
                <a:ea typeface="Inter Medium"/>
                <a:cs typeface="Inter Medium"/>
                <a:sym typeface="Inter Medium"/>
              </a:defRPr>
            </a:lvl1pPr>
            <a:lvl2pPr lvl="1" rtl="0">
              <a:spcBef>
                <a:spcPts val="533"/>
              </a:spcBef>
              <a:spcAft>
                <a:spcPts val="0"/>
              </a:spcAft>
              <a:buClr>
                <a:schemeClr val="lt1"/>
              </a:buClr>
              <a:buSzPts val="1200"/>
              <a:buNone/>
              <a:defRPr>
                <a:solidFill>
                  <a:schemeClr val="lt1"/>
                </a:solidFill>
              </a:defRPr>
            </a:lvl2pPr>
            <a:lvl3pPr lvl="2" rtl="0">
              <a:spcBef>
                <a:spcPts val="533"/>
              </a:spcBef>
              <a:spcAft>
                <a:spcPts val="0"/>
              </a:spcAft>
              <a:buClr>
                <a:schemeClr val="lt1"/>
              </a:buClr>
              <a:buSzPts val="1200"/>
              <a:buNone/>
              <a:defRPr>
                <a:solidFill>
                  <a:schemeClr val="lt1"/>
                </a:solidFill>
              </a:defRPr>
            </a:lvl3pPr>
            <a:lvl4pPr lvl="3" rtl="0">
              <a:spcBef>
                <a:spcPts val="533"/>
              </a:spcBef>
              <a:spcAft>
                <a:spcPts val="0"/>
              </a:spcAft>
              <a:buClr>
                <a:schemeClr val="lt1"/>
              </a:buClr>
              <a:buSzPts val="1200"/>
              <a:buNone/>
              <a:defRPr>
                <a:solidFill>
                  <a:schemeClr val="lt1"/>
                </a:solidFill>
              </a:defRPr>
            </a:lvl4pPr>
            <a:lvl5pPr lvl="4" rtl="0">
              <a:spcBef>
                <a:spcPts val="533"/>
              </a:spcBef>
              <a:spcAft>
                <a:spcPts val="0"/>
              </a:spcAft>
              <a:buClr>
                <a:schemeClr val="lt1"/>
              </a:buClr>
              <a:buSzPts val="1200"/>
              <a:buNone/>
              <a:defRPr>
                <a:solidFill>
                  <a:schemeClr val="lt1"/>
                </a:solidFill>
              </a:defRPr>
            </a:lvl5pPr>
            <a:lvl6pPr lvl="5" rtl="0">
              <a:spcBef>
                <a:spcPts val="533"/>
              </a:spcBef>
              <a:spcAft>
                <a:spcPts val="0"/>
              </a:spcAft>
              <a:buClr>
                <a:schemeClr val="lt1"/>
              </a:buClr>
              <a:buSzPts val="1200"/>
              <a:buNone/>
              <a:defRPr>
                <a:solidFill>
                  <a:schemeClr val="lt1"/>
                </a:solidFill>
              </a:defRPr>
            </a:lvl6pPr>
            <a:lvl7pPr lvl="6" rtl="0">
              <a:spcBef>
                <a:spcPts val="533"/>
              </a:spcBef>
              <a:spcAft>
                <a:spcPts val="0"/>
              </a:spcAft>
              <a:buClr>
                <a:schemeClr val="lt1"/>
              </a:buClr>
              <a:buSzPts val="1200"/>
              <a:buNone/>
              <a:defRPr>
                <a:solidFill>
                  <a:schemeClr val="lt1"/>
                </a:solidFill>
              </a:defRPr>
            </a:lvl7pPr>
            <a:lvl8pPr lvl="7" rtl="0">
              <a:spcBef>
                <a:spcPts val="533"/>
              </a:spcBef>
              <a:spcAft>
                <a:spcPts val="0"/>
              </a:spcAft>
              <a:buClr>
                <a:schemeClr val="lt1"/>
              </a:buClr>
              <a:buSzPts val="1200"/>
              <a:buNone/>
              <a:defRPr>
                <a:solidFill>
                  <a:schemeClr val="lt1"/>
                </a:solidFill>
              </a:defRPr>
            </a:lvl8pPr>
            <a:lvl9pPr lvl="8" rtl="0">
              <a:spcBef>
                <a:spcPts val="533"/>
              </a:spcBef>
              <a:spcAft>
                <a:spcPts val="0"/>
              </a:spcAft>
              <a:buClr>
                <a:schemeClr val="lt1"/>
              </a:buClr>
              <a:buSzPts val="1200"/>
              <a:buNone/>
              <a:defRPr>
                <a:solidFill>
                  <a:schemeClr val="lt1"/>
                </a:solidFill>
              </a:defRPr>
            </a:lvl9pPr>
          </a:lstStyle>
          <a:p>
            <a:endParaRPr/>
          </a:p>
        </p:txBody>
      </p:sp>
      <p:grpSp>
        <p:nvGrpSpPr>
          <p:cNvPr id="2857" name="Google Shape;2857;p68"/>
          <p:cNvGrpSpPr/>
          <p:nvPr/>
        </p:nvGrpSpPr>
        <p:grpSpPr>
          <a:xfrm>
            <a:off x="6069223" y="-150909"/>
            <a:ext cx="6727163" cy="7111292"/>
            <a:chOff x="6503034" y="5103495"/>
            <a:chExt cx="1144906" cy="1210309"/>
          </a:xfrm>
        </p:grpSpPr>
        <p:sp>
          <p:nvSpPr>
            <p:cNvPr id="2858" name="Google Shape;2858;p68"/>
            <p:cNvSpPr/>
            <p:nvPr/>
          </p:nvSpPr>
          <p:spPr>
            <a:xfrm>
              <a:off x="7146290" y="6132195"/>
              <a:ext cx="300989" cy="172720"/>
            </a:xfrm>
            <a:custGeom>
              <a:avLst/>
              <a:gdLst/>
              <a:ahLst/>
              <a:cxnLst/>
              <a:rect l="l" t="t" r="r" b="b"/>
              <a:pathLst>
                <a:path w="300989" h="172720" extrusionOk="0">
                  <a:moveTo>
                    <a:pt x="272415" y="6985"/>
                  </a:moveTo>
                  <a:lnTo>
                    <a:pt x="13970" y="137795"/>
                  </a:lnTo>
                  <a:lnTo>
                    <a:pt x="0" y="144780"/>
                  </a:lnTo>
                  <a:lnTo>
                    <a:pt x="13970" y="172720"/>
                  </a:lnTo>
                  <a:lnTo>
                    <a:pt x="28575" y="165735"/>
                  </a:lnTo>
                  <a:lnTo>
                    <a:pt x="287020" y="35560"/>
                  </a:lnTo>
                  <a:lnTo>
                    <a:pt x="300990" y="27940"/>
                  </a:lnTo>
                  <a:lnTo>
                    <a:pt x="28702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rgbClr val="000000"/>
                </a:solidFill>
                <a:latin typeface="Calibri"/>
                <a:ea typeface="Calibri"/>
                <a:cs typeface="Calibri"/>
                <a:sym typeface="Calibri"/>
              </a:endParaRPr>
            </a:p>
          </p:txBody>
        </p:sp>
        <p:sp>
          <p:nvSpPr>
            <p:cNvPr id="2859" name="Google Shape;2859;p68"/>
            <p:cNvSpPr/>
            <p:nvPr/>
          </p:nvSpPr>
          <p:spPr>
            <a:xfrm>
              <a:off x="7346315" y="5617209"/>
              <a:ext cx="301625" cy="190500"/>
            </a:xfrm>
            <a:custGeom>
              <a:avLst/>
              <a:gdLst/>
              <a:ahLst/>
              <a:cxnLst/>
              <a:rect l="l" t="t" r="r" b="b"/>
              <a:pathLst>
                <a:path w="301625" h="190500" extrusionOk="0">
                  <a:moveTo>
                    <a:pt x="13335" y="154940"/>
                  </a:moveTo>
                  <a:lnTo>
                    <a:pt x="0" y="162560"/>
                  </a:lnTo>
                  <a:lnTo>
                    <a:pt x="15240" y="190500"/>
                  </a:lnTo>
                  <a:lnTo>
                    <a:pt x="29210" y="182245"/>
                  </a:lnTo>
                  <a:lnTo>
                    <a:pt x="287655" y="35560"/>
                  </a:lnTo>
                  <a:lnTo>
                    <a:pt x="301625" y="27940"/>
                  </a:lnTo>
                  <a:lnTo>
                    <a:pt x="285750" y="0"/>
                  </a:lnTo>
                  <a:lnTo>
                    <a:pt x="272415" y="825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rgbClr val="000000"/>
                </a:solidFill>
                <a:latin typeface="Calibri"/>
                <a:ea typeface="Calibri"/>
                <a:cs typeface="Calibri"/>
                <a:sym typeface="Calibri"/>
              </a:endParaRPr>
            </a:p>
          </p:txBody>
        </p:sp>
        <p:sp>
          <p:nvSpPr>
            <p:cNvPr id="2860" name="Google Shape;2860;p68"/>
            <p:cNvSpPr/>
            <p:nvPr/>
          </p:nvSpPr>
          <p:spPr>
            <a:xfrm>
              <a:off x="6699884" y="6123304"/>
              <a:ext cx="301625" cy="190500"/>
            </a:xfrm>
            <a:custGeom>
              <a:avLst/>
              <a:gdLst/>
              <a:ahLst/>
              <a:cxnLst/>
              <a:rect l="l" t="t" r="r" b="b"/>
              <a:pathLst>
                <a:path w="301625" h="190500" extrusionOk="0">
                  <a:moveTo>
                    <a:pt x="272415" y="8255"/>
                  </a:moveTo>
                  <a:lnTo>
                    <a:pt x="13970" y="154940"/>
                  </a:lnTo>
                  <a:lnTo>
                    <a:pt x="0" y="162560"/>
                  </a:lnTo>
                  <a:lnTo>
                    <a:pt x="15875" y="190500"/>
                  </a:lnTo>
                  <a:lnTo>
                    <a:pt x="29210" y="182245"/>
                  </a:lnTo>
                  <a:lnTo>
                    <a:pt x="287655" y="35560"/>
                  </a:lnTo>
                  <a:lnTo>
                    <a:pt x="301625" y="27940"/>
                  </a:lnTo>
                  <a:lnTo>
                    <a:pt x="285750" y="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rgbClr val="000000"/>
                </a:solidFill>
                <a:latin typeface="Calibri"/>
                <a:ea typeface="Calibri"/>
                <a:cs typeface="Calibri"/>
                <a:sym typeface="Calibri"/>
              </a:endParaRPr>
            </a:p>
          </p:txBody>
        </p:sp>
        <p:sp>
          <p:nvSpPr>
            <p:cNvPr id="2861" name="Google Shape;2861;p68"/>
            <p:cNvSpPr/>
            <p:nvPr/>
          </p:nvSpPr>
          <p:spPr>
            <a:xfrm>
              <a:off x="6919595" y="5612129"/>
              <a:ext cx="301625" cy="200660"/>
            </a:xfrm>
            <a:custGeom>
              <a:avLst/>
              <a:gdLst/>
              <a:ahLst/>
              <a:cxnLst/>
              <a:rect l="l" t="t" r="r" b="b"/>
              <a:pathLst>
                <a:path w="301625" h="200660" extrusionOk="0">
                  <a:moveTo>
                    <a:pt x="13335" y="165100"/>
                  </a:moveTo>
                  <a:lnTo>
                    <a:pt x="0" y="173355"/>
                  </a:lnTo>
                  <a:lnTo>
                    <a:pt x="16510" y="200660"/>
                  </a:lnTo>
                  <a:lnTo>
                    <a:pt x="29845" y="192405"/>
                  </a:lnTo>
                  <a:lnTo>
                    <a:pt x="288290" y="34925"/>
                  </a:lnTo>
                  <a:lnTo>
                    <a:pt x="301625" y="26670"/>
                  </a:lnTo>
                  <a:lnTo>
                    <a:pt x="285115" y="0"/>
                  </a:lnTo>
                  <a:lnTo>
                    <a:pt x="271780" y="825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rgbClr val="000000"/>
                </a:solidFill>
                <a:latin typeface="Calibri"/>
                <a:ea typeface="Calibri"/>
                <a:cs typeface="Calibri"/>
                <a:sym typeface="Calibri"/>
              </a:endParaRPr>
            </a:p>
          </p:txBody>
        </p:sp>
        <p:sp>
          <p:nvSpPr>
            <p:cNvPr id="2862" name="Google Shape;2862;p68"/>
            <p:cNvSpPr/>
            <p:nvPr/>
          </p:nvSpPr>
          <p:spPr>
            <a:xfrm>
              <a:off x="7149465" y="5103495"/>
              <a:ext cx="302259" cy="205104"/>
            </a:xfrm>
            <a:custGeom>
              <a:avLst/>
              <a:gdLst/>
              <a:ahLst/>
              <a:cxnLst/>
              <a:rect l="l" t="t" r="r" b="b"/>
              <a:pathLst>
                <a:path w="302259" h="205104" extrusionOk="0">
                  <a:moveTo>
                    <a:pt x="30480" y="196850"/>
                  </a:moveTo>
                  <a:lnTo>
                    <a:pt x="288925" y="35560"/>
                  </a:lnTo>
                  <a:lnTo>
                    <a:pt x="302260" y="26670"/>
                  </a:lnTo>
                  <a:lnTo>
                    <a:pt x="285750" y="0"/>
                  </a:lnTo>
                  <a:lnTo>
                    <a:pt x="271780" y="8255"/>
                  </a:lnTo>
                  <a:lnTo>
                    <a:pt x="13335" y="169545"/>
                  </a:lnTo>
                  <a:lnTo>
                    <a:pt x="0" y="178435"/>
                  </a:lnTo>
                  <a:lnTo>
                    <a:pt x="17145" y="20510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rgbClr val="000000"/>
                </a:solidFill>
                <a:latin typeface="Calibri"/>
                <a:ea typeface="Calibri"/>
                <a:cs typeface="Calibri"/>
                <a:sym typeface="Calibri"/>
              </a:endParaRPr>
            </a:p>
          </p:txBody>
        </p:sp>
        <p:sp>
          <p:nvSpPr>
            <p:cNvPr id="2863" name="Google Shape;2863;p68"/>
            <p:cNvSpPr/>
            <p:nvPr/>
          </p:nvSpPr>
          <p:spPr>
            <a:xfrm>
              <a:off x="6503034" y="5609590"/>
              <a:ext cx="302260" cy="205739"/>
            </a:xfrm>
            <a:custGeom>
              <a:avLst/>
              <a:gdLst/>
              <a:ahLst/>
              <a:cxnLst/>
              <a:rect l="l" t="t" r="r" b="b"/>
              <a:pathLst>
                <a:path w="302260" h="205739" extrusionOk="0">
                  <a:moveTo>
                    <a:pt x="302260" y="27305"/>
                  </a:moveTo>
                  <a:lnTo>
                    <a:pt x="285750" y="0"/>
                  </a:lnTo>
                  <a:lnTo>
                    <a:pt x="272415" y="8890"/>
                  </a:lnTo>
                  <a:lnTo>
                    <a:pt x="13335" y="170180"/>
                  </a:lnTo>
                  <a:lnTo>
                    <a:pt x="0" y="178435"/>
                  </a:lnTo>
                  <a:lnTo>
                    <a:pt x="17145" y="205740"/>
                  </a:lnTo>
                  <a:lnTo>
                    <a:pt x="30480" y="196850"/>
                  </a:lnTo>
                  <a:lnTo>
                    <a:pt x="288925" y="35560"/>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rgbClr val="000000"/>
                </a:solidFill>
                <a:latin typeface="Calibri"/>
                <a:ea typeface="Calibri"/>
                <a:cs typeface="Calibri"/>
                <a:sym typeface="Calibri"/>
              </a:endParaRPr>
            </a:p>
          </p:txBody>
        </p:sp>
        <p:sp>
          <p:nvSpPr>
            <p:cNvPr id="2864" name="Google Shape;2864;p68"/>
            <p:cNvSpPr/>
            <p:nvPr/>
          </p:nvSpPr>
          <p:spPr>
            <a:xfrm>
              <a:off x="6734809" y="5104765"/>
              <a:ext cx="302260" cy="202564"/>
            </a:xfrm>
            <a:custGeom>
              <a:avLst/>
              <a:gdLst/>
              <a:ahLst/>
              <a:cxnLst/>
              <a:rect l="l" t="t" r="r" b="b"/>
              <a:pathLst>
                <a:path w="302260" h="202564" extrusionOk="0">
                  <a:moveTo>
                    <a:pt x="30480" y="194310"/>
                  </a:moveTo>
                  <a:lnTo>
                    <a:pt x="288925" y="34925"/>
                  </a:lnTo>
                  <a:lnTo>
                    <a:pt x="302260" y="26670"/>
                  </a:lnTo>
                  <a:lnTo>
                    <a:pt x="285750" y="0"/>
                  </a:lnTo>
                  <a:lnTo>
                    <a:pt x="272415" y="8255"/>
                  </a:lnTo>
                  <a:lnTo>
                    <a:pt x="13970" y="167640"/>
                  </a:lnTo>
                  <a:lnTo>
                    <a:pt x="0" y="175895"/>
                  </a:lnTo>
                  <a:lnTo>
                    <a:pt x="17145" y="202565"/>
                  </a:lnTo>
                  <a:close/>
                </a:path>
              </a:pathLst>
            </a:custGeom>
            <a:solidFill>
              <a:schemeClr val="accent2"/>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rgbClr val="000000"/>
                </a:solidFill>
                <a:latin typeface="Calibri"/>
                <a:ea typeface="Calibri"/>
                <a:cs typeface="Calibri"/>
                <a:sym typeface="Calibri"/>
              </a:endParaRPr>
            </a:p>
          </p:txBody>
        </p:sp>
      </p:grpSp>
      <p:sp>
        <p:nvSpPr>
          <p:cNvPr id="2865" name="Google Shape;2865;p68"/>
          <p:cNvSpPr txBox="1"/>
          <p:nvPr/>
        </p:nvSpPr>
        <p:spPr>
          <a:xfrm>
            <a:off x="481600" y="6245247"/>
            <a:ext cx="1288400" cy="273200"/>
          </a:xfrm>
          <a:prstGeom prst="rect">
            <a:avLst/>
          </a:prstGeom>
          <a:noFill/>
          <a:ln>
            <a:noFill/>
          </a:ln>
        </p:spPr>
        <p:txBody>
          <a:bodyPr spcFirstLastPara="1" wrap="square" lIns="0" tIns="0" rIns="0" bIns="0" anchor="b" anchorCtr="0">
            <a:noAutofit/>
          </a:bodyPr>
          <a:lstStyle/>
          <a:p>
            <a:pPr marL="0" lvl="0" indent="0" algn="l" rtl="0">
              <a:spcBef>
                <a:spcPts val="0"/>
              </a:spcBef>
              <a:spcAft>
                <a:spcPts val="0"/>
              </a:spcAft>
              <a:buNone/>
            </a:pPr>
            <a:r>
              <a:rPr lang="en-GB" sz="667">
                <a:solidFill>
                  <a:schemeClr val="lt1"/>
                </a:solidFill>
                <a:latin typeface="Inter"/>
                <a:ea typeface="Inter"/>
                <a:cs typeface="Inter"/>
                <a:sym typeface="Inter"/>
              </a:rPr>
              <a:t>Multiverse</a:t>
            </a:r>
            <a:endParaRPr sz="667">
              <a:solidFill>
                <a:schemeClr val="lt1"/>
              </a:solidFill>
              <a:latin typeface="Inter"/>
              <a:ea typeface="Inter"/>
              <a:cs typeface="Inter"/>
              <a:sym typeface="Inter"/>
            </a:endParaRPr>
          </a:p>
        </p:txBody>
      </p:sp>
    </p:spTree>
    <p:extLst>
      <p:ext uri="{BB962C8B-B14F-4D97-AF65-F5344CB8AC3E}">
        <p14:creationId xmlns:p14="http://schemas.microsoft.com/office/powerpoint/2010/main" val="3794124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matchingName="Title small List  - Starlight">
  <p:cSld name="Title small List  - Starlight">
    <p:bg>
      <p:bgPr>
        <a:solidFill>
          <a:schemeClr val="accent1"/>
        </a:solidFill>
        <a:effectLst/>
      </p:bgPr>
    </p:bg>
    <p:spTree>
      <p:nvGrpSpPr>
        <p:cNvPr id="1" name="Shape 2866"/>
        <p:cNvGrpSpPr/>
        <p:nvPr/>
      </p:nvGrpSpPr>
      <p:grpSpPr>
        <a:xfrm>
          <a:off x="0" y="0"/>
          <a:ext cx="0" cy="0"/>
          <a:chOff x="0" y="0"/>
          <a:chExt cx="0" cy="0"/>
        </a:xfrm>
      </p:grpSpPr>
      <p:sp>
        <p:nvSpPr>
          <p:cNvPr id="2867" name="Google Shape;2867;p69"/>
          <p:cNvSpPr txBox="1">
            <a:spLocks noGrp="1"/>
          </p:cNvSpPr>
          <p:nvPr>
            <p:ph type="subTitle" idx="1"/>
          </p:nvPr>
        </p:nvSpPr>
        <p:spPr>
          <a:xfrm>
            <a:off x="481600" y="2309467"/>
            <a:ext cx="4647600" cy="1612800"/>
          </a:xfrm>
          <a:prstGeom prst="rect">
            <a:avLst/>
          </a:prstGeom>
          <a:noFill/>
        </p:spPr>
        <p:txBody>
          <a:bodyPr spcFirstLastPara="1" wrap="square" lIns="0" tIns="34275" rIns="68575" bIns="34275" anchor="t" anchorCtr="0">
            <a:noAutofit/>
          </a:bodyPr>
          <a:lstStyle>
            <a:lvl1pPr lvl="0" rtl="0">
              <a:lnSpc>
                <a:spcPct val="85000"/>
              </a:lnSpc>
              <a:spcBef>
                <a:spcPts val="1067"/>
              </a:spcBef>
              <a:spcAft>
                <a:spcPts val="0"/>
              </a:spcAft>
              <a:buClr>
                <a:schemeClr val="dk1"/>
              </a:buClr>
              <a:buSzPts val="4600"/>
              <a:buFont typeface="Inter Medium"/>
              <a:buNone/>
              <a:defRPr sz="6133">
                <a:solidFill>
                  <a:schemeClr val="dk1"/>
                </a:solidFill>
                <a:latin typeface="Inter Medium"/>
                <a:ea typeface="Inter Medium"/>
                <a:cs typeface="Inter Medium"/>
                <a:sym typeface="Inter Medium"/>
              </a:defRPr>
            </a:lvl1pPr>
            <a:lvl2pPr lvl="1" rtl="0">
              <a:spcBef>
                <a:spcPts val="533"/>
              </a:spcBef>
              <a:spcAft>
                <a:spcPts val="0"/>
              </a:spcAft>
              <a:buClr>
                <a:schemeClr val="dk1"/>
              </a:buClr>
              <a:buSzPts val="1200"/>
              <a:buNone/>
              <a:defRPr>
                <a:solidFill>
                  <a:schemeClr val="dk1"/>
                </a:solidFill>
              </a:defRPr>
            </a:lvl2pPr>
            <a:lvl3pPr lvl="2" rtl="0">
              <a:spcBef>
                <a:spcPts val="533"/>
              </a:spcBef>
              <a:spcAft>
                <a:spcPts val="0"/>
              </a:spcAft>
              <a:buClr>
                <a:schemeClr val="dk1"/>
              </a:buClr>
              <a:buSzPts val="1200"/>
              <a:buNone/>
              <a:defRPr>
                <a:solidFill>
                  <a:schemeClr val="dk1"/>
                </a:solidFill>
              </a:defRPr>
            </a:lvl3pPr>
            <a:lvl4pPr lvl="3" rtl="0">
              <a:spcBef>
                <a:spcPts val="533"/>
              </a:spcBef>
              <a:spcAft>
                <a:spcPts val="0"/>
              </a:spcAft>
              <a:buClr>
                <a:schemeClr val="dk1"/>
              </a:buClr>
              <a:buSzPts val="1200"/>
              <a:buNone/>
              <a:defRPr>
                <a:solidFill>
                  <a:schemeClr val="dk1"/>
                </a:solidFill>
              </a:defRPr>
            </a:lvl4pPr>
            <a:lvl5pPr lvl="4" rtl="0">
              <a:spcBef>
                <a:spcPts val="533"/>
              </a:spcBef>
              <a:spcAft>
                <a:spcPts val="0"/>
              </a:spcAft>
              <a:buClr>
                <a:schemeClr val="dk1"/>
              </a:buClr>
              <a:buSzPts val="1200"/>
              <a:buNone/>
              <a:defRPr>
                <a:solidFill>
                  <a:schemeClr val="dk1"/>
                </a:solidFill>
              </a:defRPr>
            </a:lvl5pPr>
            <a:lvl6pPr lvl="5" rtl="0">
              <a:spcBef>
                <a:spcPts val="533"/>
              </a:spcBef>
              <a:spcAft>
                <a:spcPts val="0"/>
              </a:spcAft>
              <a:buClr>
                <a:schemeClr val="dk1"/>
              </a:buClr>
              <a:buSzPts val="1200"/>
              <a:buNone/>
              <a:defRPr>
                <a:solidFill>
                  <a:schemeClr val="dk1"/>
                </a:solidFill>
              </a:defRPr>
            </a:lvl6pPr>
            <a:lvl7pPr lvl="6" rtl="0">
              <a:spcBef>
                <a:spcPts val="533"/>
              </a:spcBef>
              <a:spcAft>
                <a:spcPts val="0"/>
              </a:spcAft>
              <a:buClr>
                <a:schemeClr val="dk1"/>
              </a:buClr>
              <a:buSzPts val="1200"/>
              <a:buNone/>
              <a:defRPr>
                <a:solidFill>
                  <a:schemeClr val="dk1"/>
                </a:solidFill>
              </a:defRPr>
            </a:lvl7pPr>
            <a:lvl8pPr lvl="7" rtl="0">
              <a:spcBef>
                <a:spcPts val="533"/>
              </a:spcBef>
              <a:spcAft>
                <a:spcPts val="0"/>
              </a:spcAft>
              <a:buClr>
                <a:schemeClr val="dk1"/>
              </a:buClr>
              <a:buSzPts val="1200"/>
              <a:buNone/>
              <a:defRPr>
                <a:solidFill>
                  <a:schemeClr val="dk1"/>
                </a:solidFill>
              </a:defRPr>
            </a:lvl8pPr>
            <a:lvl9pPr lvl="8" rtl="0">
              <a:spcBef>
                <a:spcPts val="533"/>
              </a:spcBef>
              <a:spcAft>
                <a:spcPts val="0"/>
              </a:spcAft>
              <a:buClr>
                <a:schemeClr val="dk1"/>
              </a:buClr>
              <a:buSzPts val="1200"/>
              <a:buNone/>
              <a:defRPr>
                <a:solidFill>
                  <a:schemeClr val="dk1"/>
                </a:solidFill>
              </a:defRPr>
            </a:lvl9pPr>
          </a:lstStyle>
          <a:p>
            <a:endParaRPr/>
          </a:p>
        </p:txBody>
      </p:sp>
      <p:sp>
        <p:nvSpPr>
          <p:cNvPr id="2868" name="Google Shape;2868;p69"/>
          <p:cNvSpPr txBox="1">
            <a:spLocks noGrp="1"/>
          </p:cNvSpPr>
          <p:nvPr>
            <p:ph type="sldNum" idx="12"/>
          </p:nvPr>
        </p:nvSpPr>
        <p:spPr>
          <a:xfrm>
            <a:off x="10978812" y="5993647"/>
            <a:ext cx="731600" cy="524800"/>
          </a:xfrm>
          <a:prstGeom prst="rect">
            <a:avLst/>
          </a:prstGeom>
          <a:noFill/>
        </p:spPr>
        <p:txBody>
          <a:bodyPr spcFirstLastPara="1" wrap="square" lIns="91425" tIns="91425" rIns="0" bIns="0" anchor="b" anchorCtr="0">
            <a:noAutofit/>
          </a:bodyPr>
          <a:lstStyle>
            <a:lvl1pPr lvl="0" algn="r" rtl="0">
              <a:buNone/>
              <a:defRPr sz="667">
                <a:latin typeface="Inter"/>
                <a:ea typeface="Inter"/>
                <a:cs typeface="Inter"/>
                <a:sym typeface="Inter"/>
              </a:defRPr>
            </a:lvl1pPr>
            <a:lvl2pPr lvl="1" algn="r" rtl="0">
              <a:buNone/>
              <a:defRPr sz="667">
                <a:latin typeface="Inter"/>
                <a:ea typeface="Inter"/>
                <a:cs typeface="Inter"/>
                <a:sym typeface="Inter"/>
              </a:defRPr>
            </a:lvl2pPr>
            <a:lvl3pPr lvl="2" algn="r" rtl="0">
              <a:buNone/>
              <a:defRPr sz="667">
                <a:latin typeface="Inter"/>
                <a:ea typeface="Inter"/>
                <a:cs typeface="Inter"/>
                <a:sym typeface="Inter"/>
              </a:defRPr>
            </a:lvl3pPr>
            <a:lvl4pPr lvl="3" algn="r" rtl="0">
              <a:buNone/>
              <a:defRPr sz="667">
                <a:latin typeface="Inter"/>
                <a:ea typeface="Inter"/>
                <a:cs typeface="Inter"/>
                <a:sym typeface="Inter"/>
              </a:defRPr>
            </a:lvl4pPr>
            <a:lvl5pPr lvl="4" algn="r" rtl="0">
              <a:buNone/>
              <a:defRPr sz="667">
                <a:latin typeface="Inter"/>
                <a:ea typeface="Inter"/>
                <a:cs typeface="Inter"/>
                <a:sym typeface="Inter"/>
              </a:defRPr>
            </a:lvl5pPr>
            <a:lvl6pPr lvl="5" algn="r" rtl="0">
              <a:buNone/>
              <a:defRPr sz="667">
                <a:latin typeface="Inter"/>
                <a:ea typeface="Inter"/>
                <a:cs typeface="Inter"/>
                <a:sym typeface="Inter"/>
              </a:defRPr>
            </a:lvl6pPr>
            <a:lvl7pPr lvl="6" algn="r" rtl="0">
              <a:buNone/>
              <a:defRPr sz="667">
                <a:latin typeface="Inter"/>
                <a:ea typeface="Inter"/>
                <a:cs typeface="Inter"/>
                <a:sym typeface="Inter"/>
              </a:defRPr>
            </a:lvl7pPr>
            <a:lvl8pPr lvl="7" algn="r" rtl="0">
              <a:buNone/>
              <a:defRPr sz="667">
                <a:latin typeface="Inter"/>
                <a:ea typeface="Inter"/>
                <a:cs typeface="Inter"/>
                <a:sym typeface="Inter"/>
              </a:defRPr>
            </a:lvl8pPr>
            <a:lvl9pPr lvl="8" algn="r" rtl="0">
              <a:buNone/>
              <a:defRPr sz="667">
                <a:latin typeface="Inter"/>
                <a:ea typeface="Inter"/>
                <a:cs typeface="Inter"/>
                <a:sym typeface="Inter"/>
              </a:defRPr>
            </a:lvl9pPr>
          </a:lstStyle>
          <a:p>
            <a:fld id="{00000000-1234-1234-1234-123412341234}" type="slidenum">
              <a:rPr lang="en-GB" smtClean="0"/>
              <a:pPr/>
              <a:t>‹#›</a:t>
            </a:fld>
            <a:endParaRPr lang="en-GB"/>
          </a:p>
        </p:txBody>
      </p:sp>
      <p:sp>
        <p:nvSpPr>
          <p:cNvPr id="2869" name="Google Shape;2869;p69"/>
          <p:cNvSpPr txBox="1"/>
          <p:nvPr/>
        </p:nvSpPr>
        <p:spPr>
          <a:xfrm>
            <a:off x="481600" y="6245247"/>
            <a:ext cx="1288400" cy="273200"/>
          </a:xfrm>
          <a:prstGeom prst="rect">
            <a:avLst/>
          </a:prstGeom>
          <a:noFill/>
          <a:ln>
            <a:noFill/>
          </a:ln>
        </p:spPr>
        <p:txBody>
          <a:bodyPr spcFirstLastPara="1" wrap="square" lIns="0" tIns="0" rIns="0" bIns="0" anchor="b" anchorCtr="0">
            <a:noAutofit/>
          </a:bodyPr>
          <a:lstStyle/>
          <a:p>
            <a:pPr marL="0" lvl="0" indent="0" algn="l" rtl="0">
              <a:spcBef>
                <a:spcPts val="0"/>
              </a:spcBef>
              <a:spcAft>
                <a:spcPts val="0"/>
              </a:spcAft>
              <a:buNone/>
            </a:pPr>
            <a:r>
              <a:rPr lang="en-GB" sz="667">
                <a:solidFill>
                  <a:schemeClr val="dk2"/>
                </a:solidFill>
                <a:latin typeface="Inter"/>
                <a:ea typeface="Inter"/>
                <a:cs typeface="Inter"/>
                <a:sym typeface="Inter"/>
              </a:rPr>
              <a:t>Multiverse</a:t>
            </a:r>
            <a:endParaRPr sz="667">
              <a:solidFill>
                <a:schemeClr val="dk2"/>
              </a:solidFill>
              <a:latin typeface="Inter"/>
              <a:ea typeface="Inter"/>
              <a:cs typeface="Inter"/>
              <a:sym typeface="Inter"/>
            </a:endParaRPr>
          </a:p>
        </p:txBody>
      </p:sp>
      <p:sp>
        <p:nvSpPr>
          <p:cNvPr id="2870" name="Google Shape;2870;p69"/>
          <p:cNvSpPr/>
          <p:nvPr/>
        </p:nvSpPr>
        <p:spPr>
          <a:xfrm>
            <a:off x="481601" y="414630"/>
            <a:ext cx="349111" cy="305471"/>
          </a:xfrm>
          <a:custGeom>
            <a:avLst/>
            <a:gdLst/>
            <a:ahLst/>
            <a:cxnLst/>
            <a:rect l="l" t="t" r="r" b="b"/>
            <a:pathLst>
              <a:path w="1586865" h="1388506" extrusionOk="0">
                <a:moveTo>
                  <a:pt x="1083683" y="969931"/>
                </a:moveTo>
                <a:lnTo>
                  <a:pt x="1083683" y="579692"/>
                </a:lnTo>
                <a:lnTo>
                  <a:pt x="849297" y="969931"/>
                </a:lnTo>
                <a:lnTo>
                  <a:pt x="848892" y="969931"/>
                </a:lnTo>
                <a:cubicBezTo>
                  <a:pt x="848892" y="969931"/>
                  <a:pt x="848892" y="969931"/>
                  <a:pt x="848892" y="969931"/>
                </a:cubicBezTo>
                <a:lnTo>
                  <a:pt x="738783" y="969931"/>
                </a:lnTo>
                <a:lnTo>
                  <a:pt x="738783" y="577668"/>
                </a:lnTo>
                <a:lnTo>
                  <a:pt x="549735" y="892612"/>
                </a:lnTo>
                <a:cubicBezTo>
                  <a:pt x="527876" y="929449"/>
                  <a:pt x="510873" y="958191"/>
                  <a:pt x="503992" y="969931"/>
                </a:cubicBezTo>
                <a:lnTo>
                  <a:pt x="393073" y="969931"/>
                </a:lnTo>
                <a:lnTo>
                  <a:pt x="393073" y="418576"/>
                </a:lnTo>
                <a:lnTo>
                  <a:pt x="503992" y="418576"/>
                </a:lnTo>
                <a:lnTo>
                  <a:pt x="502777" y="760643"/>
                </a:lnTo>
                <a:lnTo>
                  <a:pt x="503587" y="782098"/>
                </a:lnTo>
                <a:lnTo>
                  <a:pt x="721781" y="418981"/>
                </a:lnTo>
                <a:lnTo>
                  <a:pt x="721781" y="418981"/>
                </a:lnTo>
                <a:lnTo>
                  <a:pt x="721781" y="418981"/>
                </a:lnTo>
                <a:lnTo>
                  <a:pt x="739188" y="418981"/>
                </a:lnTo>
                <a:lnTo>
                  <a:pt x="847678" y="418981"/>
                </a:lnTo>
                <a:cubicBezTo>
                  <a:pt x="847678" y="418981"/>
                  <a:pt x="848487" y="722995"/>
                  <a:pt x="848892" y="783717"/>
                </a:cubicBezTo>
                <a:lnTo>
                  <a:pt x="1067895" y="418981"/>
                </a:lnTo>
                <a:lnTo>
                  <a:pt x="1067895" y="418981"/>
                </a:lnTo>
                <a:lnTo>
                  <a:pt x="1067895" y="418981"/>
                </a:lnTo>
                <a:lnTo>
                  <a:pt x="1085302" y="418981"/>
                </a:lnTo>
                <a:lnTo>
                  <a:pt x="1193387" y="418981"/>
                </a:lnTo>
                <a:lnTo>
                  <a:pt x="1193387" y="970336"/>
                </a:lnTo>
                <a:lnTo>
                  <a:pt x="1083683" y="970336"/>
                </a:lnTo>
                <a:close/>
                <a:moveTo>
                  <a:pt x="1190149" y="0"/>
                </a:moveTo>
                <a:lnTo>
                  <a:pt x="396716" y="0"/>
                </a:lnTo>
                <a:lnTo>
                  <a:pt x="0" y="694253"/>
                </a:lnTo>
                <a:lnTo>
                  <a:pt x="396716" y="1388507"/>
                </a:lnTo>
                <a:lnTo>
                  <a:pt x="1190149" y="1388507"/>
                </a:lnTo>
                <a:lnTo>
                  <a:pt x="1586865" y="694253"/>
                </a:lnTo>
                <a:lnTo>
                  <a:pt x="1190149" y="0"/>
                </a:lnTo>
                <a:close/>
              </a:path>
            </a:pathLst>
          </a:custGeom>
          <a:solidFill>
            <a:schemeClr val="dk2"/>
          </a:solidFill>
          <a:ln>
            <a:noFill/>
          </a:ln>
        </p:spPr>
        <p:txBody>
          <a:bodyPr spcFirstLastPara="1" wrap="square" lIns="91433" tIns="45700" rIns="91433" bIns="45700"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871" name="Google Shape;2871;p69"/>
          <p:cNvSpPr txBox="1">
            <a:spLocks noGrp="1"/>
          </p:cNvSpPr>
          <p:nvPr>
            <p:ph type="body" idx="2"/>
          </p:nvPr>
        </p:nvSpPr>
        <p:spPr>
          <a:xfrm>
            <a:off x="4480867" y="2309467"/>
            <a:ext cx="6581600" cy="4002400"/>
          </a:xfrm>
          <a:prstGeom prst="rect">
            <a:avLst/>
          </a:prstGeom>
          <a:noFill/>
          <a:ln>
            <a:noFill/>
          </a:ln>
        </p:spPr>
        <p:txBody>
          <a:bodyPr spcFirstLastPara="1" wrap="square" lIns="0" tIns="34275" rIns="68575" bIns="34275" anchor="t" anchorCtr="0">
            <a:noAutofit/>
          </a:bodyPr>
          <a:lstStyle>
            <a:lvl1pPr marL="609585" lvl="0" indent="-406390" algn="l" rtl="0">
              <a:lnSpc>
                <a:spcPct val="125000"/>
              </a:lnSpc>
              <a:spcBef>
                <a:spcPts val="0"/>
              </a:spcBef>
              <a:spcAft>
                <a:spcPts val="0"/>
              </a:spcAft>
              <a:buClr>
                <a:schemeClr val="dk2"/>
              </a:buClr>
              <a:buSzPts val="1200"/>
              <a:buFont typeface="Inter"/>
              <a:buChar char="●"/>
              <a:defRPr>
                <a:solidFill>
                  <a:schemeClr val="dk1"/>
                </a:solidFill>
              </a:defRPr>
            </a:lvl1pPr>
            <a:lvl2pPr marL="1219170" lvl="1" indent="-406390" algn="l" rtl="0">
              <a:lnSpc>
                <a:spcPct val="125000"/>
              </a:lnSpc>
              <a:spcBef>
                <a:spcPts val="1200"/>
              </a:spcBef>
              <a:spcAft>
                <a:spcPts val="0"/>
              </a:spcAft>
              <a:buClr>
                <a:schemeClr val="dk2"/>
              </a:buClr>
              <a:buSzPts val="1200"/>
              <a:buFont typeface="Inter"/>
              <a:buChar char="●"/>
              <a:defRPr>
                <a:solidFill>
                  <a:schemeClr val="dk1"/>
                </a:solidFill>
              </a:defRPr>
            </a:lvl2pPr>
            <a:lvl3pPr marL="1828754" lvl="2" indent="-406390" algn="l" rtl="0">
              <a:lnSpc>
                <a:spcPct val="125000"/>
              </a:lnSpc>
              <a:spcBef>
                <a:spcPts val="1200"/>
              </a:spcBef>
              <a:spcAft>
                <a:spcPts val="0"/>
              </a:spcAft>
              <a:buClr>
                <a:schemeClr val="dk2"/>
              </a:buClr>
              <a:buSzPts val="1200"/>
              <a:buFont typeface="Inter"/>
              <a:buChar char="●"/>
              <a:defRPr>
                <a:solidFill>
                  <a:schemeClr val="dk1"/>
                </a:solidFill>
              </a:defRPr>
            </a:lvl3pPr>
            <a:lvl4pPr marL="2438339" lvl="3" indent="-406390" algn="l" rtl="0">
              <a:lnSpc>
                <a:spcPct val="125000"/>
              </a:lnSpc>
              <a:spcBef>
                <a:spcPts val="1200"/>
              </a:spcBef>
              <a:spcAft>
                <a:spcPts val="0"/>
              </a:spcAft>
              <a:buClr>
                <a:schemeClr val="dk2"/>
              </a:buClr>
              <a:buSzPts val="1200"/>
              <a:buFont typeface="Inter"/>
              <a:buChar char="●"/>
              <a:defRPr>
                <a:solidFill>
                  <a:schemeClr val="dk1"/>
                </a:solidFill>
              </a:defRPr>
            </a:lvl4pPr>
            <a:lvl5pPr marL="3047924" lvl="4" indent="-406390" algn="l" rtl="0">
              <a:lnSpc>
                <a:spcPct val="125000"/>
              </a:lnSpc>
              <a:spcBef>
                <a:spcPts val="1200"/>
              </a:spcBef>
              <a:spcAft>
                <a:spcPts val="0"/>
              </a:spcAft>
              <a:buClr>
                <a:schemeClr val="dk2"/>
              </a:buClr>
              <a:buSzPts val="1200"/>
              <a:buFont typeface="Inter"/>
              <a:buChar char="●"/>
              <a:defRPr>
                <a:solidFill>
                  <a:schemeClr val="dk1"/>
                </a:solidFill>
              </a:defRPr>
            </a:lvl5pPr>
            <a:lvl6pPr marL="3657509" lvl="5" indent="-406390" algn="l" rtl="0">
              <a:lnSpc>
                <a:spcPct val="125000"/>
              </a:lnSpc>
              <a:spcBef>
                <a:spcPts val="1200"/>
              </a:spcBef>
              <a:spcAft>
                <a:spcPts val="0"/>
              </a:spcAft>
              <a:buClr>
                <a:schemeClr val="dk2"/>
              </a:buClr>
              <a:buSzPts val="1200"/>
              <a:buFont typeface="Inter"/>
              <a:buChar char="●"/>
              <a:defRPr>
                <a:solidFill>
                  <a:schemeClr val="dk1"/>
                </a:solidFill>
                <a:latin typeface="Inter"/>
                <a:ea typeface="Inter"/>
                <a:cs typeface="Inter"/>
                <a:sym typeface="Inter"/>
              </a:defRPr>
            </a:lvl6pPr>
            <a:lvl7pPr marL="4267093" lvl="6" indent="-406390" algn="l" rtl="0">
              <a:lnSpc>
                <a:spcPct val="125000"/>
              </a:lnSpc>
              <a:spcBef>
                <a:spcPts val="1200"/>
              </a:spcBef>
              <a:spcAft>
                <a:spcPts val="0"/>
              </a:spcAft>
              <a:buClr>
                <a:schemeClr val="dk2"/>
              </a:buClr>
              <a:buSzPts val="1200"/>
              <a:buFont typeface="Inter"/>
              <a:buChar char="●"/>
              <a:defRPr>
                <a:solidFill>
                  <a:schemeClr val="dk1"/>
                </a:solidFill>
                <a:latin typeface="Inter"/>
                <a:ea typeface="Inter"/>
                <a:cs typeface="Inter"/>
                <a:sym typeface="Inter"/>
              </a:defRPr>
            </a:lvl7pPr>
            <a:lvl8pPr marL="4876678" lvl="7" indent="-406390" algn="l" rtl="0">
              <a:lnSpc>
                <a:spcPct val="125000"/>
              </a:lnSpc>
              <a:spcBef>
                <a:spcPts val="1200"/>
              </a:spcBef>
              <a:spcAft>
                <a:spcPts val="0"/>
              </a:spcAft>
              <a:buClr>
                <a:schemeClr val="dk2"/>
              </a:buClr>
              <a:buSzPts val="1200"/>
              <a:buFont typeface="Inter"/>
              <a:buChar char="●"/>
              <a:defRPr>
                <a:solidFill>
                  <a:schemeClr val="dk1"/>
                </a:solidFill>
                <a:latin typeface="Inter"/>
                <a:ea typeface="Inter"/>
                <a:cs typeface="Inter"/>
                <a:sym typeface="Inter"/>
              </a:defRPr>
            </a:lvl8pPr>
            <a:lvl9pPr marL="5486263" lvl="8" indent="-406390" algn="l" rtl="0">
              <a:lnSpc>
                <a:spcPct val="125000"/>
              </a:lnSpc>
              <a:spcBef>
                <a:spcPts val="1200"/>
              </a:spcBef>
              <a:spcAft>
                <a:spcPts val="1200"/>
              </a:spcAft>
              <a:buClr>
                <a:schemeClr val="dk2"/>
              </a:buClr>
              <a:buSzPts val="1200"/>
              <a:buFont typeface="Inter"/>
              <a:buChar char="●"/>
              <a:defRPr>
                <a:solidFill>
                  <a:schemeClr val="dk1"/>
                </a:solidFill>
                <a:latin typeface="Inter"/>
                <a:ea typeface="Inter"/>
                <a:cs typeface="Inter"/>
                <a:sym typeface="Inter"/>
              </a:defRPr>
            </a:lvl9pPr>
          </a:lstStyle>
          <a:p>
            <a:endParaRPr/>
          </a:p>
        </p:txBody>
      </p:sp>
    </p:spTree>
    <p:extLst>
      <p:ext uri="{BB962C8B-B14F-4D97-AF65-F5344CB8AC3E}">
        <p14:creationId xmlns:p14="http://schemas.microsoft.com/office/powerpoint/2010/main" val="259864250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matchingName="Large quote - Starlight">
  <p:cSld name="Large quote - Starlight">
    <p:bg>
      <p:bgPr>
        <a:solidFill>
          <a:schemeClr val="accent1"/>
        </a:solidFill>
        <a:effectLst/>
      </p:bgPr>
    </p:bg>
    <p:spTree>
      <p:nvGrpSpPr>
        <p:cNvPr id="1" name="Shape 2872"/>
        <p:cNvGrpSpPr/>
        <p:nvPr/>
      </p:nvGrpSpPr>
      <p:grpSpPr>
        <a:xfrm>
          <a:off x="0" y="0"/>
          <a:ext cx="0" cy="0"/>
          <a:chOff x="0" y="0"/>
          <a:chExt cx="0" cy="0"/>
        </a:xfrm>
      </p:grpSpPr>
      <p:sp>
        <p:nvSpPr>
          <p:cNvPr id="2873" name="Google Shape;2873;p70"/>
          <p:cNvSpPr txBox="1">
            <a:spLocks noGrp="1"/>
          </p:cNvSpPr>
          <p:nvPr>
            <p:ph type="sldNum" idx="12"/>
          </p:nvPr>
        </p:nvSpPr>
        <p:spPr>
          <a:xfrm>
            <a:off x="10978812" y="5993647"/>
            <a:ext cx="731600" cy="524800"/>
          </a:xfrm>
          <a:prstGeom prst="rect">
            <a:avLst/>
          </a:prstGeom>
          <a:noFill/>
        </p:spPr>
        <p:txBody>
          <a:bodyPr spcFirstLastPara="1" wrap="square" lIns="91425" tIns="91425" rIns="0" bIns="0" anchor="b" anchorCtr="0">
            <a:noAutofit/>
          </a:bodyPr>
          <a:lstStyle>
            <a:lvl1pPr lvl="0" algn="r" rtl="0">
              <a:buNone/>
              <a:defRPr sz="667">
                <a:latin typeface="Inter"/>
                <a:ea typeface="Inter"/>
                <a:cs typeface="Inter"/>
                <a:sym typeface="Inter"/>
              </a:defRPr>
            </a:lvl1pPr>
            <a:lvl2pPr lvl="1" algn="r" rtl="0">
              <a:buNone/>
              <a:defRPr sz="667">
                <a:latin typeface="Inter"/>
                <a:ea typeface="Inter"/>
                <a:cs typeface="Inter"/>
                <a:sym typeface="Inter"/>
              </a:defRPr>
            </a:lvl2pPr>
            <a:lvl3pPr lvl="2" algn="r" rtl="0">
              <a:buNone/>
              <a:defRPr sz="667">
                <a:latin typeface="Inter"/>
                <a:ea typeface="Inter"/>
                <a:cs typeface="Inter"/>
                <a:sym typeface="Inter"/>
              </a:defRPr>
            </a:lvl3pPr>
            <a:lvl4pPr lvl="3" algn="r" rtl="0">
              <a:buNone/>
              <a:defRPr sz="667">
                <a:latin typeface="Inter"/>
                <a:ea typeface="Inter"/>
                <a:cs typeface="Inter"/>
                <a:sym typeface="Inter"/>
              </a:defRPr>
            </a:lvl4pPr>
            <a:lvl5pPr lvl="4" algn="r" rtl="0">
              <a:buNone/>
              <a:defRPr sz="667">
                <a:latin typeface="Inter"/>
                <a:ea typeface="Inter"/>
                <a:cs typeface="Inter"/>
                <a:sym typeface="Inter"/>
              </a:defRPr>
            </a:lvl5pPr>
            <a:lvl6pPr lvl="5" algn="r" rtl="0">
              <a:buNone/>
              <a:defRPr sz="667">
                <a:latin typeface="Inter"/>
                <a:ea typeface="Inter"/>
                <a:cs typeface="Inter"/>
                <a:sym typeface="Inter"/>
              </a:defRPr>
            </a:lvl6pPr>
            <a:lvl7pPr lvl="6" algn="r" rtl="0">
              <a:buNone/>
              <a:defRPr sz="667">
                <a:latin typeface="Inter"/>
                <a:ea typeface="Inter"/>
                <a:cs typeface="Inter"/>
                <a:sym typeface="Inter"/>
              </a:defRPr>
            </a:lvl7pPr>
            <a:lvl8pPr lvl="7" algn="r" rtl="0">
              <a:buNone/>
              <a:defRPr sz="667">
                <a:latin typeface="Inter"/>
                <a:ea typeface="Inter"/>
                <a:cs typeface="Inter"/>
                <a:sym typeface="Inter"/>
              </a:defRPr>
            </a:lvl8pPr>
            <a:lvl9pPr lvl="8" algn="r" rtl="0">
              <a:buNone/>
              <a:defRPr sz="667">
                <a:latin typeface="Inter"/>
                <a:ea typeface="Inter"/>
                <a:cs typeface="Inter"/>
                <a:sym typeface="Inter"/>
              </a:defRPr>
            </a:lvl9pPr>
          </a:lstStyle>
          <a:p>
            <a:fld id="{00000000-1234-1234-1234-123412341234}" type="slidenum">
              <a:rPr lang="en-GB" smtClean="0"/>
              <a:pPr/>
              <a:t>‹#›</a:t>
            </a:fld>
            <a:endParaRPr lang="en-GB"/>
          </a:p>
        </p:txBody>
      </p:sp>
      <p:sp>
        <p:nvSpPr>
          <p:cNvPr id="2874" name="Google Shape;2874;p70"/>
          <p:cNvSpPr/>
          <p:nvPr/>
        </p:nvSpPr>
        <p:spPr>
          <a:xfrm>
            <a:off x="481601" y="414630"/>
            <a:ext cx="349111" cy="305471"/>
          </a:xfrm>
          <a:custGeom>
            <a:avLst/>
            <a:gdLst/>
            <a:ahLst/>
            <a:cxnLst/>
            <a:rect l="l" t="t" r="r" b="b"/>
            <a:pathLst>
              <a:path w="1586865" h="1388506" extrusionOk="0">
                <a:moveTo>
                  <a:pt x="1083683" y="969931"/>
                </a:moveTo>
                <a:lnTo>
                  <a:pt x="1083683" y="579692"/>
                </a:lnTo>
                <a:lnTo>
                  <a:pt x="849297" y="969931"/>
                </a:lnTo>
                <a:lnTo>
                  <a:pt x="848892" y="969931"/>
                </a:lnTo>
                <a:cubicBezTo>
                  <a:pt x="848892" y="969931"/>
                  <a:pt x="848892" y="969931"/>
                  <a:pt x="848892" y="969931"/>
                </a:cubicBezTo>
                <a:lnTo>
                  <a:pt x="738783" y="969931"/>
                </a:lnTo>
                <a:lnTo>
                  <a:pt x="738783" y="577668"/>
                </a:lnTo>
                <a:lnTo>
                  <a:pt x="549735" y="892612"/>
                </a:lnTo>
                <a:cubicBezTo>
                  <a:pt x="527876" y="929449"/>
                  <a:pt x="510873" y="958191"/>
                  <a:pt x="503992" y="969931"/>
                </a:cubicBezTo>
                <a:lnTo>
                  <a:pt x="393073" y="969931"/>
                </a:lnTo>
                <a:lnTo>
                  <a:pt x="393073" y="418576"/>
                </a:lnTo>
                <a:lnTo>
                  <a:pt x="503992" y="418576"/>
                </a:lnTo>
                <a:lnTo>
                  <a:pt x="502777" y="760643"/>
                </a:lnTo>
                <a:lnTo>
                  <a:pt x="503587" y="782098"/>
                </a:lnTo>
                <a:lnTo>
                  <a:pt x="721781" y="418981"/>
                </a:lnTo>
                <a:lnTo>
                  <a:pt x="721781" y="418981"/>
                </a:lnTo>
                <a:lnTo>
                  <a:pt x="721781" y="418981"/>
                </a:lnTo>
                <a:lnTo>
                  <a:pt x="739188" y="418981"/>
                </a:lnTo>
                <a:lnTo>
                  <a:pt x="847678" y="418981"/>
                </a:lnTo>
                <a:cubicBezTo>
                  <a:pt x="847678" y="418981"/>
                  <a:pt x="848487" y="722995"/>
                  <a:pt x="848892" y="783717"/>
                </a:cubicBezTo>
                <a:lnTo>
                  <a:pt x="1067895" y="418981"/>
                </a:lnTo>
                <a:lnTo>
                  <a:pt x="1067895" y="418981"/>
                </a:lnTo>
                <a:lnTo>
                  <a:pt x="1067895" y="418981"/>
                </a:lnTo>
                <a:lnTo>
                  <a:pt x="1085302" y="418981"/>
                </a:lnTo>
                <a:lnTo>
                  <a:pt x="1193387" y="418981"/>
                </a:lnTo>
                <a:lnTo>
                  <a:pt x="1193387" y="970336"/>
                </a:lnTo>
                <a:lnTo>
                  <a:pt x="1083683" y="970336"/>
                </a:lnTo>
                <a:close/>
                <a:moveTo>
                  <a:pt x="1190149" y="0"/>
                </a:moveTo>
                <a:lnTo>
                  <a:pt x="396716" y="0"/>
                </a:lnTo>
                <a:lnTo>
                  <a:pt x="0" y="694253"/>
                </a:lnTo>
                <a:lnTo>
                  <a:pt x="396716" y="1388507"/>
                </a:lnTo>
                <a:lnTo>
                  <a:pt x="1190149" y="1388507"/>
                </a:lnTo>
                <a:lnTo>
                  <a:pt x="1586865" y="694253"/>
                </a:lnTo>
                <a:lnTo>
                  <a:pt x="1190149" y="0"/>
                </a:lnTo>
                <a:close/>
              </a:path>
            </a:pathLst>
          </a:custGeom>
          <a:solidFill>
            <a:schemeClr val="dk2"/>
          </a:solidFill>
          <a:ln>
            <a:noFill/>
          </a:ln>
        </p:spPr>
        <p:txBody>
          <a:bodyPr spcFirstLastPara="1" wrap="square" lIns="91433" tIns="45700" rIns="91433" bIns="45700" anchor="ctr" anchorCtr="0">
            <a:noAutofit/>
          </a:bodyPr>
          <a:lstStyle/>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sp>
        <p:nvSpPr>
          <p:cNvPr id="2875" name="Google Shape;2875;p70"/>
          <p:cNvSpPr txBox="1"/>
          <p:nvPr/>
        </p:nvSpPr>
        <p:spPr>
          <a:xfrm>
            <a:off x="481600" y="6245247"/>
            <a:ext cx="1288400" cy="273200"/>
          </a:xfrm>
          <a:prstGeom prst="rect">
            <a:avLst/>
          </a:prstGeom>
          <a:noFill/>
          <a:ln>
            <a:noFill/>
          </a:ln>
        </p:spPr>
        <p:txBody>
          <a:bodyPr spcFirstLastPara="1" wrap="square" lIns="0" tIns="0" rIns="0" bIns="0" anchor="b" anchorCtr="0">
            <a:noAutofit/>
          </a:bodyPr>
          <a:lstStyle/>
          <a:p>
            <a:pPr marL="0" lvl="0" indent="0" algn="l" rtl="0">
              <a:spcBef>
                <a:spcPts val="0"/>
              </a:spcBef>
              <a:spcAft>
                <a:spcPts val="0"/>
              </a:spcAft>
              <a:buNone/>
            </a:pPr>
            <a:r>
              <a:rPr lang="en-GB" sz="667">
                <a:solidFill>
                  <a:schemeClr val="dk2"/>
                </a:solidFill>
                <a:latin typeface="Inter"/>
                <a:ea typeface="Inter"/>
                <a:cs typeface="Inter"/>
                <a:sym typeface="Inter"/>
              </a:rPr>
              <a:t>Multiverse</a:t>
            </a:r>
            <a:endParaRPr sz="667">
              <a:solidFill>
                <a:schemeClr val="dk2"/>
              </a:solidFill>
              <a:latin typeface="Inter"/>
              <a:ea typeface="Inter"/>
              <a:cs typeface="Inter"/>
              <a:sym typeface="Inter"/>
            </a:endParaRPr>
          </a:p>
        </p:txBody>
      </p:sp>
      <p:sp>
        <p:nvSpPr>
          <p:cNvPr id="2876" name="Google Shape;2876;p70"/>
          <p:cNvSpPr txBox="1">
            <a:spLocks noGrp="1"/>
          </p:cNvSpPr>
          <p:nvPr>
            <p:ph type="subTitle" idx="1"/>
          </p:nvPr>
        </p:nvSpPr>
        <p:spPr>
          <a:xfrm>
            <a:off x="481600" y="1335200"/>
            <a:ext cx="9508000" cy="4572000"/>
          </a:xfrm>
          <a:prstGeom prst="rect">
            <a:avLst/>
          </a:prstGeom>
          <a:noFill/>
        </p:spPr>
        <p:txBody>
          <a:bodyPr spcFirstLastPara="1" wrap="square" lIns="0" tIns="34275" rIns="68575" bIns="34275" anchor="t" anchorCtr="0">
            <a:normAutofit/>
          </a:bodyPr>
          <a:lstStyle>
            <a:lvl1pPr lvl="0" rtl="0">
              <a:lnSpc>
                <a:spcPct val="85000"/>
              </a:lnSpc>
              <a:spcBef>
                <a:spcPts val="1067"/>
              </a:spcBef>
              <a:spcAft>
                <a:spcPts val="0"/>
              </a:spcAft>
              <a:buClr>
                <a:schemeClr val="dk1"/>
              </a:buClr>
              <a:buSzPts val="4600"/>
              <a:buFont typeface="Inter Medium"/>
              <a:buNone/>
              <a:defRPr sz="6133">
                <a:solidFill>
                  <a:schemeClr val="dk1"/>
                </a:solidFill>
                <a:latin typeface="Inter Medium"/>
                <a:ea typeface="Inter Medium"/>
                <a:cs typeface="Inter Medium"/>
                <a:sym typeface="Inter Medium"/>
              </a:defRPr>
            </a:lvl1pPr>
            <a:lvl2pPr lvl="1" rtl="0">
              <a:spcBef>
                <a:spcPts val="533"/>
              </a:spcBef>
              <a:spcAft>
                <a:spcPts val="0"/>
              </a:spcAft>
              <a:buClr>
                <a:schemeClr val="dk1"/>
              </a:buClr>
              <a:buSzPts val="1200"/>
              <a:buNone/>
              <a:defRPr>
                <a:solidFill>
                  <a:schemeClr val="dk1"/>
                </a:solidFill>
              </a:defRPr>
            </a:lvl2pPr>
            <a:lvl3pPr lvl="2" rtl="0">
              <a:spcBef>
                <a:spcPts val="533"/>
              </a:spcBef>
              <a:spcAft>
                <a:spcPts val="0"/>
              </a:spcAft>
              <a:buClr>
                <a:schemeClr val="dk1"/>
              </a:buClr>
              <a:buSzPts val="1200"/>
              <a:buNone/>
              <a:defRPr>
                <a:solidFill>
                  <a:schemeClr val="dk1"/>
                </a:solidFill>
              </a:defRPr>
            </a:lvl3pPr>
            <a:lvl4pPr lvl="3" rtl="0">
              <a:spcBef>
                <a:spcPts val="533"/>
              </a:spcBef>
              <a:spcAft>
                <a:spcPts val="0"/>
              </a:spcAft>
              <a:buClr>
                <a:schemeClr val="dk1"/>
              </a:buClr>
              <a:buSzPts val="1200"/>
              <a:buNone/>
              <a:defRPr>
                <a:solidFill>
                  <a:schemeClr val="dk1"/>
                </a:solidFill>
              </a:defRPr>
            </a:lvl4pPr>
            <a:lvl5pPr lvl="4" rtl="0">
              <a:spcBef>
                <a:spcPts val="533"/>
              </a:spcBef>
              <a:spcAft>
                <a:spcPts val="0"/>
              </a:spcAft>
              <a:buClr>
                <a:schemeClr val="dk1"/>
              </a:buClr>
              <a:buSzPts val="1200"/>
              <a:buNone/>
              <a:defRPr>
                <a:solidFill>
                  <a:schemeClr val="dk1"/>
                </a:solidFill>
              </a:defRPr>
            </a:lvl5pPr>
            <a:lvl6pPr lvl="5" rtl="0">
              <a:spcBef>
                <a:spcPts val="533"/>
              </a:spcBef>
              <a:spcAft>
                <a:spcPts val="0"/>
              </a:spcAft>
              <a:buClr>
                <a:schemeClr val="dk1"/>
              </a:buClr>
              <a:buSzPts val="1200"/>
              <a:buNone/>
              <a:defRPr>
                <a:solidFill>
                  <a:schemeClr val="dk1"/>
                </a:solidFill>
              </a:defRPr>
            </a:lvl6pPr>
            <a:lvl7pPr lvl="6" rtl="0">
              <a:spcBef>
                <a:spcPts val="533"/>
              </a:spcBef>
              <a:spcAft>
                <a:spcPts val="0"/>
              </a:spcAft>
              <a:buClr>
                <a:schemeClr val="dk1"/>
              </a:buClr>
              <a:buSzPts val="1200"/>
              <a:buNone/>
              <a:defRPr>
                <a:solidFill>
                  <a:schemeClr val="dk1"/>
                </a:solidFill>
              </a:defRPr>
            </a:lvl7pPr>
            <a:lvl8pPr lvl="7" rtl="0">
              <a:spcBef>
                <a:spcPts val="533"/>
              </a:spcBef>
              <a:spcAft>
                <a:spcPts val="0"/>
              </a:spcAft>
              <a:buClr>
                <a:schemeClr val="dk1"/>
              </a:buClr>
              <a:buSzPts val="1200"/>
              <a:buNone/>
              <a:defRPr>
                <a:solidFill>
                  <a:schemeClr val="dk1"/>
                </a:solidFill>
              </a:defRPr>
            </a:lvl8pPr>
            <a:lvl9pPr lvl="8" rtl="0">
              <a:spcBef>
                <a:spcPts val="533"/>
              </a:spcBef>
              <a:spcAft>
                <a:spcPts val="0"/>
              </a:spcAft>
              <a:buClr>
                <a:schemeClr val="dk1"/>
              </a:buClr>
              <a:buSzPts val="1200"/>
              <a:buNone/>
              <a:defRPr>
                <a:solidFill>
                  <a:schemeClr val="dk1"/>
                </a:solidFill>
              </a:defRPr>
            </a:lvl9pPr>
          </a:lstStyle>
          <a:p>
            <a:endParaRPr/>
          </a:p>
        </p:txBody>
      </p:sp>
    </p:spTree>
    <p:extLst>
      <p:ext uri="{BB962C8B-B14F-4D97-AF65-F5344CB8AC3E}">
        <p14:creationId xmlns:p14="http://schemas.microsoft.com/office/powerpoint/2010/main" val="2577945442"/>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matchingName="Title slide 1">
  <p:cSld name="1_Title slide 1">
    <p:bg>
      <p:bgPr>
        <a:solidFill>
          <a:schemeClr val="dk2"/>
        </a:solidFill>
        <a:effectLst/>
      </p:bgPr>
    </p:bg>
    <p:spTree>
      <p:nvGrpSpPr>
        <p:cNvPr id="1" name="Shape 2877"/>
        <p:cNvGrpSpPr/>
        <p:nvPr/>
      </p:nvGrpSpPr>
      <p:grpSpPr>
        <a:xfrm>
          <a:off x="0" y="0"/>
          <a:ext cx="0" cy="0"/>
          <a:chOff x="0" y="0"/>
          <a:chExt cx="0" cy="0"/>
        </a:xfrm>
      </p:grpSpPr>
      <p:sp>
        <p:nvSpPr>
          <p:cNvPr id="2878" name="Google Shape;2878;p71"/>
          <p:cNvSpPr txBox="1">
            <a:spLocks noGrp="1"/>
          </p:cNvSpPr>
          <p:nvPr>
            <p:ph type="sldNum" idx="12"/>
          </p:nvPr>
        </p:nvSpPr>
        <p:spPr>
          <a:xfrm>
            <a:off x="11296611" y="6217623"/>
            <a:ext cx="731600" cy="524800"/>
          </a:xfrm>
          <a:prstGeom prst="rect">
            <a:avLst/>
          </a:prstGeom>
        </p:spPr>
        <p:txBody>
          <a:bodyPr spcFirstLastPara="1" wrap="square" lIns="91425" tIns="91425" rIns="0" bIns="0" anchor="b"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GB" smtClean="0"/>
              <a:pPr/>
              <a:t>‹#›</a:t>
            </a:fld>
            <a:endParaRPr lang="en-GB"/>
          </a:p>
        </p:txBody>
      </p:sp>
      <p:grpSp>
        <p:nvGrpSpPr>
          <p:cNvPr id="2879" name="Google Shape;2879;p71"/>
          <p:cNvGrpSpPr/>
          <p:nvPr/>
        </p:nvGrpSpPr>
        <p:grpSpPr>
          <a:xfrm>
            <a:off x="5127359" y="5371262"/>
            <a:ext cx="1937284" cy="324700"/>
            <a:chOff x="2455289" y="1451556"/>
            <a:chExt cx="2208151" cy="370100"/>
          </a:xfrm>
        </p:grpSpPr>
        <p:sp>
          <p:nvSpPr>
            <p:cNvPr id="2880" name="Google Shape;2880;p71"/>
            <p:cNvSpPr/>
            <p:nvPr/>
          </p:nvSpPr>
          <p:spPr>
            <a:xfrm>
              <a:off x="2876395" y="1554783"/>
              <a:ext cx="221938" cy="264747"/>
            </a:xfrm>
            <a:custGeom>
              <a:avLst/>
              <a:gdLst/>
              <a:ahLst/>
              <a:cxnLst/>
              <a:rect l="l" t="t" r="r" b="b"/>
              <a:pathLst>
                <a:path w="295917" h="352996" extrusionOk="0">
                  <a:moveTo>
                    <a:pt x="225076" y="193096"/>
                  </a:moveTo>
                  <a:cubicBezTo>
                    <a:pt x="225076" y="250174"/>
                    <a:pt x="194310" y="284988"/>
                    <a:pt x="148566" y="284988"/>
                  </a:cubicBezTo>
                  <a:cubicBezTo>
                    <a:pt x="101608" y="284988"/>
                    <a:pt x="70842" y="250174"/>
                    <a:pt x="70842" y="193096"/>
                  </a:cubicBezTo>
                  <a:lnTo>
                    <a:pt x="70842" y="0"/>
                  </a:lnTo>
                  <a:lnTo>
                    <a:pt x="0" y="0"/>
                  </a:lnTo>
                  <a:lnTo>
                    <a:pt x="0" y="191477"/>
                  </a:lnTo>
                  <a:cubicBezTo>
                    <a:pt x="0" y="289441"/>
                    <a:pt x="54245" y="352997"/>
                    <a:pt x="146542" y="352997"/>
                  </a:cubicBezTo>
                  <a:cubicBezTo>
                    <a:pt x="238030" y="352997"/>
                    <a:pt x="295918" y="288227"/>
                    <a:pt x="295918" y="191477"/>
                  </a:cubicBezTo>
                  <a:lnTo>
                    <a:pt x="295918" y="0"/>
                  </a:lnTo>
                  <a:lnTo>
                    <a:pt x="225076" y="0"/>
                  </a:lnTo>
                  <a:lnTo>
                    <a:pt x="225076" y="193096"/>
                  </a:lnTo>
                  <a:close/>
                </a:path>
              </a:pathLst>
            </a:custGeom>
            <a:solidFill>
              <a:srgbClr val="FFFFFF"/>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rgbClr val="000000"/>
                </a:solidFill>
                <a:latin typeface="Calibri"/>
                <a:ea typeface="Calibri"/>
                <a:cs typeface="Calibri"/>
                <a:sym typeface="Calibri"/>
              </a:endParaRPr>
            </a:p>
          </p:txBody>
        </p:sp>
        <p:sp>
          <p:nvSpPr>
            <p:cNvPr id="2881" name="Google Shape;2881;p71"/>
            <p:cNvSpPr/>
            <p:nvPr/>
          </p:nvSpPr>
          <p:spPr>
            <a:xfrm>
              <a:off x="3150858" y="1452164"/>
              <a:ext cx="52220" cy="364027"/>
            </a:xfrm>
            <a:custGeom>
              <a:avLst/>
              <a:gdLst/>
              <a:ahLst/>
              <a:cxnLst/>
              <a:rect l="l" t="t" r="r" b="b"/>
              <a:pathLst>
                <a:path w="69627" h="485370" extrusionOk="0">
                  <a:moveTo>
                    <a:pt x="0" y="0"/>
                  </a:moveTo>
                  <a:lnTo>
                    <a:pt x="69628" y="0"/>
                  </a:lnTo>
                  <a:lnTo>
                    <a:pt x="69628" y="485370"/>
                  </a:lnTo>
                  <a:lnTo>
                    <a:pt x="0" y="485370"/>
                  </a:lnTo>
                  <a:close/>
                </a:path>
              </a:pathLst>
            </a:custGeom>
            <a:solidFill>
              <a:srgbClr val="FFFFFF"/>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rgbClr val="000000"/>
                </a:solidFill>
                <a:latin typeface="Calibri"/>
                <a:ea typeface="Calibri"/>
                <a:cs typeface="Calibri"/>
                <a:sym typeface="Calibri"/>
              </a:endParaRPr>
            </a:p>
          </p:txBody>
        </p:sp>
        <p:sp>
          <p:nvSpPr>
            <p:cNvPr id="2882" name="Google Shape;2882;p71"/>
            <p:cNvSpPr/>
            <p:nvPr/>
          </p:nvSpPr>
          <p:spPr>
            <a:xfrm>
              <a:off x="3440501" y="1555087"/>
              <a:ext cx="52220" cy="260800"/>
            </a:xfrm>
            <a:custGeom>
              <a:avLst/>
              <a:gdLst/>
              <a:ahLst/>
              <a:cxnLst/>
              <a:rect l="l" t="t" r="r" b="b"/>
              <a:pathLst>
                <a:path w="69627" h="347733" extrusionOk="0">
                  <a:moveTo>
                    <a:pt x="0" y="0"/>
                  </a:moveTo>
                  <a:lnTo>
                    <a:pt x="69627" y="0"/>
                  </a:lnTo>
                  <a:lnTo>
                    <a:pt x="69627" y="347734"/>
                  </a:lnTo>
                  <a:lnTo>
                    <a:pt x="0" y="347734"/>
                  </a:lnTo>
                  <a:close/>
                </a:path>
              </a:pathLst>
            </a:custGeom>
            <a:solidFill>
              <a:srgbClr val="FFFFFF"/>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rgbClr val="000000"/>
                </a:solidFill>
                <a:latin typeface="Calibri"/>
                <a:ea typeface="Calibri"/>
                <a:cs typeface="Calibri"/>
                <a:sym typeface="Calibri"/>
              </a:endParaRPr>
            </a:p>
          </p:txBody>
        </p:sp>
        <p:sp>
          <p:nvSpPr>
            <p:cNvPr id="2883" name="Google Shape;2883;p71"/>
            <p:cNvSpPr/>
            <p:nvPr/>
          </p:nvSpPr>
          <p:spPr>
            <a:xfrm>
              <a:off x="3517618" y="1555087"/>
              <a:ext cx="257764" cy="261104"/>
            </a:xfrm>
            <a:custGeom>
              <a:avLst/>
              <a:gdLst/>
              <a:ahLst/>
              <a:cxnLst/>
              <a:rect l="l" t="t" r="r" b="b"/>
              <a:pathLst>
                <a:path w="343685" h="348138" extrusionOk="0">
                  <a:moveTo>
                    <a:pt x="269200" y="0"/>
                  </a:moveTo>
                  <a:lnTo>
                    <a:pt x="172045" y="255842"/>
                  </a:lnTo>
                  <a:lnTo>
                    <a:pt x="74081" y="0"/>
                  </a:lnTo>
                  <a:lnTo>
                    <a:pt x="0" y="0"/>
                  </a:lnTo>
                  <a:lnTo>
                    <a:pt x="136422" y="348139"/>
                  </a:lnTo>
                  <a:lnTo>
                    <a:pt x="207264" y="348139"/>
                  </a:lnTo>
                  <a:lnTo>
                    <a:pt x="343686" y="0"/>
                  </a:lnTo>
                  <a:close/>
                </a:path>
              </a:pathLst>
            </a:custGeom>
            <a:solidFill>
              <a:srgbClr val="FFFFFF"/>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rgbClr val="000000"/>
                </a:solidFill>
                <a:latin typeface="Calibri"/>
                <a:ea typeface="Calibri"/>
                <a:cs typeface="Calibri"/>
                <a:sym typeface="Calibri"/>
              </a:endParaRPr>
            </a:p>
          </p:txBody>
        </p:sp>
        <p:sp>
          <p:nvSpPr>
            <p:cNvPr id="2884" name="Google Shape;2884;p71"/>
            <p:cNvSpPr/>
            <p:nvPr/>
          </p:nvSpPr>
          <p:spPr>
            <a:xfrm>
              <a:off x="4209848" y="1549621"/>
              <a:ext cx="188541" cy="272034"/>
            </a:xfrm>
            <a:custGeom>
              <a:avLst/>
              <a:gdLst/>
              <a:ahLst/>
              <a:cxnLst/>
              <a:rect l="l" t="t" r="r" b="b"/>
              <a:pathLst>
                <a:path w="251388" h="362712" extrusionOk="0">
                  <a:moveTo>
                    <a:pt x="150591" y="148971"/>
                  </a:moveTo>
                  <a:lnTo>
                    <a:pt x="109704" y="139660"/>
                  </a:lnTo>
                  <a:cubicBezTo>
                    <a:pt x="84606" y="133588"/>
                    <a:pt x="72057" y="120229"/>
                    <a:pt x="72057" y="102013"/>
                  </a:cubicBezTo>
                  <a:cubicBezTo>
                    <a:pt x="72057" y="76915"/>
                    <a:pt x="95131" y="61531"/>
                    <a:pt x="126302" y="62341"/>
                  </a:cubicBezTo>
                  <a:cubicBezTo>
                    <a:pt x="145328" y="62341"/>
                    <a:pt x="164759" y="68413"/>
                    <a:pt x="183380" y="77724"/>
                  </a:cubicBezTo>
                  <a:cubicBezTo>
                    <a:pt x="206454" y="88654"/>
                    <a:pt x="225886" y="104037"/>
                    <a:pt x="233577" y="111324"/>
                  </a:cubicBezTo>
                  <a:lnTo>
                    <a:pt x="233577" y="38457"/>
                  </a:lnTo>
                  <a:cubicBezTo>
                    <a:pt x="221837" y="29551"/>
                    <a:pt x="178522" y="0"/>
                    <a:pt x="123063" y="0"/>
                  </a:cubicBezTo>
                  <a:cubicBezTo>
                    <a:pt x="46149" y="0"/>
                    <a:pt x="0" y="51411"/>
                    <a:pt x="0" y="107680"/>
                  </a:cubicBezTo>
                  <a:cubicBezTo>
                    <a:pt x="0" y="161115"/>
                    <a:pt x="37648" y="187428"/>
                    <a:pt x="87439" y="199573"/>
                  </a:cubicBezTo>
                  <a:lnTo>
                    <a:pt x="127111" y="208883"/>
                  </a:lnTo>
                  <a:cubicBezTo>
                    <a:pt x="162330" y="216980"/>
                    <a:pt x="179332" y="229934"/>
                    <a:pt x="179332" y="254222"/>
                  </a:cubicBezTo>
                  <a:cubicBezTo>
                    <a:pt x="179332" y="278511"/>
                    <a:pt x="158687" y="301585"/>
                    <a:pt x="121039" y="301585"/>
                  </a:cubicBezTo>
                  <a:cubicBezTo>
                    <a:pt x="97155" y="301585"/>
                    <a:pt x="73271" y="293489"/>
                    <a:pt x="54245" y="282559"/>
                  </a:cubicBezTo>
                  <a:cubicBezTo>
                    <a:pt x="31171" y="270415"/>
                    <a:pt x="13764" y="255437"/>
                    <a:pt x="9311" y="250984"/>
                  </a:cubicBezTo>
                  <a:lnTo>
                    <a:pt x="8096" y="325065"/>
                  </a:lnTo>
                  <a:cubicBezTo>
                    <a:pt x="12549" y="329922"/>
                    <a:pt x="52626" y="362712"/>
                    <a:pt x="123468" y="362712"/>
                  </a:cubicBezTo>
                  <a:cubicBezTo>
                    <a:pt x="202406" y="362712"/>
                    <a:pt x="251388" y="307253"/>
                    <a:pt x="251388" y="250984"/>
                  </a:cubicBezTo>
                  <a:cubicBezTo>
                    <a:pt x="250579" y="201597"/>
                    <a:pt x="216979" y="163949"/>
                    <a:pt x="150591" y="148971"/>
                  </a:cubicBezTo>
                  <a:close/>
                </a:path>
              </a:pathLst>
            </a:custGeom>
            <a:solidFill>
              <a:srgbClr val="FFFFFF"/>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rgbClr val="000000"/>
                </a:solidFill>
                <a:latin typeface="Calibri"/>
                <a:ea typeface="Calibri"/>
                <a:cs typeface="Calibri"/>
                <a:sym typeface="Calibri"/>
              </a:endParaRPr>
            </a:p>
          </p:txBody>
        </p:sp>
        <p:sp>
          <p:nvSpPr>
            <p:cNvPr id="2885" name="Google Shape;2885;p71"/>
            <p:cNvSpPr/>
            <p:nvPr/>
          </p:nvSpPr>
          <p:spPr>
            <a:xfrm>
              <a:off x="3775382" y="1552051"/>
              <a:ext cx="242584" cy="267176"/>
            </a:xfrm>
            <a:custGeom>
              <a:avLst/>
              <a:gdLst/>
              <a:ahLst/>
              <a:cxnLst/>
              <a:rect l="l" t="t" r="r" b="b"/>
              <a:pathLst>
                <a:path w="323445" h="356235" extrusionOk="0">
                  <a:moveTo>
                    <a:pt x="70842" y="150995"/>
                  </a:moveTo>
                  <a:cubicBezTo>
                    <a:pt x="79343" y="101203"/>
                    <a:pt x="112538" y="64770"/>
                    <a:pt x="164758" y="64770"/>
                  </a:cubicBezTo>
                  <a:cubicBezTo>
                    <a:pt x="216575" y="64770"/>
                    <a:pt x="247340" y="101203"/>
                    <a:pt x="255437" y="150995"/>
                  </a:cubicBezTo>
                  <a:lnTo>
                    <a:pt x="70842" y="150995"/>
                  </a:lnTo>
                  <a:close/>
                  <a:moveTo>
                    <a:pt x="164758" y="0"/>
                  </a:moveTo>
                  <a:cubicBezTo>
                    <a:pt x="70842" y="0"/>
                    <a:pt x="0" y="79748"/>
                    <a:pt x="0" y="178118"/>
                  </a:cubicBezTo>
                  <a:cubicBezTo>
                    <a:pt x="0" y="276487"/>
                    <a:pt x="76914" y="356235"/>
                    <a:pt x="180546" y="356235"/>
                  </a:cubicBezTo>
                  <a:cubicBezTo>
                    <a:pt x="259889" y="356235"/>
                    <a:pt x="303609" y="317778"/>
                    <a:pt x="303609" y="317778"/>
                  </a:cubicBezTo>
                  <a:lnTo>
                    <a:pt x="303609" y="246936"/>
                  </a:lnTo>
                  <a:cubicBezTo>
                    <a:pt x="303609" y="246936"/>
                    <a:pt x="255437" y="290655"/>
                    <a:pt x="185809" y="290655"/>
                  </a:cubicBezTo>
                  <a:cubicBezTo>
                    <a:pt x="123063" y="290655"/>
                    <a:pt x="81772" y="255032"/>
                    <a:pt x="71247" y="204835"/>
                  </a:cubicBezTo>
                  <a:lnTo>
                    <a:pt x="322231" y="204835"/>
                  </a:lnTo>
                  <a:cubicBezTo>
                    <a:pt x="323041" y="195929"/>
                    <a:pt x="323445" y="186618"/>
                    <a:pt x="323445" y="177713"/>
                  </a:cubicBezTo>
                  <a:cubicBezTo>
                    <a:pt x="323445" y="79748"/>
                    <a:pt x="256247" y="0"/>
                    <a:pt x="164758" y="0"/>
                  </a:cubicBezTo>
                  <a:close/>
                </a:path>
              </a:pathLst>
            </a:custGeom>
            <a:solidFill>
              <a:srgbClr val="FFFFFF"/>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rgbClr val="000000"/>
                </a:solidFill>
                <a:latin typeface="Calibri"/>
                <a:ea typeface="Calibri"/>
                <a:cs typeface="Calibri"/>
                <a:sym typeface="Calibri"/>
              </a:endParaRPr>
            </a:p>
          </p:txBody>
        </p:sp>
        <p:sp>
          <p:nvSpPr>
            <p:cNvPr id="2886" name="Google Shape;2886;p71"/>
            <p:cNvSpPr/>
            <p:nvPr/>
          </p:nvSpPr>
          <p:spPr>
            <a:xfrm>
              <a:off x="3429268" y="1451556"/>
              <a:ext cx="74687" cy="65883"/>
            </a:xfrm>
            <a:custGeom>
              <a:avLst/>
              <a:gdLst/>
              <a:ahLst/>
              <a:cxnLst/>
              <a:rect l="l" t="t" r="r" b="b"/>
              <a:pathLst>
                <a:path w="99583" h="87844" extrusionOk="0">
                  <a:moveTo>
                    <a:pt x="24693" y="0"/>
                  </a:moveTo>
                  <a:lnTo>
                    <a:pt x="0" y="43720"/>
                  </a:lnTo>
                  <a:lnTo>
                    <a:pt x="24693" y="87844"/>
                  </a:lnTo>
                  <a:lnTo>
                    <a:pt x="74890" y="87844"/>
                  </a:lnTo>
                  <a:lnTo>
                    <a:pt x="99584" y="43720"/>
                  </a:lnTo>
                  <a:lnTo>
                    <a:pt x="74890" y="0"/>
                  </a:lnTo>
                  <a:close/>
                </a:path>
              </a:pathLst>
            </a:custGeom>
            <a:solidFill>
              <a:srgbClr val="FFFFFF"/>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rgbClr val="000000"/>
                </a:solidFill>
                <a:latin typeface="Calibri"/>
                <a:ea typeface="Calibri"/>
                <a:cs typeface="Calibri"/>
                <a:sym typeface="Calibri"/>
              </a:endParaRPr>
            </a:p>
          </p:txBody>
        </p:sp>
        <p:sp>
          <p:nvSpPr>
            <p:cNvPr id="2887" name="Google Shape;2887;p71"/>
            <p:cNvSpPr/>
            <p:nvPr/>
          </p:nvSpPr>
          <p:spPr>
            <a:xfrm>
              <a:off x="2455288" y="1554783"/>
              <a:ext cx="375868" cy="261103"/>
            </a:xfrm>
            <a:custGeom>
              <a:avLst/>
              <a:gdLst/>
              <a:ahLst/>
              <a:cxnLst/>
              <a:rect l="l" t="t" r="r" b="b"/>
              <a:pathLst>
                <a:path w="501157" h="348138" extrusionOk="0">
                  <a:moveTo>
                    <a:pt x="433149" y="405"/>
                  </a:moveTo>
                  <a:lnTo>
                    <a:pt x="422219" y="405"/>
                  </a:lnTo>
                  <a:lnTo>
                    <a:pt x="422219" y="405"/>
                  </a:lnTo>
                  <a:lnTo>
                    <a:pt x="422219" y="405"/>
                  </a:lnTo>
                  <a:lnTo>
                    <a:pt x="284988" y="230338"/>
                  </a:lnTo>
                  <a:cubicBezTo>
                    <a:pt x="284988" y="192286"/>
                    <a:pt x="284178" y="405"/>
                    <a:pt x="284178" y="405"/>
                  </a:cubicBezTo>
                  <a:lnTo>
                    <a:pt x="216575" y="405"/>
                  </a:lnTo>
                  <a:lnTo>
                    <a:pt x="205645" y="405"/>
                  </a:lnTo>
                  <a:lnTo>
                    <a:pt x="205645" y="405"/>
                  </a:lnTo>
                  <a:lnTo>
                    <a:pt x="205645" y="405"/>
                  </a:lnTo>
                  <a:lnTo>
                    <a:pt x="69223" y="229529"/>
                  </a:lnTo>
                  <a:lnTo>
                    <a:pt x="68818" y="216170"/>
                  </a:lnTo>
                  <a:lnTo>
                    <a:pt x="69628" y="405"/>
                  </a:lnTo>
                  <a:lnTo>
                    <a:pt x="0" y="405"/>
                  </a:lnTo>
                  <a:lnTo>
                    <a:pt x="0" y="348139"/>
                  </a:lnTo>
                  <a:lnTo>
                    <a:pt x="69628" y="348139"/>
                  </a:lnTo>
                  <a:cubicBezTo>
                    <a:pt x="74081" y="340852"/>
                    <a:pt x="84606" y="322636"/>
                    <a:pt x="98369" y="299157"/>
                  </a:cubicBezTo>
                  <a:lnTo>
                    <a:pt x="216575" y="100394"/>
                  </a:lnTo>
                  <a:lnTo>
                    <a:pt x="216575" y="347734"/>
                  </a:lnTo>
                  <a:lnTo>
                    <a:pt x="285393" y="347734"/>
                  </a:lnTo>
                  <a:cubicBezTo>
                    <a:pt x="285393" y="347734"/>
                    <a:pt x="285393" y="347734"/>
                    <a:pt x="285393" y="347734"/>
                  </a:cubicBezTo>
                  <a:lnTo>
                    <a:pt x="285393" y="347734"/>
                  </a:lnTo>
                  <a:lnTo>
                    <a:pt x="432340" y="101608"/>
                  </a:lnTo>
                  <a:lnTo>
                    <a:pt x="432340" y="347734"/>
                  </a:lnTo>
                  <a:lnTo>
                    <a:pt x="501158" y="347734"/>
                  </a:lnTo>
                  <a:lnTo>
                    <a:pt x="501158" y="0"/>
                  </a:lnTo>
                  <a:lnTo>
                    <a:pt x="433149" y="0"/>
                  </a:lnTo>
                  <a:close/>
                </a:path>
              </a:pathLst>
            </a:custGeom>
            <a:solidFill>
              <a:srgbClr val="FFFFFF"/>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rgbClr val="000000"/>
                </a:solidFill>
                <a:latin typeface="Calibri"/>
                <a:ea typeface="Calibri"/>
                <a:cs typeface="Calibri"/>
                <a:sym typeface="Calibri"/>
              </a:endParaRPr>
            </a:p>
          </p:txBody>
        </p:sp>
        <p:sp>
          <p:nvSpPr>
            <p:cNvPr id="2888" name="Google Shape;2888;p71"/>
            <p:cNvSpPr/>
            <p:nvPr/>
          </p:nvSpPr>
          <p:spPr>
            <a:xfrm>
              <a:off x="4428749" y="1553569"/>
              <a:ext cx="234690" cy="263229"/>
            </a:xfrm>
            <a:custGeom>
              <a:avLst/>
              <a:gdLst/>
              <a:ahLst/>
              <a:cxnLst/>
              <a:rect l="l" t="t" r="r" b="b"/>
              <a:pathLst>
                <a:path w="312920" h="350972" extrusionOk="0">
                  <a:moveTo>
                    <a:pt x="68009" y="136017"/>
                  </a:moveTo>
                  <a:cubicBezTo>
                    <a:pt x="72057" y="123468"/>
                    <a:pt x="78129" y="112538"/>
                    <a:pt x="85821" y="103227"/>
                  </a:cubicBezTo>
                  <a:cubicBezTo>
                    <a:pt x="97155" y="89059"/>
                    <a:pt x="110514" y="78533"/>
                    <a:pt x="125492" y="71247"/>
                  </a:cubicBezTo>
                  <a:cubicBezTo>
                    <a:pt x="140470" y="63960"/>
                    <a:pt x="155853" y="60317"/>
                    <a:pt x="171236" y="60317"/>
                  </a:cubicBezTo>
                  <a:cubicBezTo>
                    <a:pt x="194310" y="60317"/>
                    <a:pt x="212932" y="65580"/>
                    <a:pt x="226290" y="75700"/>
                  </a:cubicBezTo>
                  <a:cubicBezTo>
                    <a:pt x="238435" y="84606"/>
                    <a:pt x="244102" y="95941"/>
                    <a:pt x="244102" y="110918"/>
                  </a:cubicBezTo>
                  <a:cubicBezTo>
                    <a:pt x="244102" y="119420"/>
                    <a:pt x="242078" y="130350"/>
                    <a:pt x="225481" y="140065"/>
                  </a:cubicBezTo>
                  <a:cubicBezTo>
                    <a:pt x="209693" y="149376"/>
                    <a:pt x="190667" y="153829"/>
                    <a:pt x="169212" y="153829"/>
                  </a:cubicBezTo>
                  <a:cubicBezTo>
                    <a:pt x="139256" y="153424"/>
                    <a:pt x="104847" y="147757"/>
                    <a:pt x="68009" y="136017"/>
                  </a:cubicBezTo>
                  <a:close/>
                  <a:moveTo>
                    <a:pt x="277297" y="238030"/>
                  </a:moveTo>
                  <a:lnTo>
                    <a:pt x="261509" y="252603"/>
                  </a:lnTo>
                  <a:cubicBezTo>
                    <a:pt x="247746" y="265152"/>
                    <a:pt x="232767" y="274868"/>
                    <a:pt x="217789" y="281749"/>
                  </a:cubicBezTo>
                  <a:cubicBezTo>
                    <a:pt x="203216" y="288227"/>
                    <a:pt x="185809" y="291465"/>
                    <a:pt x="165164" y="291465"/>
                  </a:cubicBezTo>
                  <a:cubicBezTo>
                    <a:pt x="146542" y="291465"/>
                    <a:pt x="129540" y="287012"/>
                    <a:pt x="113348" y="278106"/>
                  </a:cubicBezTo>
                  <a:cubicBezTo>
                    <a:pt x="97155" y="269200"/>
                    <a:pt x="84606" y="257056"/>
                    <a:pt x="74890" y="240458"/>
                  </a:cubicBezTo>
                  <a:cubicBezTo>
                    <a:pt x="66389" y="226290"/>
                    <a:pt x="61937" y="211312"/>
                    <a:pt x="60722" y="193905"/>
                  </a:cubicBezTo>
                  <a:cubicBezTo>
                    <a:pt x="75700" y="198763"/>
                    <a:pt x="89869" y="202406"/>
                    <a:pt x="103227" y="205645"/>
                  </a:cubicBezTo>
                  <a:cubicBezTo>
                    <a:pt x="124682" y="210907"/>
                    <a:pt x="147352" y="213336"/>
                    <a:pt x="170021" y="213336"/>
                  </a:cubicBezTo>
                  <a:cubicBezTo>
                    <a:pt x="191881" y="213336"/>
                    <a:pt x="212932" y="209693"/>
                    <a:pt x="232767" y="202406"/>
                  </a:cubicBezTo>
                  <a:cubicBezTo>
                    <a:pt x="253413" y="194715"/>
                    <a:pt x="270415" y="183380"/>
                    <a:pt x="283774" y="168807"/>
                  </a:cubicBezTo>
                  <a:cubicBezTo>
                    <a:pt x="297942" y="152614"/>
                    <a:pt x="305229" y="133183"/>
                    <a:pt x="305229" y="110514"/>
                  </a:cubicBezTo>
                  <a:cubicBezTo>
                    <a:pt x="305229" y="89059"/>
                    <a:pt x="299157" y="69628"/>
                    <a:pt x="286607" y="52221"/>
                  </a:cubicBezTo>
                  <a:cubicBezTo>
                    <a:pt x="274868" y="35623"/>
                    <a:pt x="258271" y="22265"/>
                    <a:pt x="237625" y="13359"/>
                  </a:cubicBezTo>
                  <a:cubicBezTo>
                    <a:pt x="217789" y="4453"/>
                    <a:pt x="195525" y="0"/>
                    <a:pt x="172045" y="0"/>
                  </a:cubicBezTo>
                  <a:cubicBezTo>
                    <a:pt x="143708" y="0"/>
                    <a:pt x="116181" y="7287"/>
                    <a:pt x="90273" y="21455"/>
                  </a:cubicBezTo>
                  <a:cubicBezTo>
                    <a:pt x="63961" y="36028"/>
                    <a:pt x="42101" y="57078"/>
                    <a:pt x="25503" y="85011"/>
                  </a:cubicBezTo>
                  <a:cubicBezTo>
                    <a:pt x="8501" y="112943"/>
                    <a:pt x="0" y="146542"/>
                    <a:pt x="0" y="184999"/>
                  </a:cubicBezTo>
                  <a:cubicBezTo>
                    <a:pt x="0" y="219408"/>
                    <a:pt x="8096" y="249769"/>
                    <a:pt x="24289" y="274868"/>
                  </a:cubicBezTo>
                  <a:cubicBezTo>
                    <a:pt x="40481" y="299966"/>
                    <a:pt x="61532" y="319397"/>
                    <a:pt x="87845" y="331946"/>
                  </a:cubicBezTo>
                  <a:cubicBezTo>
                    <a:pt x="113348" y="344495"/>
                    <a:pt x="140470" y="350973"/>
                    <a:pt x="168807" y="350973"/>
                  </a:cubicBezTo>
                  <a:cubicBezTo>
                    <a:pt x="195525" y="350973"/>
                    <a:pt x="219409" y="346115"/>
                    <a:pt x="240459" y="336399"/>
                  </a:cubicBezTo>
                  <a:cubicBezTo>
                    <a:pt x="260699" y="327088"/>
                    <a:pt x="280131" y="313730"/>
                    <a:pt x="298752" y="297132"/>
                  </a:cubicBezTo>
                  <a:lnTo>
                    <a:pt x="312920" y="284583"/>
                  </a:lnTo>
                  <a:lnTo>
                    <a:pt x="277297" y="238030"/>
                  </a:lnTo>
                  <a:close/>
                </a:path>
              </a:pathLst>
            </a:custGeom>
            <a:solidFill>
              <a:srgbClr val="FFFFFF"/>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rgbClr val="000000"/>
                </a:solidFill>
                <a:latin typeface="Calibri"/>
                <a:ea typeface="Calibri"/>
                <a:cs typeface="Calibri"/>
                <a:sym typeface="Calibri"/>
              </a:endParaRPr>
            </a:p>
          </p:txBody>
        </p:sp>
        <p:sp>
          <p:nvSpPr>
            <p:cNvPr id="2889" name="Google Shape;2889;p71"/>
            <p:cNvSpPr/>
            <p:nvPr/>
          </p:nvSpPr>
          <p:spPr>
            <a:xfrm>
              <a:off x="3227064" y="1481006"/>
              <a:ext cx="183683" cy="334577"/>
            </a:xfrm>
            <a:custGeom>
              <a:avLst/>
              <a:gdLst/>
              <a:ahLst/>
              <a:cxnLst/>
              <a:rect l="l" t="t" r="r" b="b"/>
              <a:pathLst>
                <a:path w="244911" h="446103" extrusionOk="0">
                  <a:moveTo>
                    <a:pt x="156662" y="0"/>
                  </a:moveTo>
                  <a:lnTo>
                    <a:pt x="87844" y="0"/>
                  </a:lnTo>
                  <a:lnTo>
                    <a:pt x="87844" y="98369"/>
                  </a:lnTo>
                  <a:lnTo>
                    <a:pt x="0" y="98369"/>
                  </a:lnTo>
                  <a:lnTo>
                    <a:pt x="0" y="159496"/>
                  </a:lnTo>
                  <a:lnTo>
                    <a:pt x="87844" y="159496"/>
                  </a:lnTo>
                  <a:lnTo>
                    <a:pt x="87844" y="446103"/>
                  </a:lnTo>
                  <a:lnTo>
                    <a:pt x="156662" y="446103"/>
                  </a:lnTo>
                  <a:lnTo>
                    <a:pt x="156662" y="159496"/>
                  </a:lnTo>
                  <a:lnTo>
                    <a:pt x="244912" y="159496"/>
                  </a:lnTo>
                  <a:lnTo>
                    <a:pt x="244912" y="98369"/>
                  </a:lnTo>
                  <a:lnTo>
                    <a:pt x="156662" y="98369"/>
                  </a:lnTo>
                  <a:close/>
                </a:path>
              </a:pathLst>
            </a:custGeom>
            <a:solidFill>
              <a:srgbClr val="FFFFFF"/>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rgbClr val="000000"/>
                </a:solidFill>
                <a:latin typeface="Calibri"/>
                <a:ea typeface="Calibri"/>
                <a:cs typeface="Calibri"/>
                <a:sym typeface="Calibri"/>
              </a:endParaRPr>
            </a:p>
          </p:txBody>
        </p:sp>
        <p:sp>
          <p:nvSpPr>
            <p:cNvPr id="2890" name="Google Shape;2890;p71"/>
            <p:cNvSpPr/>
            <p:nvPr/>
          </p:nvSpPr>
          <p:spPr>
            <a:xfrm>
              <a:off x="4047416" y="1554480"/>
              <a:ext cx="140875" cy="261104"/>
            </a:xfrm>
            <a:custGeom>
              <a:avLst/>
              <a:gdLst/>
              <a:ahLst/>
              <a:cxnLst/>
              <a:rect l="l" t="t" r="r" b="b"/>
              <a:pathLst>
                <a:path w="187833" h="348138" extrusionOk="0">
                  <a:moveTo>
                    <a:pt x="4048" y="405"/>
                  </a:moveTo>
                  <a:lnTo>
                    <a:pt x="0" y="405"/>
                  </a:lnTo>
                  <a:lnTo>
                    <a:pt x="0" y="348139"/>
                  </a:lnTo>
                  <a:lnTo>
                    <a:pt x="69628" y="348139"/>
                  </a:lnTo>
                  <a:lnTo>
                    <a:pt x="69628" y="61127"/>
                  </a:lnTo>
                  <a:lnTo>
                    <a:pt x="187833" y="61127"/>
                  </a:lnTo>
                  <a:lnTo>
                    <a:pt x="187833" y="0"/>
                  </a:lnTo>
                  <a:lnTo>
                    <a:pt x="4048" y="0"/>
                  </a:lnTo>
                  <a:close/>
                </a:path>
              </a:pathLst>
            </a:custGeom>
            <a:solidFill>
              <a:srgbClr val="FFFFFF"/>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867">
                <a:solidFill>
                  <a:srgbClr val="000000"/>
                </a:solidFill>
                <a:latin typeface="Calibri"/>
                <a:ea typeface="Calibri"/>
                <a:cs typeface="Calibri"/>
                <a:sym typeface="Calibri"/>
              </a:endParaRPr>
            </a:p>
          </p:txBody>
        </p:sp>
      </p:grpSp>
      <p:sp>
        <p:nvSpPr>
          <p:cNvPr id="2891" name="Google Shape;2891;p71"/>
          <p:cNvSpPr txBox="1"/>
          <p:nvPr/>
        </p:nvSpPr>
        <p:spPr>
          <a:xfrm>
            <a:off x="5451800" y="6245247"/>
            <a:ext cx="1288400" cy="273200"/>
          </a:xfrm>
          <a:prstGeom prst="rect">
            <a:avLst/>
          </a:prstGeom>
          <a:noFill/>
          <a:ln>
            <a:noFill/>
          </a:ln>
        </p:spPr>
        <p:txBody>
          <a:bodyPr spcFirstLastPara="1" wrap="square" lIns="0" tIns="0" rIns="0" bIns="0" anchor="b" anchorCtr="0">
            <a:noAutofit/>
          </a:bodyPr>
          <a:lstStyle/>
          <a:p>
            <a:pPr marL="0" lvl="0" indent="0" algn="ctr" rtl="0">
              <a:spcBef>
                <a:spcPts val="0"/>
              </a:spcBef>
              <a:spcAft>
                <a:spcPts val="0"/>
              </a:spcAft>
              <a:buNone/>
            </a:pPr>
            <a:r>
              <a:rPr lang="en-GB" sz="667">
                <a:solidFill>
                  <a:srgbClr val="FFFFFF"/>
                </a:solidFill>
                <a:latin typeface="Inter"/>
                <a:ea typeface="Inter"/>
                <a:cs typeface="Inter"/>
                <a:sym typeface="Inter"/>
              </a:rPr>
              <a:t>Private and Confidential</a:t>
            </a:r>
            <a:endParaRPr sz="667">
              <a:solidFill>
                <a:srgbClr val="FFFFFF"/>
              </a:solidFill>
              <a:latin typeface="Inter"/>
              <a:ea typeface="Inter"/>
              <a:cs typeface="Inter"/>
              <a:sym typeface="Inter"/>
            </a:endParaRPr>
          </a:p>
        </p:txBody>
      </p:sp>
      <p:sp>
        <p:nvSpPr>
          <p:cNvPr id="2892" name="Google Shape;2892;p71"/>
          <p:cNvSpPr txBox="1">
            <a:spLocks noGrp="1"/>
          </p:cNvSpPr>
          <p:nvPr>
            <p:ph type="title"/>
          </p:nvPr>
        </p:nvSpPr>
        <p:spPr>
          <a:xfrm>
            <a:off x="1599500" y="2353600"/>
            <a:ext cx="8938000" cy="2150800"/>
          </a:xfrm>
          <a:prstGeom prst="rect">
            <a:avLst/>
          </a:prstGeom>
        </p:spPr>
        <p:txBody>
          <a:bodyPr spcFirstLastPara="1" wrap="square" lIns="0" tIns="34275" rIns="68575" bIns="34275" anchor="t" anchorCtr="0">
            <a:noAutofit/>
          </a:bodyPr>
          <a:lstStyle>
            <a:lvl1pPr lvl="0" algn="ctr" rtl="0">
              <a:spcBef>
                <a:spcPts val="0"/>
              </a:spcBef>
              <a:spcAft>
                <a:spcPts val="0"/>
              </a:spcAft>
              <a:buClr>
                <a:schemeClr val="lt1"/>
              </a:buClr>
              <a:buSzPts val="4600"/>
              <a:buFont typeface="Inter Medium"/>
              <a:buNone/>
              <a:defRPr sz="6133">
                <a:solidFill>
                  <a:schemeClr val="lt1"/>
                </a:solidFill>
                <a:latin typeface="Inter Medium"/>
                <a:ea typeface="Inter Medium"/>
                <a:cs typeface="Inter Medium"/>
                <a:sym typeface="Inter Medium"/>
              </a:defRPr>
            </a:lvl1pPr>
            <a:lvl2pPr lvl="1" algn="ctr" rtl="0">
              <a:spcBef>
                <a:spcPts val="0"/>
              </a:spcBef>
              <a:spcAft>
                <a:spcPts val="0"/>
              </a:spcAft>
              <a:buClr>
                <a:schemeClr val="lt1"/>
              </a:buClr>
              <a:buSzPts val="4600"/>
              <a:buNone/>
              <a:defRPr sz="6133">
                <a:solidFill>
                  <a:schemeClr val="lt1"/>
                </a:solidFill>
              </a:defRPr>
            </a:lvl2pPr>
            <a:lvl3pPr lvl="2" algn="ctr" rtl="0">
              <a:spcBef>
                <a:spcPts val="0"/>
              </a:spcBef>
              <a:spcAft>
                <a:spcPts val="0"/>
              </a:spcAft>
              <a:buClr>
                <a:schemeClr val="lt1"/>
              </a:buClr>
              <a:buSzPts val="4600"/>
              <a:buNone/>
              <a:defRPr sz="6133">
                <a:solidFill>
                  <a:schemeClr val="lt1"/>
                </a:solidFill>
              </a:defRPr>
            </a:lvl3pPr>
            <a:lvl4pPr lvl="3" algn="ctr" rtl="0">
              <a:spcBef>
                <a:spcPts val="0"/>
              </a:spcBef>
              <a:spcAft>
                <a:spcPts val="0"/>
              </a:spcAft>
              <a:buClr>
                <a:schemeClr val="lt1"/>
              </a:buClr>
              <a:buSzPts val="4600"/>
              <a:buNone/>
              <a:defRPr sz="6133">
                <a:solidFill>
                  <a:schemeClr val="lt1"/>
                </a:solidFill>
              </a:defRPr>
            </a:lvl4pPr>
            <a:lvl5pPr lvl="4" algn="ctr" rtl="0">
              <a:spcBef>
                <a:spcPts val="0"/>
              </a:spcBef>
              <a:spcAft>
                <a:spcPts val="0"/>
              </a:spcAft>
              <a:buClr>
                <a:schemeClr val="lt1"/>
              </a:buClr>
              <a:buSzPts val="4600"/>
              <a:buNone/>
              <a:defRPr sz="6133">
                <a:solidFill>
                  <a:schemeClr val="lt1"/>
                </a:solidFill>
              </a:defRPr>
            </a:lvl5pPr>
            <a:lvl6pPr lvl="5" algn="ctr" rtl="0">
              <a:spcBef>
                <a:spcPts val="0"/>
              </a:spcBef>
              <a:spcAft>
                <a:spcPts val="0"/>
              </a:spcAft>
              <a:buClr>
                <a:schemeClr val="lt1"/>
              </a:buClr>
              <a:buSzPts val="4600"/>
              <a:buNone/>
              <a:defRPr sz="6133">
                <a:solidFill>
                  <a:schemeClr val="lt1"/>
                </a:solidFill>
              </a:defRPr>
            </a:lvl6pPr>
            <a:lvl7pPr lvl="6" algn="ctr" rtl="0">
              <a:spcBef>
                <a:spcPts val="0"/>
              </a:spcBef>
              <a:spcAft>
                <a:spcPts val="0"/>
              </a:spcAft>
              <a:buClr>
                <a:schemeClr val="lt1"/>
              </a:buClr>
              <a:buSzPts val="4600"/>
              <a:buNone/>
              <a:defRPr sz="6133">
                <a:solidFill>
                  <a:schemeClr val="lt1"/>
                </a:solidFill>
              </a:defRPr>
            </a:lvl7pPr>
            <a:lvl8pPr lvl="7" algn="ctr" rtl="0">
              <a:spcBef>
                <a:spcPts val="0"/>
              </a:spcBef>
              <a:spcAft>
                <a:spcPts val="0"/>
              </a:spcAft>
              <a:buClr>
                <a:schemeClr val="lt1"/>
              </a:buClr>
              <a:buSzPts val="4600"/>
              <a:buNone/>
              <a:defRPr sz="6133">
                <a:solidFill>
                  <a:schemeClr val="lt1"/>
                </a:solidFill>
              </a:defRPr>
            </a:lvl8pPr>
            <a:lvl9pPr lvl="8" algn="ctr" rtl="0">
              <a:spcBef>
                <a:spcPts val="0"/>
              </a:spcBef>
              <a:spcAft>
                <a:spcPts val="0"/>
              </a:spcAft>
              <a:buClr>
                <a:schemeClr val="lt1"/>
              </a:buClr>
              <a:buSzPts val="4600"/>
              <a:buNone/>
              <a:defRPr sz="6133">
                <a:solidFill>
                  <a:schemeClr val="lt1"/>
                </a:solidFill>
              </a:defRPr>
            </a:lvl9pPr>
          </a:lstStyle>
          <a:p>
            <a:endParaRPr/>
          </a:p>
        </p:txBody>
      </p:sp>
    </p:spTree>
    <p:extLst>
      <p:ext uri="{BB962C8B-B14F-4D97-AF65-F5344CB8AC3E}">
        <p14:creationId xmlns:p14="http://schemas.microsoft.com/office/powerpoint/2010/main" val="49162050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matchingName="Title slide 2">
  <p:cSld name="Title slide 2">
    <p:spTree>
      <p:nvGrpSpPr>
        <p:cNvPr id="1" name="Shape 2893"/>
        <p:cNvGrpSpPr/>
        <p:nvPr/>
      </p:nvGrpSpPr>
      <p:grpSpPr>
        <a:xfrm>
          <a:off x="0" y="0"/>
          <a:ext cx="0" cy="0"/>
          <a:chOff x="0" y="0"/>
          <a:chExt cx="0" cy="0"/>
        </a:xfrm>
      </p:grpSpPr>
      <p:sp>
        <p:nvSpPr>
          <p:cNvPr id="2894" name="Google Shape;2894;p72"/>
          <p:cNvSpPr txBox="1">
            <a:spLocks noGrp="1"/>
          </p:cNvSpPr>
          <p:nvPr>
            <p:ph type="ctrTitle"/>
          </p:nvPr>
        </p:nvSpPr>
        <p:spPr>
          <a:xfrm>
            <a:off x="415611" y="992767"/>
            <a:ext cx="11360800" cy="2736800"/>
          </a:xfrm>
          <a:prstGeom prst="rect">
            <a:avLst/>
          </a:prstGeom>
        </p:spPr>
        <p:txBody>
          <a:bodyPr spcFirstLastPara="1" wrap="square" lIns="0" tIns="34275" rIns="68575" bIns="34275" anchor="b" anchorCtr="0">
            <a:noAutofit/>
          </a:bodyPr>
          <a:lstStyle>
            <a:lvl1pPr lvl="0" algn="ctr" rtl="0">
              <a:spcBef>
                <a:spcPts val="0"/>
              </a:spcBef>
              <a:spcAft>
                <a:spcPts val="0"/>
              </a:spcAft>
              <a:buSzPts val="5200"/>
              <a:buNone/>
              <a:defRPr sz="6933"/>
            </a:lvl1pPr>
            <a:lvl2pPr lvl="1" algn="ctr" rtl="0">
              <a:spcBef>
                <a:spcPts val="0"/>
              </a:spcBef>
              <a:spcAft>
                <a:spcPts val="0"/>
              </a:spcAft>
              <a:buSzPts val="5200"/>
              <a:buNone/>
              <a:defRPr sz="6933"/>
            </a:lvl2pPr>
            <a:lvl3pPr lvl="2" algn="ctr" rtl="0">
              <a:spcBef>
                <a:spcPts val="0"/>
              </a:spcBef>
              <a:spcAft>
                <a:spcPts val="0"/>
              </a:spcAft>
              <a:buSzPts val="5200"/>
              <a:buNone/>
              <a:defRPr sz="6933"/>
            </a:lvl3pPr>
            <a:lvl4pPr lvl="3" algn="ctr" rtl="0">
              <a:spcBef>
                <a:spcPts val="0"/>
              </a:spcBef>
              <a:spcAft>
                <a:spcPts val="0"/>
              </a:spcAft>
              <a:buSzPts val="5200"/>
              <a:buNone/>
              <a:defRPr sz="6933"/>
            </a:lvl4pPr>
            <a:lvl5pPr lvl="4" algn="ctr" rtl="0">
              <a:spcBef>
                <a:spcPts val="0"/>
              </a:spcBef>
              <a:spcAft>
                <a:spcPts val="0"/>
              </a:spcAft>
              <a:buSzPts val="5200"/>
              <a:buNone/>
              <a:defRPr sz="6933"/>
            </a:lvl5pPr>
            <a:lvl6pPr lvl="5" algn="ctr" rtl="0">
              <a:spcBef>
                <a:spcPts val="0"/>
              </a:spcBef>
              <a:spcAft>
                <a:spcPts val="0"/>
              </a:spcAft>
              <a:buSzPts val="5200"/>
              <a:buNone/>
              <a:defRPr sz="6933"/>
            </a:lvl6pPr>
            <a:lvl7pPr lvl="6" algn="ctr" rtl="0">
              <a:spcBef>
                <a:spcPts val="0"/>
              </a:spcBef>
              <a:spcAft>
                <a:spcPts val="0"/>
              </a:spcAft>
              <a:buSzPts val="5200"/>
              <a:buNone/>
              <a:defRPr sz="6933"/>
            </a:lvl7pPr>
            <a:lvl8pPr lvl="7" algn="ctr" rtl="0">
              <a:spcBef>
                <a:spcPts val="0"/>
              </a:spcBef>
              <a:spcAft>
                <a:spcPts val="0"/>
              </a:spcAft>
              <a:buSzPts val="5200"/>
              <a:buNone/>
              <a:defRPr sz="6933"/>
            </a:lvl8pPr>
            <a:lvl9pPr lvl="8" algn="ctr" rtl="0">
              <a:spcBef>
                <a:spcPts val="0"/>
              </a:spcBef>
              <a:spcAft>
                <a:spcPts val="0"/>
              </a:spcAft>
              <a:buSzPts val="5200"/>
              <a:buNone/>
              <a:defRPr sz="6933"/>
            </a:lvl9pPr>
          </a:lstStyle>
          <a:p>
            <a:endParaRPr/>
          </a:p>
        </p:txBody>
      </p:sp>
      <p:sp>
        <p:nvSpPr>
          <p:cNvPr id="2895" name="Google Shape;2895;p72"/>
          <p:cNvSpPr txBox="1">
            <a:spLocks noGrp="1"/>
          </p:cNvSpPr>
          <p:nvPr>
            <p:ph type="subTitle" idx="1"/>
          </p:nvPr>
        </p:nvSpPr>
        <p:spPr>
          <a:xfrm>
            <a:off x="415600" y="3778833"/>
            <a:ext cx="11360800" cy="1056800"/>
          </a:xfrm>
          <a:prstGeom prst="rect">
            <a:avLst/>
          </a:prstGeom>
        </p:spPr>
        <p:txBody>
          <a:bodyPr spcFirstLastPara="1" wrap="square" lIns="0" tIns="34275" rIns="68575" bIns="34275" anchor="t" anchorCtr="0">
            <a:normAutofit/>
          </a:bodyPr>
          <a:lstStyle>
            <a:lvl1pPr lvl="0" algn="ctr" rtl="0">
              <a:lnSpc>
                <a:spcPct val="100000"/>
              </a:lnSpc>
              <a:spcBef>
                <a:spcPts val="1067"/>
              </a:spcBef>
              <a:spcAft>
                <a:spcPts val="0"/>
              </a:spcAft>
              <a:buSzPts val="2800"/>
              <a:buNone/>
              <a:defRPr sz="3733"/>
            </a:lvl1pPr>
            <a:lvl2pPr lvl="1" algn="ctr" rtl="0">
              <a:lnSpc>
                <a:spcPct val="100000"/>
              </a:lnSpc>
              <a:spcBef>
                <a:spcPts val="533"/>
              </a:spcBef>
              <a:spcAft>
                <a:spcPts val="0"/>
              </a:spcAft>
              <a:buSzPts val="2800"/>
              <a:buNone/>
              <a:defRPr sz="3733"/>
            </a:lvl2pPr>
            <a:lvl3pPr lvl="2" algn="ctr" rtl="0">
              <a:lnSpc>
                <a:spcPct val="100000"/>
              </a:lnSpc>
              <a:spcBef>
                <a:spcPts val="533"/>
              </a:spcBef>
              <a:spcAft>
                <a:spcPts val="0"/>
              </a:spcAft>
              <a:buSzPts val="2800"/>
              <a:buNone/>
              <a:defRPr sz="3733"/>
            </a:lvl3pPr>
            <a:lvl4pPr lvl="3" algn="ctr" rtl="0">
              <a:lnSpc>
                <a:spcPct val="100000"/>
              </a:lnSpc>
              <a:spcBef>
                <a:spcPts val="533"/>
              </a:spcBef>
              <a:spcAft>
                <a:spcPts val="0"/>
              </a:spcAft>
              <a:buSzPts val="2800"/>
              <a:buNone/>
              <a:defRPr sz="3733"/>
            </a:lvl4pPr>
            <a:lvl5pPr lvl="4" algn="ctr" rtl="0">
              <a:lnSpc>
                <a:spcPct val="100000"/>
              </a:lnSpc>
              <a:spcBef>
                <a:spcPts val="533"/>
              </a:spcBef>
              <a:spcAft>
                <a:spcPts val="0"/>
              </a:spcAft>
              <a:buSzPts val="2800"/>
              <a:buNone/>
              <a:defRPr sz="3733"/>
            </a:lvl5pPr>
            <a:lvl6pPr lvl="5" algn="ctr" rtl="0">
              <a:lnSpc>
                <a:spcPct val="100000"/>
              </a:lnSpc>
              <a:spcBef>
                <a:spcPts val="533"/>
              </a:spcBef>
              <a:spcAft>
                <a:spcPts val="0"/>
              </a:spcAft>
              <a:buSzPts val="2800"/>
              <a:buNone/>
              <a:defRPr sz="3733"/>
            </a:lvl6pPr>
            <a:lvl7pPr lvl="6" algn="ctr" rtl="0">
              <a:lnSpc>
                <a:spcPct val="100000"/>
              </a:lnSpc>
              <a:spcBef>
                <a:spcPts val="533"/>
              </a:spcBef>
              <a:spcAft>
                <a:spcPts val="0"/>
              </a:spcAft>
              <a:buSzPts val="2800"/>
              <a:buNone/>
              <a:defRPr sz="3733"/>
            </a:lvl7pPr>
            <a:lvl8pPr lvl="7" algn="ctr" rtl="0">
              <a:lnSpc>
                <a:spcPct val="100000"/>
              </a:lnSpc>
              <a:spcBef>
                <a:spcPts val="533"/>
              </a:spcBef>
              <a:spcAft>
                <a:spcPts val="0"/>
              </a:spcAft>
              <a:buSzPts val="2800"/>
              <a:buNone/>
              <a:defRPr sz="3733"/>
            </a:lvl8pPr>
            <a:lvl9pPr lvl="8" algn="ctr" rtl="0">
              <a:lnSpc>
                <a:spcPct val="100000"/>
              </a:lnSpc>
              <a:spcBef>
                <a:spcPts val="533"/>
              </a:spcBef>
              <a:spcAft>
                <a:spcPts val="0"/>
              </a:spcAft>
              <a:buSzPts val="2800"/>
              <a:buNone/>
              <a:defRPr sz="3733"/>
            </a:lvl9pPr>
          </a:lstStyle>
          <a:p>
            <a:endParaRPr/>
          </a:p>
        </p:txBody>
      </p:sp>
      <p:sp>
        <p:nvSpPr>
          <p:cNvPr id="2896" name="Google Shape;2896;p72"/>
          <p:cNvSpPr txBox="1">
            <a:spLocks noGrp="1"/>
          </p:cNvSpPr>
          <p:nvPr>
            <p:ph type="sldNum" idx="12"/>
          </p:nvPr>
        </p:nvSpPr>
        <p:spPr>
          <a:xfrm>
            <a:off x="11296611" y="6217623"/>
            <a:ext cx="731600" cy="524800"/>
          </a:xfrm>
          <a:prstGeom prst="rect">
            <a:avLst/>
          </a:prstGeom>
        </p:spPr>
        <p:txBody>
          <a:bodyPr spcFirstLastPara="1" wrap="square" lIns="91425" tIns="91425" rIns="0" bIns="0" anchor="b"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GB" smtClean="0"/>
              <a:pPr/>
              <a:t>‹#›</a:t>
            </a:fld>
            <a:endParaRPr lang="en-GB"/>
          </a:p>
        </p:txBody>
      </p:sp>
    </p:spTree>
    <p:extLst>
      <p:ext uri="{BB962C8B-B14F-4D97-AF65-F5344CB8AC3E}">
        <p14:creationId xmlns:p14="http://schemas.microsoft.com/office/powerpoint/2010/main" val="55147398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Layout" Target="../slideLayouts/slideLayout14.xml"/><Relationship Id="rId7" Type="http://schemas.openxmlformats.org/officeDocument/2006/relationships/theme" Target="../theme/theme2.xml"/><Relationship Id="rId12" Type="http://schemas.openxmlformats.org/officeDocument/2006/relationships/image" Target="../media/image2.emf"/><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image" Target="../media/image1.emf"/><Relationship Id="rId5" Type="http://schemas.openxmlformats.org/officeDocument/2006/relationships/slideLayout" Target="../slideLayouts/slideLayout16.xml"/><Relationship Id="rId10" Type="http://schemas.openxmlformats.org/officeDocument/2006/relationships/oleObject" Target="../embeddings/oleObject1.bin"/><Relationship Id="rId4" Type="http://schemas.openxmlformats.org/officeDocument/2006/relationships/slideLayout" Target="../slideLayouts/slideLayout15.xml"/><Relationship Id="rId9" Type="http://schemas.openxmlformats.org/officeDocument/2006/relationships/tags" Target="../tags/tag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5.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theme" Target="../theme/theme3.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54.xml"/><Relationship Id="rId21" Type="http://schemas.openxmlformats.org/officeDocument/2006/relationships/slideLayout" Target="../slideLayouts/slideLayout49.xml"/><Relationship Id="rId42" Type="http://schemas.openxmlformats.org/officeDocument/2006/relationships/slideLayout" Target="../slideLayouts/slideLayout70.xml"/><Relationship Id="rId47" Type="http://schemas.openxmlformats.org/officeDocument/2006/relationships/slideLayout" Target="../slideLayouts/slideLayout75.xml"/><Relationship Id="rId63" Type="http://schemas.openxmlformats.org/officeDocument/2006/relationships/slideLayout" Target="../slideLayouts/slideLayout91.xml"/><Relationship Id="rId68" Type="http://schemas.openxmlformats.org/officeDocument/2006/relationships/slideLayout" Target="../slideLayouts/slideLayout96.xml"/><Relationship Id="rId7" Type="http://schemas.openxmlformats.org/officeDocument/2006/relationships/slideLayout" Target="../slideLayouts/slideLayout35.xml"/><Relationship Id="rId71" Type="http://schemas.openxmlformats.org/officeDocument/2006/relationships/slideLayout" Target="../slideLayouts/slideLayout99.xml"/><Relationship Id="rId2" Type="http://schemas.openxmlformats.org/officeDocument/2006/relationships/slideLayout" Target="../slideLayouts/slideLayout30.xml"/><Relationship Id="rId16" Type="http://schemas.openxmlformats.org/officeDocument/2006/relationships/slideLayout" Target="../slideLayouts/slideLayout44.xml"/><Relationship Id="rId29" Type="http://schemas.openxmlformats.org/officeDocument/2006/relationships/slideLayout" Target="../slideLayouts/slideLayout57.xml"/><Relationship Id="rId11" Type="http://schemas.openxmlformats.org/officeDocument/2006/relationships/slideLayout" Target="../slideLayouts/slideLayout39.xml"/><Relationship Id="rId24" Type="http://schemas.openxmlformats.org/officeDocument/2006/relationships/slideLayout" Target="../slideLayouts/slideLayout52.xml"/><Relationship Id="rId32" Type="http://schemas.openxmlformats.org/officeDocument/2006/relationships/slideLayout" Target="../slideLayouts/slideLayout60.xml"/><Relationship Id="rId37" Type="http://schemas.openxmlformats.org/officeDocument/2006/relationships/slideLayout" Target="../slideLayouts/slideLayout65.xml"/><Relationship Id="rId40" Type="http://schemas.openxmlformats.org/officeDocument/2006/relationships/slideLayout" Target="../slideLayouts/slideLayout68.xml"/><Relationship Id="rId45" Type="http://schemas.openxmlformats.org/officeDocument/2006/relationships/slideLayout" Target="../slideLayouts/slideLayout73.xml"/><Relationship Id="rId53" Type="http://schemas.openxmlformats.org/officeDocument/2006/relationships/slideLayout" Target="../slideLayouts/slideLayout81.xml"/><Relationship Id="rId58" Type="http://schemas.openxmlformats.org/officeDocument/2006/relationships/slideLayout" Target="../slideLayouts/slideLayout86.xml"/><Relationship Id="rId66" Type="http://schemas.openxmlformats.org/officeDocument/2006/relationships/slideLayout" Target="../slideLayouts/slideLayout94.xml"/><Relationship Id="rId5" Type="http://schemas.openxmlformats.org/officeDocument/2006/relationships/slideLayout" Target="../slideLayouts/slideLayout33.xml"/><Relationship Id="rId61" Type="http://schemas.openxmlformats.org/officeDocument/2006/relationships/slideLayout" Target="../slideLayouts/slideLayout89.xml"/><Relationship Id="rId19" Type="http://schemas.openxmlformats.org/officeDocument/2006/relationships/slideLayout" Target="../slideLayouts/slideLayout47.xml"/><Relationship Id="rId14" Type="http://schemas.openxmlformats.org/officeDocument/2006/relationships/slideLayout" Target="../slideLayouts/slideLayout42.xml"/><Relationship Id="rId22" Type="http://schemas.openxmlformats.org/officeDocument/2006/relationships/slideLayout" Target="../slideLayouts/slideLayout50.xml"/><Relationship Id="rId27" Type="http://schemas.openxmlformats.org/officeDocument/2006/relationships/slideLayout" Target="../slideLayouts/slideLayout55.xml"/><Relationship Id="rId30" Type="http://schemas.openxmlformats.org/officeDocument/2006/relationships/slideLayout" Target="../slideLayouts/slideLayout58.xml"/><Relationship Id="rId35" Type="http://schemas.openxmlformats.org/officeDocument/2006/relationships/slideLayout" Target="../slideLayouts/slideLayout63.xml"/><Relationship Id="rId43" Type="http://schemas.openxmlformats.org/officeDocument/2006/relationships/slideLayout" Target="../slideLayouts/slideLayout71.xml"/><Relationship Id="rId48" Type="http://schemas.openxmlformats.org/officeDocument/2006/relationships/slideLayout" Target="../slideLayouts/slideLayout76.xml"/><Relationship Id="rId56" Type="http://schemas.openxmlformats.org/officeDocument/2006/relationships/slideLayout" Target="../slideLayouts/slideLayout84.xml"/><Relationship Id="rId64" Type="http://schemas.openxmlformats.org/officeDocument/2006/relationships/slideLayout" Target="../slideLayouts/slideLayout92.xml"/><Relationship Id="rId69" Type="http://schemas.openxmlformats.org/officeDocument/2006/relationships/slideLayout" Target="../slideLayouts/slideLayout97.xml"/><Relationship Id="rId8" Type="http://schemas.openxmlformats.org/officeDocument/2006/relationships/slideLayout" Target="../slideLayouts/slideLayout36.xml"/><Relationship Id="rId51" Type="http://schemas.openxmlformats.org/officeDocument/2006/relationships/slideLayout" Target="../slideLayouts/slideLayout79.xml"/><Relationship Id="rId72" Type="http://schemas.openxmlformats.org/officeDocument/2006/relationships/theme" Target="../theme/theme4.xml"/><Relationship Id="rId3" Type="http://schemas.openxmlformats.org/officeDocument/2006/relationships/slideLayout" Target="../slideLayouts/slideLayout31.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5" Type="http://schemas.openxmlformats.org/officeDocument/2006/relationships/slideLayout" Target="../slideLayouts/slideLayout53.xml"/><Relationship Id="rId33" Type="http://schemas.openxmlformats.org/officeDocument/2006/relationships/slideLayout" Target="../slideLayouts/slideLayout61.xml"/><Relationship Id="rId38" Type="http://schemas.openxmlformats.org/officeDocument/2006/relationships/slideLayout" Target="../slideLayouts/slideLayout66.xml"/><Relationship Id="rId46" Type="http://schemas.openxmlformats.org/officeDocument/2006/relationships/slideLayout" Target="../slideLayouts/slideLayout74.xml"/><Relationship Id="rId59" Type="http://schemas.openxmlformats.org/officeDocument/2006/relationships/slideLayout" Target="../slideLayouts/slideLayout87.xml"/><Relationship Id="rId67" Type="http://schemas.openxmlformats.org/officeDocument/2006/relationships/slideLayout" Target="../slideLayouts/slideLayout95.xml"/><Relationship Id="rId20" Type="http://schemas.openxmlformats.org/officeDocument/2006/relationships/slideLayout" Target="../slideLayouts/slideLayout48.xml"/><Relationship Id="rId41" Type="http://schemas.openxmlformats.org/officeDocument/2006/relationships/slideLayout" Target="../slideLayouts/slideLayout69.xml"/><Relationship Id="rId54" Type="http://schemas.openxmlformats.org/officeDocument/2006/relationships/slideLayout" Target="../slideLayouts/slideLayout82.xml"/><Relationship Id="rId62" Type="http://schemas.openxmlformats.org/officeDocument/2006/relationships/slideLayout" Target="../slideLayouts/slideLayout90.xml"/><Relationship Id="rId70" Type="http://schemas.openxmlformats.org/officeDocument/2006/relationships/slideLayout" Target="../slideLayouts/slideLayout98.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5" Type="http://schemas.openxmlformats.org/officeDocument/2006/relationships/slideLayout" Target="../slideLayouts/slideLayout43.xml"/><Relationship Id="rId23" Type="http://schemas.openxmlformats.org/officeDocument/2006/relationships/slideLayout" Target="../slideLayouts/slideLayout51.xml"/><Relationship Id="rId28" Type="http://schemas.openxmlformats.org/officeDocument/2006/relationships/slideLayout" Target="../slideLayouts/slideLayout56.xml"/><Relationship Id="rId36" Type="http://schemas.openxmlformats.org/officeDocument/2006/relationships/slideLayout" Target="../slideLayouts/slideLayout64.xml"/><Relationship Id="rId49" Type="http://schemas.openxmlformats.org/officeDocument/2006/relationships/slideLayout" Target="../slideLayouts/slideLayout77.xml"/><Relationship Id="rId57" Type="http://schemas.openxmlformats.org/officeDocument/2006/relationships/slideLayout" Target="../slideLayouts/slideLayout85.xml"/><Relationship Id="rId10" Type="http://schemas.openxmlformats.org/officeDocument/2006/relationships/slideLayout" Target="../slideLayouts/slideLayout38.xml"/><Relationship Id="rId31" Type="http://schemas.openxmlformats.org/officeDocument/2006/relationships/slideLayout" Target="../slideLayouts/slideLayout59.xml"/><Relationship Id="rId44" Type="http://schemas.openxmlformats.org/officeDocument/2006/relationships/slideLayout" Target="../slideLayouts/slideLayout72.xml"/><Relationship Id="rId52" Type="http://schemas.openxmlformats.org/officeDocument/2006/relationships/slideLayout" Target="../slideLayouts/slideLayout80.xml"/><Relationship Id="rId60" Type="http://schemas.openxmlformats.org/officeDocument/2006/relationships/slideLayout" Target="../slideLayouts/slideLayout88.xml"/><Relationship Id="rId65" Type="http://schemas.openxmlformats.org/officeDocument/2006/relationships/slideLayout" Target="../slideLayouts/slideLayout93.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3" Type="http://schemas.openxmlformats.org/officeDocument/2006/relationships/slideLayout" Target="../slideLayouts/slideLayout41.xml"/><Relationship Id="rId18" Type="http://schemas.openxmlformats.org/officeDocument/2006/relationships/slideLayout" Target="../slideLayouts/slideLayout46.xml"/><Relationship Id="rId39" Type="http://schemas.openxmlformats.org/officeDocument/2006/relationships/slideLayout" Target="../slideLayouts/slideLayout67.xml"/><Relationship Id="rId34" Type="http://schemas.openxmlformats.org/officeDocument/2006/relationships/slideLayout" Target="../slideLayouts/slideLayout62.xml"/><Relationship Id="rId50" Type="http://schemas.openxmlformats.org/officeDocument/2006/relationships/slideLayout" Target="../slideLayouts/slideLayout78.xml"/><Relationship Id="rId55" Type="http://schemas.openxmlformats.org/officeDocument/2006/relationships/slideLayout" Target="../slideLayouts/slideLayout8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3" Type="http://schemas.openxmlformats.org/officeDocument/2006/relationships/slideLayout" Target="../slideLayouts/slideLayout102.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theme" Target="../theme/theme5.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10" Type="http://schemas.openxmlformats.org/officeDocument/2006/relationships/slideLayout" Target="../slideLayouts/slideLayout109.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3.xml"/><Relationship Id="rId3" Type="http://schemas.openxmlformats.org/officeDocument/2006/relationships/slideLayout" Target="../slideLayouts/slideLayout118.xml"/><Relationship Id="rId7" Type="http://schemas.openxmlformats.org/officeDocument/2006/relationships/slideLayout" Target="../slideLayouts/slideLayout122.xml"/><Relationship Id="rId12" Type="http://schemas.openxmlformats.org/officeDocument/2006/relationships/theme" Target="../theme/theme6.xml"/><Relationship Id="rId2" Type="http://schemas.openxmlformats.org/officeDocument/2006/relationships/slideLayout" Target="../slideLayouts/slideLayout117.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11" Type="http://schemas.openxmlformats.org/officeDocument/2006/relationships/slideLayout" Target="../slideLayouts/slideLayout126.xml"/><Relationship Id="rId5" Type="http://schemas.openxmlformats.org/officeDocument/2006/relationships/slideLayout" Target="../slideLayouts/slideLayout120.xml"/><Relationship Id="rId10" Type="http://schemas.openxmlformats.org/officeDocument/2006/relationships/slideLayout" Target="../slideLayouts/slideLayout125.xml"/><Relationship Id="rId4" Type="http://schemas.openxmlformats.org/officeDocument/2006/relationships/slideLayout" Target="../slideLayouts/slideLayout119.xml"/><Relationship Id="rId9" Type="http://schemas.openxmlformats.org/officeDocument/2006/relationships/slideLayout" Target="../slideLayouts/slideLayout12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4.xml"/><Relationship Id="rId3" Type="http://schemas.openxmlformats.org/officeDocument/2006/relationships/slideLayout" Target="../slideLayouts/slideLayout129.xml"/><Relationship Id="rId7" Type="http://schemas.openxmlformats.org/officeDocument/2006/relationships/slideLayout" Target="../slideLayouts/slideLayout133.xml"/><Relationship Id="rId12" Type="http://schemas.openxmlformats.org/officeDocument/2006/relationships/theme" Target="../theme/theme7.xml"/><Relationship Id="rId2" Type="http://schemas.openxmlformats.org/officeDocument/2006/relationships/slideLayout" Target="../slideLayouts/slideLayout128.xml"/><Relationship Id="rId1" Type="http://schemas.openxmlformats.org/officeDocument/2006/relationships/slideLayout" Target="../slideLayouts/slideLayout127.xml"/><Relationship Id="rId6" Type="http://schemas.openxmlformats.org/officeDocument/2006/relationships/slideLayout" Target="../slideLayouts/slideLayout132.xml"/><Relationship Id="rId11" Type="http://schemas.openxmlformats.org/officeDocument/2006/relationships/slideLayout" Target="../slideLayouts/slideLayout137.xml"/><Relationship Id="rId5" Type="http://schemas.openxmlformats.org/officeDocument/2006/relationships/slideLayout" Target="../slideLayouts/slideLayout131.xml"/><Relationship Id="rId10" Type="http://schemas.openxmlformats.org/officeDocument/2006/relationships/slideLayout" Target="../slideLayouts/slideLayout136.xml"/><Relationship Id="rId4" Type="http://schemas.openxmlformats.org/officeDocument/2006/relationships/slideLayout" Target="../slideLayouts/slideLayout130.xml"/><Relationship Id="rId9" Type="http://schemas.openxmlformats.org/officeDocument/2006/relationships/slideLayout" Target="../slideLayouts/slideLayout13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8500FC7-57B0-62BA-F904-11471165809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p>
        </p:txBody>
      </p:sp>
      <p:sp>
        <p:nvSpPr>
          <p:cNvPr id="3" name="Text Placeholder 2">
            <a:extLst>
              <a:ext uri="{FF2B5EF4-FFF2-40B4-BE49-F238E27FC236}">
                <a16:creationId xmlns:a16="http://schemas.microsoft.com/office/drawing/2014/main" id="{35FE43D0-0B43-7394-187B-402154A9592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81170E88-5D82-A874-1193-88A4E68FF55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923CFB00-16CD-4A5D-8353-B2F2FFED28E8}" type="datetimeFigureOut">
              <a:rPr lang="en-GB" smtClean="0"/>
              <a:t>23/06/2024</a:t>
            </a:fld>
            <a:endParaRPr lang="en-GB"/>
          </a:p>
        </p:txBody>
      </p:sp>
      <p:sp>
        <p:nvSpPr>
          <p:cNvPr id="5" name="Footer Placeholder 4">
            <a:extLst>
              <a:ext uri="{FF2B5EF4-FFF2-40B4-BE49-F238E27FC236}">
                <a16:creationId xmlns:a16="http://schemas.microsoft.com/office/drawing/2014/main" id="{B066159A-1E61-D7A7-D688-D77B08AEA19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GB"/>
          </a:p>
        </p:txBody>
      </p:sp>
      <p:sp>
        <p:nvSpPr>
          <p:cNvPr id="6" name="Slide Number Placeholder 5">
            <a:extLst>
              <a:ext uri="{FF2B5EF4-FFF2-40B4-BE49-F238E27FC236}">
                <a16:creationId xmlns:a16="http://schemas.microsoft.com/office/drawing/2014/main" id="{A1BB0744-81BB-FA7C-1577-9FE961C56FC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140D1FED-518D-4FB4-BCAB-05C56058F68A}" type="slidenum">
              <a:rPr lang="en-GB" smtClean="0"/>
              <a:t>‹#›</a:t>
            </a:fld>
            <a:endParaRPr lang="en-GB"/>
          </a:p>
        </p:txBody>
      </p:sp>
    </p:spTree>
    <p:extLst>
      <p:ext uri="{BB962C8B-B14F-4D97-AF65-F5344CB8AC3E}">
        <p14:creationId xmlns:p14="http://schemas.microsoft.com/office/powerpoint/2010/main" val="1815192484"/>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8"/>
            </p:custDataLst>
            <p:extLst>
              <p:ext uri="{D42A27DB-BD31-4B8C-83A1-F6EECF244321}">
                <p14:modId xmlns:p14="http://schemas.microsoft.com/office/powerpoint/2010/main" val="22476309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0" imgW="473" imgH="476" progId="TCLayout.ActiveDocument.1">
                  <p:embed/>
                </p:oleObj>
              </mc:Choice>
              <mc:Fallback>
                <p:oleObj name="think-cell Folie" r:id="rId10" imgW="473" imgH="476" progId="TCLayout.ActiveDocument.1">
                  <p:embed/>
                  <p:pic>
                    <p:nvPicPr>
                      <p:cNvPr id="7" name="Objekt 6" hidden="1"/>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8" name="Rechteck 7" hidden="1"/>
          <p:cNvSpPr/>
          <p:nvPr userDrawn="1">
            <p:custDataLst>
              <p:tags r:id="rId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endParaRPr lang="en-GB" sz="2800" b="0" i="0" baseline="0" dirty="0">
              <a:latin typeface="Calibri Light" panose="020F0302020204030204" pitchFamily="34" charset="0"/>
              <a:ea typeface="+mj-ea"/>
              <a:cs typeface="+mj-cs"/>
              <a:sym typeface="Calibri Light" panose="020F0302020204030204" pitchFamily="34" charset="0"/>
            </a:endParaRPr>
          </a:p>
        </p:txBody>
      </p:sp>
      <p:sp>
        <p:nvSpPr>
          <p:cNvPr id="11" name="Rechteck 10"/>
          <p:cNvSpPr/>
          <p:nvPr userDrawn="1"/>
        </p:nvSpPr>
        <p:spPr bwMode="auto">
          <a:xfrm>
            <a:off x="-2" y="6453187"/>
            <a:ext cx="12192002" cy="404813"/>
          </a:xfrm>
          <a:prstGeom prst="rect">
            <a:avLst/>
          </a:prstGeom>
          <a:solidFill>
            <a:schemeClr val="bg1"/>
          </a:solidFill>
          <a:ln w="9525" cap="flat" cmpd="sng" algn="ctr">
            <a:noFill/>
            <a:prstDash val="solid"/>
            <a:round/>
            <a:headEnd type="none" w="med" len="med"/>
            <a:tailEnd type="none" w="med" len="med"/>
          </a:ln>
          <a:effectLst/>
        </p:spPr>
        <p:txBody>
          <a:bodyPr wrap="none"/>
          <a:lstStyle/>
          <a:p>
            <a:pPr algn="r" rtl="0" eaLnBrk="1">
              <a:defRPr/>
            </a:pPr>
            <a:endParaRPr lang="en-GB" sz="1000" dirty="0">
              <a:solidFill>
                <a:srgbClr val="939393"/>
              </a:solidFill>
              <a:latin typeface="Arial" charset="0"/>
              <a:cs typeface="+mn-cs"/>
            </a:endParaRPr>
          </a:p>
        </p:txBody>
      </p:sp>
      <p:sp>
        <p:nvSpPr>
          <p:cNvPr id="2" name="Titelplatzhalter 1"/>
          <p:cNvSpPr>
            <a:spLocks noGrp="1"/>
          </p:cNvSpPr>
          <p:nvPr>
            <p:ph type="title"/>
          </p:nvPr>
        </p:nvSpPr>
        <p:spPr>
          <a:xfrm>
            <a:off x="338178" y="516950"/>
            <a:ext cx="9553968" cy="476250"/>
          </a:xfrm>
          <a:prstGeom prst="rect">
            <a:avLst/>
          </a:prstGeom>
        </p:spPr>
        <p:txBody>
          <a:bodyPr vert="horz" lIns="91440" tIns="45720" rIns="91440" bIns="45720" rtlCol="0" anchor="b">
            <a:noAutofit/>
          </a:bodyPr>
          <a:lstStyle/>
          <a:p>
            <a:r>
              <a:rPr lang="en-GB" dirty="0" err="1"/>
              <a:t>Titelmasterformat</a:t>
            </a:r>
            <a:r>
              <a:rPr lang="en-GB" dirty="0"/>
              <a:t> </a:t>
            </a:r>
            <a:r>
              <a:rPr lang="en-GB" dirty="0" err="1"/>
              <a:t>durch</a:t>
            </a:r>
            <a:r>
              <a:rPr lang="en-GB" dirty="0"/>
              <a:t> </a:t>
            </a:r>
            <a:r>
              <a:rPr lang="en-GB" dirty="0" err="1"/>
              <a:t>Klicken</a:t>
            </a:r>
            <a:r>
              <a:rPr lang="en-GB" dirty="0"/>
              <a:t> </a:t>
            </a:r>
            <a:r>
              <a:rPr lang="en-GB" dirty="0" err="1"/>
              <a:t>bearbeiten</a:t>
            </a:r>
            <a:endParaRPr lang="en-GB" dirty="0"/>
          </a:p>
        </p:txBody>
      </p:sp>
      <p:sp>
        <p:nvSpPr>
          <p:cNvPr id="3" name="Textplatzhalter 2"/>
          <p:cNvSpPr>
            <a:spLocks noGrp="1"/>
          </p:cNvSpPr>
          <p:nvPr>
            <p:ph type="body" idx="1"/>
          </p:nvPr>
        </p:nvSpPr>
        <p:spPr>
          <a:xfrm>
            <a:off x="338177" y="1288473"/>
            <a:ext cx="11515646" cy="4888490"/>
          </a:xfrm>
          <a:prstGeom prst="rect">
            <a:avLst/>
          </a:prstGeom>
        </p:spPr>
        <p:txBody>
          <a:bodyPr vert="horz" lIns="91440" tIns="45720" rIns="91440" bIns="45720" rtlCol="0">
            <a:noAutofit/>
          </a:bodyPr>
          <a:lstStyle/>
          <a:p>
            <a:pPr lvl="0"/>
            <a:r>
              <a:rPr lang="en-GB" dirty="0" err="1"/>
              <a:t>Formatvorlagen</a:t>
            </a:r>
            <a:r>
              <a:rPr lang="en-GB" dirty="0"/>
              <a:t> des </a:t>
            </a:r>
            <a:r>
              <a:rPr lang="en-GB" dirty="0" err="1"/>
              <a:t>Textmasters</a:t>
            </a:r>
            <a:r>
              <a:rPr lang="en-GB" dirty="0"/>
              <a:t> </a:t>
            </a:r>
            <a:r>
              <a:rPr lang="en-GB" dirty="0" err="1"/>
              <a:t>bearbeiten</a:t>
            </a:r>
            <a:endParaRPr lang="en-GB" dirty="0"/>
          </a:p>
          <a:p>
            <a:pPr lvl="1"/>
            <a:r>
              <a:rPr lang="en-GB" dirty="0" err="1"/>
              <a:t>Zweite</a:t>
            </a:r>
            <a:r>
              <a:rPr lang="en-GB" dirty="0"/>
              <a:t> </a:t>
            </a:r>
            <a:r>
              <a:rPr lang="en-GB" dirty="0" err="1"/>
              <a:t>Ebene</a:t>
            </a:r>
            <a:endParaRPr lang="en-GB" dirty="0"/>
          </a:p>
          <a:p>
            <a:pPr lvl="2"/>
            <a:r>
              <a:rPr lang="en-GB" dirty="0" err="1"/>
              <a:t>Dritte</a:t>
            </a:r>
            <a:r>
              <a:rPr lang="en-GB" dirty="0"/>
              <a:t> </a:t>
            </a:r>
            <a:r>
              <a:rPr lang="en-GB" dirty="0" err="1"/>
              <a:t>Ebene</a:t>
            </a:r>
            <a:endParaRPr lang="en-GB" dirty="0"/>
          </a:p>
          <a:p>
            <a:pPr lvl="3"/>
            <a:r>
              <a:rPr lang="en-GB" dirty="0" err="1"/>
              <a:t>Vierte</a:t>
            </a:r>
            <a:r>
              <a:rPr lang="en-GB" dirty="0"/>
              <a:t> </a:t>
            </a:r>
            <a:r>
              <a:rPr lang="en-GB" dirty="0" err="1"/>
              <a:t>Ebene</a:t>
            </a:r>
            <a:endParaRPr lang="en-GB" dirty="0"/>
          </a:p>
          <a:p>
            <a:pPr lvl="4"/>
            <a:r>
              <a:rPr lang="en-GB" dirty="0" err="1"/>
              <a:t>Fünfte</a:t>
            </a:r>
            <a:r>
              <a:rPr lang="en-GB" dirty="0"/>
              <a:t> </a:t>
            </a:r>
            <a:r>
              <a:rPr lang="en-GB" dirty="0" err="1"/>
              <a:t>Ebene</a:t>
            </a:r>
            <a:endParaRPr lang="en-GB" dirty="0"/>
          </a:p>
        </p:txBody>
      </p:sp>
      <p:sp>
        <p:nvSpPr>
          <p:cNvPr id="6" name="Foliennummernplatzhalter 5"/>
          <p:cNvSpPr>
            <a:spLocks noGrp="1"/>
          </p:cNvSpPr>
          <p:nvPr>
            <p:ph type="sldNum" sz="quarter" idx="4"/>
          </p:nvPr>
        </p:nvSpPr>
        <p:spPr>
          <a:xfrm>
            <a:off x="11481956" y="6449218"/>
            <a:ext cx="710044" cy="401638"/>
          </a:xfrm>
          <a:prstGeom prst="rect">
            <a:avLst/>
          </a:prstGeom>
        </p:spPr>
        <p:txBody>
          <a:bodyPr vert="horz" lIns="91440" tIns="45720" rIns="252000" bIns="45720" rtlCol="0" anchor="ctr"/>
          <a:lstStyle>
            <a:lvl1pPr algn="r" rtl="0">
              <a:defRPr sz="1200">
                <a:solidFill>
                  <a:schemeClr val="tx1">
                    <a:tint val="75000"/>
                  </a:schemeClr>
                </a:solidFill>
              </a:defRPr>
            </a:lvl1pPr>
          </a:lstStyle>
          <a:p>
            <a:fld id="{2F388A9D-AD37-461A-B994-DC3D6C9CD850}" type="slidenum">
              <a:rPr lang="en-GB" smtClean="0"/>
              <a:pPr/>
              <a:t>‹#›</a:t>
            </a:fld>
            <a:endParaRPr lang="en-GB" dirty="0"/>
          </a:p>
        </p:txBody>
      </p:sp>
      <p:sp>
        <p:nvSpPr>
          <p:cNvPr id="5" name="Fußzeilenplatzhalter 4"/>
          <p:cNvSpPr>
            <a:spLocks noGrp="1"/>
          </p:cNvSpPr>
          <p:nvPr>
            <p:ph type="ftr" sz="quarter" idx="3"/>
          </p:nvPr>
        </p:nvSpPr>
        <p:spPr>
          <a:xfrm>
            <a:off x="-2" y="6449218"/>
            <a:ext cx="11387471" cy="408782"/>
          </a:xfrm>
          <a:prstGeom prst="rect">
            <a:avLst/>
          </a:prstGeom>
        </p:spPr>
        <p:txBody>
          <a:bodyPr vert="horz" lIns="252000" tIns="45720" rIns="91440" bIns="45720" rtlCol="0" anchor="ctr"/>
          <a:lstStyle>
            <a:lvl1pPr algn="l" rtl="0" eaLnBrk="1">
              <a:defRPr sz="1200">
                <a:solidFill>
                  <a:schemeClr val="tx1">
                    <a:tint val="75000"/>
                  </a:schemeClr>
                </a:solidFill>
              </a:defRPr>
            </a:lvl1pPr>
          </a:lstStyle>
          <a:p>
            <a:r>
              <a:rPr lang="en-GB"/>
              <a:t>Elmos Semiconductor SE - Corporate Presentation 2022</a:t>
            </a:r>
            <a:endParaRPr lang="en-GB" dirty="0"/>
          </a:p>
        </p:txBody>
      </p:sp>
      <p:pic>
        <p:nvPicPr>
          <p:cNvPr id="9" name="Grafik 8"/>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10060349" y="333933"/>
            <a:ext cx="1803660" cy="526876"/>
          </a:xfrm>
          <a:prstGeom prst="rect">
            <a:avLst/>
          </a:prstGeom>
        </p:spPr>
      </p:pic>
    </p:spTree>
    <p:extLst>
      <p:ext uri="{BB962C8B-B14F-4D97-AF65-F5344CB8AC3E}">
        <p14:creationId xmlns:p14="http://schemas.microsoft.com/office/powerpoint/2010/main" val="950605220"/>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Lst>
  <p:hf hdr="0" dt="0"/>
  <p:txStyles>
    <p:titleStyle>
      <a:lvl1pPr algn="l" defTabSz="914400" rtl="0" eaLnBrk="1" latinLnBrk="0" hangingPunct="1">
        <a:lnSpc>
          <a:spcPct val="90000"/>
        </a:lnSpc>
        <a:spcBef>
          <a:spcPct val="0"/>
        </a:spcBef>
        <a:buNone/>
        <a:defRPr sz="2800" kern="1200" cap="none" baseline="0">
          <a:solidFill>
            <a:schemeClr val="accent3"/>
          </a:solidFill>
          <a:latin typeface="+mj-lt"/>
          <a:ea typeface="+mj-ea"/>
          <a:cs typeface="+mj-cs"/>
        </a:defRPr>
      </a:lvl1pPr>
    </p:titleStyle>
    <p:bodyStyle>
      <a:lvl1pPr marL="228600" indent="-228600" algn="l" defTabSz="914400" rtl="0" eaLnBrk="1" latinLnBrk="0" hangingPunct="1">
        <a:lnSpc>
          <a:spcPct val="100000"/>
        </a:lnSpc>
        <a:spcBef>
          <a:spcPts val="1000"/>
        </a:spcBef>
        <a:buClr>
          <a:schemeClr val="accent1"/>
        </a:buClr>
        <a:buSzPct val="90000"/>
        <a:buFont typeface="Wingdings" panose="05000000000000000000" pitchFamily="2" charset="2"/>
        <a:buChar char="§"/>
        <a:defRPr sz="2000" kern="1200">
          <a:solidFill>
            <a:schemeClr val="tx1"/>
          </a:solidFill>
          <a:latin typeface="+mj-lt"/>
          <a:ea typeface="+mn-ea"/>
          <a:cs typeface="+mn-cs"/>
        </a:defRPr>
      </a:lvl1pPr>
      <a:lvl2pPr marL="542925" indent="-276225" algn="l" defTabSz="914400" rtl="0" eaLnBrk="1" latinLnBrk="0" hangingPunct="1">
        <a:lnSpc>
          <a:spcPct val="100000"/>
        </a:lnSpc>
        <a:spcBef>
          <a:spcPts val="500"/>
        </a:spcBef>
        <a:buFont typeface="Symbol" panose="05050102010706020507" pitchFamily="18" charset="2"/>
        <a:buChar char="-"/>
        <a:defRPr sz="2000" kern="1200">
          <a:solidFill>
            <a:schemeClr val="tx1"/>
          </a:solidFill>
          <a:latin typeface="+mj-lt"/>
          <a:ea typeface="+mn-ea"/>
          <a:cs typeface="+mn-cs"/>
        </a:defRPr>
      </a:lvl2pPr>
      <a:lvl3pPr marL="714375" indent="-266700" algn="l" defTabSz="914400" rtl="0" eaLnBrk="1" latinLnBrk="0" hangingPunct="1">
        <a:lnSpc>
          <a:spcPct val="100000"/>
        </a:lnSpc>
        <a:spcBef>
          <a:spcPts val="500"/>
        </a:spcBef>
        <a:buFont typeface="Calibri" panose="020F0502020204030204" pitchFamily="34" charset="0"/>
        <a:buChar char="»"/>
        <a:defRPr sz="2000" kern="1200">
          <a:solidFill>
            <a:schemeClr val="tx1"/>
          </a:solidFill>
          <a:latin typeface="+mj-lt"/>
          <a:ea typeface="+mn-ea"/>
          <a:cs typeface="+mn-cs"/>
        </a:defRPr>
      </a:lvl3pPr>
      <a:lvl4pPr marL="990600" indent="-276225" algn="l" defTabSz="914400" rtl="0" eaLnBrk="1" latinLnBrk="0" hangingPunct="1">
        <a:lnSpc>
          <a:spcPct val="100000"/>
        </a:lnSpc>
        <a:spcBef>
          <a:spcPts val="500"/>
        </a:spcBef>
        <a:buFont typeface="Calibri" panose="020F0502020204030204" pitchFamily="34" charset="0"/>
        <a:buChar char="›"/>
        <a:defRPr sz="2000" kern="1200">
          <a:solidFill>
            <a:schemeClr val="tx1"/>
          </a:solidFill>
          <a:latin typeface="+mj-lt"/>
          <a:ea typeface="+mn-ea"/>
          <a:cs typeface="+mn-cs"/>
        </a:defRPr>
      </a:lvl4pPr>
      <a:lvl5pPr marL="1257300" indent="-266700" algn="l" defTabSz="914400" rtl="0" eaLnBrk="1" latinLnBrk="0" hangingPunct="1">
        <a:lnSpc>
          <a:spcPct val="100000"/>
        </a:lnSpc>
        <a:spcBef>
          <a:spcPts val="500"/>
        </a:spcBef>
        <a:buFont typeface="Arial" panose="020B0604020202020204" pitchFamily="34" charset="0"/>
        <a:buChar char="•"/>
        <a:defRPr sz="20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830C707-9685-A499-51C1-62DA948F318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68CD0EBB-2725-D4CC-48DC-A9E866D436B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319D9BE2-B4ED-A20E-2D38-20A8313D8F7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270978A3-844C-406B-AD2B-81E7BE933A90}" type="datetimeFigureOut">
              <a:rPr lang="en-GB" smtClean="0"/>
              <a:t>23/06/2024</a:t>
            </a:fld>
            <a:endParaRPr lang="en-GB"/>
          </a:p>
        </p:txBody>
      </p:sp>
      <p:sp>
        <p:nvSpPr>
          <p:cNvPr id="5" name="Footer Placeholder 4">
            <a:extLst>
              <a:ext uri="{FF2B5EF4-FFF2-40B4-BE49-F238E27FC236}">
                <a16:creationId xmlns:a16="http://schemas.microsoft.com/office/drawing/2014/main" id="{9DE563CD-AD57-1513-C7B3-F2019681606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GB"/>
          </a:p>
        </p:txBody>
      </p:sp>
      <p:sp>
        <p:nvSpPr>
          <p:cNvPr id="6" name="Slide Number Placeholder 5">
            <a:extLst>
              <a:ext uri="{FF2B5EF4-FFF2-40B4-BE49-F238E27FC236}">
                <a16:creationId xmlns:a16="http://schemas.microsoft.com/office/drawing/2014/main" id="{AB2DBA84-1E9C-E954-C261-67A07411A5F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40CBEE42-7F5A-43F2-83A3-1F442347B8BD}" type="slidenum">
              <a:rPr lang="en-GB" smtClean="0"/>
              <a:t>‹#›</a:t>
            </a:fld>
            <a:endParaRPr lang="en-GB"/>
          </a:p>
        </p:txBody>
      </p:sp>
    </p:spTree>
    <p:extLst>
      <p:ext uri="{BB962C8B-B14F-4D97-AF65-F5344CB8AC3E}">
        <p14:creationId xmlns:p14="http://schemas.microsoft.com/office/powerpoint/2010/main" val="4049184554"/>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699" r:id="rId8"/>
    <p:sldLayoutId id="2147483700" r:id="rId9"/>
    <p:sldLayoutId id="2147483701" r:id="rId10"/>
    <p:sldLayoutId id="2147483702"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sp>
        <p:nvSpPr>
          <p:cNvPr id="6" name="Google Shape;6;p1" descr="Header"/>
          <p:cNvSpPr txBox="1">
            <a:spLocks noGrp="1"/>
          </p:cNvSpPr>
          <p:nvPr>
            <p:ph type="title"/>
          </p:nvPr>
        </p:nvSpPr>
        <p:spPr>
          <a:xfrm>
            <a:off x="838200" y="365125"/>
            <a:ext cx="10515600" cy="1325600"/>
          </a:xfrm>
          <a:prstGeom prst="rect">
            <a:avLst/>
          </a:prstGeom>
          <a:noFill/>
          <a:ln>
            <a:noFill/>
          </a:ln>
        </p:spPr>
        <p:txBody>
          <a:bodyPr spcFirstLastPara="1" wrap="square" lIns="0" tIns="34275" rIns="68575" bIns="34275" anchor="ctr" anchorCtr="0">
            <a:noAutofit/>
          </a:bodyPr>
          <a:lstStyle>
            <a:lvl1pPr marR="0" lvl="0" algn="l" rtl="0">
              <a:lnSpc>
                <a:spcPct val="90000"/>
              </a:lnSpc>
              <a:spcBef>
                <a:spcPts val="0"/>
              </a:spcBef>
              <a:spcAft>
                <a:spcPts val="0"/>
              </a:spcAft>
              <a:buClr>
                <a:schemeClr val="dk1"/>
              </a:buClr>
              <a:buSzPts val="3300"/>
              <a:buFont typeface="Inter Medium"/>
              <a:buNone/>
              <a:defRPr sz="3300" i="0" u="none" strike="noStrike" cap="none">
                <a:solidFill>
                  <a:schemeClr val="dk1"/>
                </a:solidFill>
                <a:latin typeface="Inter Medium"/>
                <a:ea typeface="Inter Medium"/>
                <a:cs typeface="Inter Medium"/>
                <a:sym typeface="Inter Medium"/>
              </a:defRPr>
            </a:lvl1pPr>
            <a:lvl2pPr marR="0" lvl="1" algn="l" rtl="0">
              <a:lnSpc>
                <a:spcPct val="100000"/>
              </a:lnSpc>
              <a:spcBef>
                <a:spcPts val="0"/>
              </a:spcBef>
              <a:spcAft>
                <a:spcPts val="0"/>
              </a:spcAft>
              <a:buClr>
                <a:srgbClr val="000000"/>
              </a:buClr>
              <a:buSzPts val="1100"/>
              <a:buFont typeface="Inter Medium"/>
              <a:buNone/>
              <a:defRPr sz="1400" i="0" u="none" strike="noStrike" cap="none">
                <a:solidFill>
                  <a:srgbClr val="000000"/>
                </a:solidFill>
                <a:latin typeface="Inter Medium"/>
                <a:ea typeface="Inter Medium"/>
                <a:cs typeface="Inter Medium"/>
                <a:sym typeface="Inter Medium"/>
              </a:defRPr>
            </a:lvl2pPr>
            <a:lvl3pPr marR="0" lvl="2" algn="l" rtl="0">
              <a:lnSpc>
                <a:spcPct val="100000"/>
              </a:lnSpc>
              <a:spcBef>
                <a:spcPts val="0"/>
              </a:spcBef>
              <a:spcAft>
                <a:spcPts val="0"/>
              </a:spcAft>
              <a:buClr>
                <a:srgbClr val="000000"/>
              </a:buClr>
              <a:buSzPts val="1100"/>
              <a:buFont typeface="Inter Medium"/>
              <a:buNone/>
              <a:defRPr sz="1400" i="0" u="none" strike="noStrike" cap="none">
                <a:solidFill>
                  <a:srgbClr val="000000"/>
                </a:solidFill>
                <a:latin typeface="Inter Medium"/>
                <a:ea typeface="Inter Medium"/>
                <a:cs typeface="Inter Medium"/>
                <a:sym typeface="Inter Medium"/>
              </a:defRPr>
            </a:lvl3pPr>
            <a:lvl4pPr marR="0" lvl="3" algn="l" rtl="0">
              <a:lnSpc>
                <a:spcPct val="100000"/>
              </a:lnSpc>
              <a:spcBef>
                <a:spcPts val="0"/>
              </a:spcBef>
              <a:spcAft>
                <a:spcPts val="0"/>
              </a:spcAft>
              <a:buClr>
                <a:srgbClr val="000000"/>
              </a:buClr>
              <a:buSzPts val="1100"/>
              <a:buFont typeface="Inter Medium"/>
              <a:buNone/>
              <a:defRPr sz="1400" i="0" u="none" strike="noStrike" cap="none">
                <a:solidFill>
                  <a:srgbClr val="000000"/>
                </a:solidFill>
                <a:latin typeface="Inter Medium"/>
                <a:ea typeface="Inter Medium"/>
                <a:cs typeface="Inter Medium"/>
                <a:sym typeface="Inter Medium"/>
              </a:defRPr>
            </a:lvl4pPr>
            <a:lvl5pPr marR="0" lvl="4" algn="l" rtl="0">
              <a:lnSpc>
                <a:spcPct val="100000"/>
              </a:lnSpc>
              <a:spcBef>
                <a:spcPts val="0"/>
              </a:spcBef>
              <a:spcAft>
                <a:spcPts val="0"/>
              </a:spcAft>
              <a:buClr>
                <a:srgbClr val="000000"/>
              </a:buClr>
              <a:buSzPts val="1100"/>
              <a:buFont typeface="Inter Medium"/>
              <a:buNone/>
              <a:defRPr sz="1400" i="0" u="none" strike="noStrike" cap="none">
                <a:solidFill>
                  <a:srgbClr val="000000"/>
                </a:solidFill>
                <a:latin typeface="Inter Medium"/>
                <a:ea typeface="Inter Medium"/>
                <a:cs typeface="Inter Medium"/>
                <a:sym typeface="Inter Medium"/>
              </a:defRPr>
            </a:lvl5pPr>
            <a:lvl6pPr marR="0" lvl="5" algn="l" rtl="0">
              <a:lnSpc>
                <a:spcPct val="100000"/>
              </a:lnSpc>
              <a:spcBef>
                <a:spcPts val="0"/>
              </a:spcBef>
              <a:spcAft>
                <a:spcPts val="0"/>
              </a:spcAft>
              <a:buClr>
                <a:srgbClr val="000000"/>
              </a:buClr>
              <a:buSzPts val="1100"/>
              <a:buFont typeface="Inter Medium"/>
              <a:buNone/>
              <a:defRPr sz="1400" i="0" u="none" strike="noStrike" cap="none">
                <a:solidFill>
                  <a:srgbClr val="000000"/>
                </a:solidFill>
                <a:latin typeface="Inter Medium"/>
                <a:ea typeface="Inter Medium"/>
                <a:cs typeface="Inter Medium"/>
                <a:sym typeface="Inter Medium"/>
              </a:defRPr>
            </a:lvl6pPr>
            <a:lvl7pPr marR="0" lvl="6" algn="l" rtl="0">
              <a:lnSpc>
                <a:spcPct val="100000"/>
              </a:lnSpc>
              <a:spcBef>
                <a:spcPts val="0"/>
              </a:spcBef>
              <a:spcAft>
                <a:spcPts val="0"/>
              </a:spcAft>
              <a:buClr>
                <a:srgbClr val="000000"/>
              </a:buClr>
              <a:buSzPts val="1100"/>
              <a:buFont typeface="Inter Medium"/>
              <a:buNone/>
              <a:defRPr sz="1400" i="0" u="none" strike="noStrike" cap="none">
                <a:solidFill>
                  <a:srgbClr val="000000"/>
                </a:solidFill>
                <a:latin typeface="Inter Medium"/>
                <a:ea typeface="Inter Medium"/>
                <a:cs typeface="Inter Medium"/>
                <a:sym typeface="Inter Medium"/>
              </a:defRPr>
            </a:lvl7pPr>
            <a:lvl8pPr marR="0" lvl="7" algn="l" rtl="0">
              <a:lnSpc>
                <a:spcPct val="100000"/>
              </a:lnSpc>
              <a:spcBef>
                <a:spcPts val="0"/>
              </a:spcBef>
              <a:spcAft>
                <a:spcPts val="0"/>
              </a:spcAft>
              <a:buClr>
                <a:srgbClr val="000000"/>
              </a:buClr>
              <a:buSzPts val="1100"/>
              <a:buFont typeface="Inter Medium"/>
              <a:buNone/>
              <a:defRPr sz="1400" i="0" u="none" strike="noStrike" cap="none">
                <a:solidFill>
                  <a:srgbClr val="000000"/>
                </a:solidFill>
                <a:latin typeface="Inter Medium"/>
                <a:ea typeface="Inter Medium"/>
                <a:cs typeface="Inter Medium"/>
                <a:sym typeface="Inter Medium"/>
              </a:defRPr>
            </a:lvl8pPr>
            <a:lvl9pPr marR="0" lvl="8" algn="l" rtl="0">
              <a:lnSpc>
                <a:spcPct val="100000"/>
              </a:lnSpc>
              <a:spcBef>
                <a:spcPts val="0"/>
              </a:spcBef>
              <a:spcAft>
                <a:spcPts val="0"/>
              </a:spcAft>
              <a:buClr>
                <a:srgbClr val="000000"/>
              </a:buClr>
              <a:buSzPts val="1100"/>
              <a:buFont typeface="Inter Medium"/>
              <a:buNone/>
              <a:defRPr sz="1400" i="0" u="none" strike="noStrike" cap="none">
                <a:solidFill>
                  <a:srgbClr val="000000"/>
                </a:solidFill>
                <a:latin typeface="Inter Medium"/>
                <a:ea typeface="Inter Medium"/>
                <a:cs typeface="Inter Medium"/>
                <a:sym typeface="Inter Medium"/>
              </a:defRPr>
            </a:lvl9pPr>
          </a:lstStyle>
          <a:p>
            <a:endParaRPr/>
          </a:p>
        </p:txBody>
      </p:sp>
      <p:sp>
        <p:nvSpPr>
          <p:cNvPr id="7" name="Google Shape;7;p1"/>
          <p:cNvSpPr txBox="1">
            <a:spLocks noGrp="1"/>
          </p:cNvSpPr>
          <p:nvPr>
            <p:ph type="body" idx="1"/>
          </p:nvPr>
        </p:nvSpPr>
        <p:spPr>
          <a:xfrm>
            <a:off x="838200" y="1825625"/>
            <a:ext cx="10515600" cy="4351200"/>
          </a:xfrm>
          <a:prstGeom prst="rect">
            <a:avLst/>
          </a:prstGeom>
          <a:noFill/>
          <a:ln>
            <a:noFill/>
          </a:ln>
        </p:spPr>
        <p:txBody>
          <a:bodyPr spcFirstLastPara="1" wrap="square" lIns="0" tIns="34275" rIns="68575" bIns="34275" anchor="t" anchorCtr="0">
            <a:normAutofit/>
          </a:bodyPr>
          <a:lstStyle>
            <a:lvl1pPr marL="457200" marR="0" lvl="0" indent="-304800" algn="l" rtl="0">
              <a:lnSpc>
                <a:spcPct val="90000"/>
              </a:lnSpc>
              <a:spcBef>
                <a:spcPts val="800"/>
              </a:spcBef>
              <a:spcAft>
                <a:spcPts val="0"/>
              </a:spcAft>
              <a:buClr>
                <a:schemeClr val="dk2"/>
              </a:buClr>
              <a:buSzPts val="1200"/>
              <a:buFont typeface="Inter"/>
              <a:buChar char="●"/>
              <a:defRPr sz="1200" i="0" u="none" strike="noStrike" cap="none">
                <a:solidFill>
                  <a:schemeClr val="dk1"/>
                </a:solidFill>
                <a:latin typeface="Inter"/>
                <a:ea typeface="Inter"/>
                <a:cs typeface="Inter"/>
                <a:sym typeface="Inter"/>
              </a:defRPr>
            </a:lvl1pPr>
            <a:lvl2pPr marL="914400" marR="0" lvl="1" indent="-304800" algn="l" rtl="0">
              <a:lnSpc>
                <a:spcPct val="90000"/>
              </a:lnSpc>
              <a:spcBef>
                <a:spcPts val="400"/>
              </a:spcBef>
              <a:spcAft>
                <a:spcPts val="0"/>
              </a:spcAft>
              <a:buClr>
                <a:schemeClr val="dk2"/>
              </a:buClr>
              <a:buSzPts val="1200"/>
              <a:buFont typeface="Inter"/>
              <a:buChar char="●"/>
              <a:defRPr sz="1200" i="0" u="none" strike="noStrike" cap="none">
                <a:solidFill>
                  <a:schemeClr val="dk1"/>
                </a:solidFill>
                <a:latin typeface="Inter"/>
                <a:ea typeface="Inter"/>
                <a:cs typeface="Inter"/>
                <a:sym typeface="Inter"/>
              </a:defRPr>
            </a:lvl2pPr>
            <a:lvl3pPr marL="1371600" marR="0" lvl="2" indent="-304800" algn="l" rtl="0">
              <a:lnSpc>
                <a:spcPct val="90000"/>
              </a:lnSpc>
              <a:spcBef>
                <a:spcPts val="400"/>
              </a:spcBef>
              <a:spcAft>
                <a:spcPts val="0"/>
              </a:spcAft>
              <a:buClr>
                <a:schemeClr val="dk2"/>
              </a:buClr>
              <a:buSzPts val="1200"/>
              <a:buFont typeface="Inter"/>
              <a:buChar char="●"/>
              <a:defRPr sz="1200" i="0" u="none" strike="noStrike" cap="none">
                <a:solidFill>
                  <a:schemeClr val="dk1"/>
                </a:solidFill>
                <a:latin typeface="Inter"/>
                <a:ea typeface="Inter"/>
                <a:cs typeface="Inter"/>
                <a:sym typeface="Inter"/>
              </a:defRPr>
            </a:lvl3pPr>
            <a:lvl4pPr marL="1828800" marR="0" lvl="3" indent="-304800" algn="l" rtl="0">
              <a:lnSpc>
                <a:spcPct val="90000"/>
              </a:lnSpc>
              <a:spcBef>
                <a:spcPts val="400"/>
              </a:spcBef>
              <a:spcAft>
                <a:spcPts val="0"/>
              </a:spcAft>
              <a:buClr>
                <a:schemeClr val="dk2"/>
              </a:buClr>
              <a:buSzPts val="1200"/>
              <a:buFont typeface="Inter"/>
              <a:buChar char="●"/>
              <a:defRPr sz="1200" i="0" u="none" strike="noStrike" cap="none">
                <a:solidFill>
                  <a:schemeClr val="dk1"/>
                </a:solidFill>
                <a:latin typeface="Inter"/>
                <a:ea typeface="Inter"/>
                <a:cs typeface="Inter"/>
                <a:sym typeface="Inter"/>
              </a:defRPr>
            </a:lvl4pPr>
            <a:lvl5pPr marL="2286000" marR="0" lvl="4" indent="-304800" algn="l" rtl="0">
              <a:lnSpc>
                <a:spcPct val="90000"/>
              </a:lnSpc>
              <a:spcBef>
                <a:spcPts val="400"/>
              </a:spcBef>
              <a:spcAft>
                <a:spcPts val="0"/>
              </a:spcAft>
              <a:buClr>
                <a:schemeClr val="dk2"/>
              </a:buClr>
              <a:buSzPts val="1200"/>
              <a:buFont typeface="Inter"/>
              <a:buChar char="●"/>
              <a:defRPr sz="1200" i="0" u="none" strike="noStrike" cap="none">
                <a:solidFill>
                  <a:schemeClr val="dk1"/>
                </a:solidFill>
                <a:latin typeface="Inter"/>
                <a:ea typeface="Inter"/>
                <a:cs typeface="Inter"/>
                <a:sym typeface="Inter"/>
              </a:defRPr>
            </a:lvl5pPr>
            <a:lvl6pPr marL="2743200" marR="0" lvl="5" indent="-304800" algn="l" rtl="0">
              <a:lnSpc>
                <a:spcPct val="90000"/>
              </a:lnSpc>
              <a:spcBef>
                <a:spcPts val="400"/>
              </a:spcBef>
              <a:spcAft>
                <a:spcPts val="0"/>
              </a:spcAft>
              <a:buClr>
                <a:schemeClr val="dk2"/>
              </a:buClr>
              <a:buSzPts val="1200"/>
              <a:buFont typeface="Inter"/>
              <a:buChar char="●"/>
              <a:defRPr sz="1200" i="0" u="none" strike="noStrike" cap="none">
                <a:solidFill>
                  <a:schemeClr val="dk1"/>
                </a:solidFill>
                <a:latin typeface="Inter"/>
                <a:ea typeface="Inter"/>
                <a:cs typeface="Inter"/>
                <a:sym typeface="Inter"/>
              </a:defRPr>
            </a:lvl6pPr>
            <a:lvl7pPr marL="3200400" marR="0" lvl="6" indent="-304800" algn="l" rtl="0">
              <a:lnSpc>
                <a:spcPct val="90000"/>
              </a:lnSpc>
              <a:spcBef>
                <a:spcPts val="400"/>
              </a:spcBef>
              <a:spcAft>
                <a:spcPts val="0"/>
              </a:spcAft>
              <a:buClr>
                <a:schemeClr val="dk2"/>
              </a:buClr>
              <a:buSzPts val="1200"/>
              <a:buFont typeface="Inter"/>
              <a:buChar char="●"/>
              <a:defRPr sz="1200" i="0" u="none" strike="noStrike" cap="none">
                <a:solidFill>
                  <a:schemeClr val="dk1"/>
                </a:solidFill>
                <a:latin typeface="Inter"/>
                <a:ea typeface="Inter"/>
                <a:cs typeface="Inter"/>
                <a:sym typeface="Inter"/>
              </a:defRPr>
            </a:lvl7pPr>
            <a:lvl8pPr marL="3657600" marR="0" lvl="7" indent="-304800" algn="l" rtl="0">
              <a:lnSpc>
                <a:spcPct val="90000"/>
              </a:lnSpc>
              <a:spcBef>
                <a:spcPts val="400"/>
              </a:spcBef>
              <a:spcAft>
                <a:spcPts val="0"/>
              </a:spcAft>
              <a:buClr>
                <a:schemeClr val="dk2"/>
              </a:buClr>
              <a:buSzPts val="1200"/>
              <a:buFont typeface="Inter"/>
              <a:buChar char="●"/>
              <a:defRPr sz="1200" i="0" u="none" strike="noStrike" cap="none">
                <a:solidFill>
                  <a:schemeClr val="dk1"/>
                </a:solidFill>
                <a:latin typeface="Inter"/>
                <a:ea typeface="Inter"/>
                <a:cs typeface="Inter"/>
                <a:sym typeface="Inter"/>
              </a:defRPr>
            </a:lvl8pPr>
            <a:lvl9pPr marL="4114800" marR="0" lvl="8" indent="-304800" algn="l" rtl="0">
              <a:lnSpc>
                <a:spcPct val="90000"/>
              </a:lnSpc>
              <a:spcBef>
                <a:spcPts val="400"/>
              </a:spcBef>
              <a:spcAft>
                <a:spcPts val="0"/>
              </a:spcAft>
              <a:buClr>
                <a:schemeClr val="dk2"/>
              </a:buClr>
              <a:buSzPts val="1200"/>
              <a:buFont typeface="Inter"/>
              <a:buChar char="●"/>
              <a:defRPr sz="1200" i="0" u="none" strike="noStrike" cap="none">
                <a:solidFill>
                  <a:schemeClr val="dk1"/>
                </a:solidFill>
                <a:latin typeface="Inter"/>
                <a:ea typeface="Inter"/>
                <a:cs typeface="Inter"/>
                <a:sym typeface="Inter"/>
              </a:defRPr>
            </a:lvl9pPr>
          </a:lstStyle>
          <a:p>
            <a:endParaRPr/>
          </a:p>
        </p:txBody>
      </p:sp>
      <p:sp>
        <p:nvSpPr>
          <p:cNvPr id="8" name="Google Shape;8;p1"/>
          <p:cNvSpPr txBox="1"/>
          <p:nvPr/>
        </p:nvSpPr>
        <p:spPr>
          <a:xfrm>
            <a:off x="5451800" y="6245247"/>
            <a:ext cx="1288400" cy="273200"/>
          </a:xfrm>
          <a:prstGeom prst="rect">
            <a:avLst/>
          </a:prstGeom>
          <a:noFill/>
          <a:ln>
            <a:noFill/>
          </a:ln>
        </p:spPr>
        <p:txBody>
          <a:bodyPr spcFirstLastPara="1" wrap="square" lIns="0" tIns="0" rIns="0" bIns="0" anchor="b" anchorCtr="0">
            <a:noAutofit/>
          </a:bodyPr>
          <a:lstStyle/>
          <a:p>
            <a:pPr marL="0" marR="0" lvl="0" indent="0" algn="ctr" rtl="0">
              <a:lnSpc>
                <a:spcPct val="100000"/>
              </a:lnSpc>
              <a:spcBef>
                <a:spcPts val="0"/>
              </a:spcBef>
              <a:spcAft>
                <a:spcPts val="0"/>
              </a:spcAft>
              <a:buClr>
                <a:srgbClr val="000000"/>
              </a:buClr>
              <a:buSzPts val="500"/>
              <a:buFont typeface="Arial"/>
              <a:buNone/>
            </a:pPr>
            <a:r>
              <a:rPr lang="en-GB" sz="667" b="0" i="0" u="none" strike="noStrike" cap="none">
                <a:solidFill>
                  <a:schemeClr val="dk2"/>
                </a:solidFill>
                <a:latin typeface="Inter"/>
                <a:ea typeface="Inter"/>
                <a:cs typeface="Inter"/>
                <a:sym typeface="Inter"/>
              </a:rPr>
              <a:t>Private and Confidential</a:t>
            </a:r>
            <a:endParaRPr sz="667" b="0" i="0" u="none" strike="noStrike" cap="none">
              <a:solidFill>
                <a:schemeClr val="dk2"/>
              </a:solidFill>
              <a:latin typeface="Inter"/>
              <a:ea typeface="Inter"/>
              <a:cs typeface="Inter"/>
              <a:sym typeface="Inter"/>
            </a:endParaRPr>
          </a:p>
        </p:txBody>
      </p:sp>
      <p:sp>
        <p:nvSpPr>
          <p:cNvPr id="9" name="Google Shape;9;p1"/>
          <p:cNvSpPr txBox="1">
            <a:spLocks noGrp="1"/>
          </p:cNvSpPr>
          <p:nvPr>
            <p:ph type="sldNum" idx="12"/>
          </p:nvPr>
        </p:nvSpPr>
        <p:spPr>
          <a:xfrm>
            <a:off x="11084412" y="5993647"/>
            <a:ext cx="731600" cy="524800"/>
          </a:xfrm>
          <a:prstGeom prst="rect">
            <a:avLst/>
          </a:prstGeom>
          <a:noFill/>
          <a:ln>
            <a:noFill/>
          </a:ln>
        </p:spPr>
        <p:txBody>
          <a:bodyPr spcFirstLastPara="1" wrap="square" lIns="91425" tIns="91425" rIns="0" bIns="0" anchor="b" anchorCtr="0">
            <a:noAutofit/>
          </a:bodyPr>
          <a:lstStyle>
            <a:lvl1pPr marL="0" marR="0" lvl="0" indent="0" algn="r" rtl="0">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1pPr>
            <a:lvl2pPr marL="0" marR="0" lvl="1" indent="0" algn="r" rtl="0">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2pPr>
            <a:lvl3pPr marL="0" marR="0" lvl="2" indent="0" algn="r" rtl="0">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3pPr>
            <a:lvl4pPr marL="0" marR="0" lvl="3" indent="0" algn="r" rtl="0">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4pPr>
            <a:lvl5pPr marL="0" marR="0" lvl="4" indent="0" algn="r" rtl="0">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5pPr>
            <a:lvl6pPr marL="0" marR="0" lvl="5" indent="0" algn="r" rtl="0">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6pPr>
            <a:lvl7pPr marL="0" marR="0" lvl="6" indent="0" algn="r" rtl="0">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7pPr>
            <a:lvl8pPr marL="0" marR="0" lvl="7" indent="0" algn="r" rtl="0">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8pPr>
            <a:lvl9pPr marL="0" marR="0" lvl="8" indent="0" algn="r" rtl="0">
              <a:lnSpc>
                <a:spcPct val="100000"/>
              </a:lnSpc>
              <a:spcBef>
                <a:spcPts val="0"/>
              </a:spcBef>
              <a:spcAft>
                <a:spcPts val="0"/>
              </a:spcAft>
              <a:buClr>
                <a:srgbClr val="000000"/>
              </a:buClr>
              <a:buSzPts val="500"/>
              <a:buFont typeface="Arial"/>
              <a:buNone/>
              <a:defRPr sz="667" b="0" i="0" u="none" strike="noStrike" cap="none">
                <a:solidFill>
                  <a:schemeClr val="dk2"/>
                </a:solidFill>
                <a:latin typeface="Inter"/>
                <a:ea typeface="Inter"/>
                <a:cs typeface="Inter"/>
                <a:sym typeface="Inter"/>
              </a:defRPr>
            </a:lvl9pPr>
          </a:lstStyle>
          <a:p>
            <a:fld id="{00000000-1234-1234-1234-123412341234}" type="slidenum">
              <a:rPr lang="en-GB" smtClean="0"/>
              <a:pPr/>
              <a:t>‹#›</a:t>
            </a:fld>
            <a:endParaRPr lang="en-GB"/>
          </a:p>
        </p:txBody>
      </p:sp>
    </p:spTree>
    <p:extLst>
      <p:ext uri="{BB962C8B-B14F-4D97-AF65-F5344CB8AC3E}">
        <p14:creationId xmlns:p14="http://schemas.microsoft.com/office/powerpoint/2010/main" val="1011222441"/>
      </p:ext>
    </p:extLst>
  </p:cSld>
  <p:clrMap bg1="lt1" tx1="dk1" bg2="dk2" tx2="lt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 id="2147483715" r:id="rId12"/>
    <p:sldLayoutId id="2147483716" r:id="rId13"/>
    <p:sldLayoutId id="2147483717" r:id="rId14"/>
    <p:sldLayoutId id="2147483718" r:id="rId15"/>
    <p:sldLayoutId id="2147483719" r:id="rId16"/>
    <p:sldLayoutId id="2147483720" r:id="rId17"/>
    <p:sldLayoutId id="2147483721" r:id="rId18"/>
    <p:sldLayoutId id="2147483722" r:id="rId19"/>
    <p:sldLayoutId id="2147483723" r:id="rId20"/>
    <p:sldLayoutId id="2147483724" r:id="rId21"/>
    <p:sldLayoutId id="2147483725" r:id="rId22"/>
    <p:sldLayoutId id="2147483726" r:id="rId23"/>
    <p:sldLayoutId id="2147483727" r:id="rId24"/>
    <p:sldLayoutId id="2147483728" r:id="rId25"/>
    <p:sldLayoutId id="2147483729" r:id="rId26"/>
    <p:sldLayoutId id="2147483730" r:id="rId27"/>
    <p:sldLayoutId id="2147483731" r:id="rId28"/>
    <p:sldLayoutId id="2147483732" r:id="rId29"/>
    <p:sldLayoutId id="2147483733" r:id="rId30"/>
    <p:sldLayoutId id="2147483734" r:id="rId31"/>
    <p:sldLayoutId id="2147483735" r:id="rId32"/>
    <p:sldLayoutId id="2147483736" r:id="rId33"/>
    <p:sldLayoutId id="2147483737" r:id="rId34"/>
    <p:sldLayoutId id="2147483738" r:id="rId35"/>
    <p:sldLayoutId id="2147483739" r:id="rId36"/>
    <p:sldLayoutId id="2147483740" r:id="rId37"/>
    <p:sldLayoutId id="2147483741" r:id="rId38"/>
    <p:sldLayoutId id="2147483742" r:id="rId39"/>
    <p:sldLayoutId id="2147483743" r:id="rId40"/>
    <p:sldLayoutId id="2147483744" r:id="rId41"/>
    <p:sldLayoutId id="2147483745" r:id="rId42"/>
    <p:sldLayoutId id="2147483746" r:id="rId43"/>
    <p:sldLayoutId id="2147483747" r:id="rId44"/>
    <p:sldLayoutId id="2147483748" r:id="rId45"/>
    <p:sldLayoutId id="2147483749" r:id="rId46"/>
    <p:sldLayoutId id="2147483750" r:id="rId47"/>
    <p:sldLayoutId id="2147483751" r:id="rId48"/>
    <p:sldLayoutId id="2147483752" r:id="rId49"/>
    <p:sldLayoutId id="2147483753" r:id="rId50"/>
    <p:sldLayoutId id="2147483754" r:id="rId51"/>
    <p:sldLayoutId id="2147483755" r:id="rId52"/>
    <p:sldLayoutId id="2147483756" r:id="rId53"/>
    <p:sldLayoutId id="2147483757" r:id="rId54"/>
    <p:sldLayoutId id="2147483758" r:id="rId55"/>
    <p:sldLayoutId id="2147483759" r:id="rId56"/>
    <p:sldLayoutId id="2147483760" r:id="rId57"/>
    <p:sldLayoutId id="2147483761" r:id="rId58"/>
    <p:sldLayoutId id="2147483762" r:id="rId59"/>
    <p:sldLayoutId id="2147483763" r:id="rId60"/>
    <p:sldLayoutId id="2147483764" r:id="rId61"/>
    <p:sldLayoutId id="2147483765" r:id="rId62"/>
    <p:sldLayoutId id="2147483766" r:id="rId63"/>
    <p:sldLayoutId id="2147483767" r:id="rId64"/>
    <p:sldLayoutId id="2147483768" r:id="rId65"/>
    <p:sldLayoutId id="2147483769" r:id="rId66"/>
    <p:sldLayoutId id="2147483770" r:id="rId67"/>
    <p:sldLayoutId id="2147483771" r:id="rId68"/>
    <p:sldLayoutId id="2147483772" r:id="rId69"/>
    <p:sldLayoutId id="2147483773" r:id="rId70"/>
    <p:sldLayoutId id="2147483774" r:id="rId7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631">
          <p15:clr>
            <a:srgbClr val="E46962"/>
          </p15:clr>
        </p15:guide>
        <p15:guide id="2" pos="228">
          <p15:clr>
            <a:srgbClr val="E46962"/>
          </p15:clr>
        </p15:guide>
        <p15:guide id="3" pos="5532">
          <p15:clr>
            <a:srgbClr val="E46962"/>
          </p15:clr>
        </p15:guide>
        <p15:guide id="4" orient="horz" pos="170">
          <p15:clr>
            <a:srgbClr val="E46962"/>
          </p15:clr>
        </p15:guide>
        <p15:guide id="5" orient="horz" pos="3070">
          <p15:clr>
            <a:srgbClr val="E46962"/>
          </p15:clr>
        </p15:guide>
        <p15:guide id="6" pos="424">
          <p15:clr>
            <a:srgbClr val="E46962"/>
          </p15:clr>
        </p15:guide>
        <p15:guide id="7" pos="646">
          <p15:clr>
            <a:srgbClr val="E46962"/>
          </p15:clr>
        </p15:guide>
        <p15:guide id="8" pos="868">
          <p15:clr>
            <a:srgbClr val="E46962"/>
          </p15:clr>
        </p15:guide>
        <p15:guide id="9" pos="894">
          <p15:clr>
            <a:srgbClr val="E46962"/>
          </p15:clr>
        </p15:guide>
        <p15:guide id="10" pos="1338">
          <p15:clr>
            <a:srgbClr val="E46962"/>
          </p15:clr>
        </p15:guide>
        <p15:guide id="11" pos="2867">
          <p15:clr>
            <a:srgbClr val="E46962"/>
          </p15:clr>
        </p15:guide>
        <p15:guide id="12" pos="2893">
          <p15:clr>
            <a:srgbClr val="E46962"/>
          </p15:clr>
        </p15:guide>
        <p15:guide id="13" pos="3337">
          <p15:clr>
            <a:srgbClr val="E46962"/>
          </p15:clr>
        </p15:guide>
        <p15:guide id="14" pos="3756">
          <p15:clr>
            <a:srgbClr val="E46962"/>
          </p15:clr>
        </p15:guide>
        <p15:guide id="15" pos="3781">
          <p15:clr>
            <a:srgbClr val="E46962"/>
          </p15:clr>
        </p15:guide>
        <p15:guide id="16" pos="2880">
          <p15:clr>
            <a:srgbClr val="E46962"/>
          </p15:clr>
        </p15:guide>
        <p15:guide id="17" pos="450">
          <p15:clr>
            <a:srgbClr val="E46962"/>
          </p15:clr>
        </p15:guide>
        <p15:guide id="18" pos="672">
          <p15:clr>
            <a:srgbClr val="E46962"/>
          </p15:clr>
        </p15:guide>
        <p15:guide id="19" pos="1091">
          <p15:clr>
            <a:srgbClr val="E46962"/>
          </p15:clr>
        </p15:guide>
        <p15:guide id="20" pos="1116">
          <p15:clr>
            <a:srgbClr val="E46962"/>
          </p15:clr>
        </p15:guide>
        <p15:guide id="21" pos="1313">
          <p15:clr>
            <a:srgbClr val="E46962"/>
          </p15:clr>
        </p15:guide>
        <p15:guide id="22" pos="3312">
          <p15:clr>
            <a:srgbClr val="E46962"/>
          </p15:clr>
        </p15:guide>
        <p15:guide id="23" pos="3559">
          <p15:clr>
            <a:srgbClr val="E46962"/>
          </p15:clr>
        </p15:guide>
        <p15:guide id="24" pos="4422">
          <p15:clr>
            <a:srgbClr val="E46962"/>
          </p15:clr>
        </p15:guide>
        <p15:guide id="25" pos="4670">
          <p15:clr>
            <a:srgbClr val="E46962"/>
          </p15:clr>
        </p15:guide>
        <p15:guide id="26" pos="5088">
          <p15:clr>
            <a:srgbClr val="E46962"/>
          </p15:clr>
        </p15:guide>
        <p15:guide id="27" pos="5114">
          <p15:clr>
            <a:srgbClr val="E46962"/>
          </p15:clr>
        </p15:guide>
        <p15:guide id="28" pos="5310">
          <p15:clr>
            <a:srgbClr val="E46962"/>
          </p15:clr>
        </p15:guide>
        <p15:guide id="29" pos="3534">
          <p15:clr>
            <a:srgbClr val="E46962"/>
          </p15:clr>
        </p15:guide>
        <p15:guide id="30" pos="4447">
          <p15:clr>
            <a:srgbClr val="E46962"/>
          </p15:clr>
        </p15:guide>
        <p15:guide id="31" pos="4644">
          <p15:clr>
            <a:srgbClr val="E46962"/>
          </p15:clr>
        </p15:guide>
        <p15:guide id="32" pos="5336">
          <p15:clr>
            <a:srgbClr val="E46962"/>
          </p15:clr>
        </p15:guide>
        <p15:guide id="33" pos="1979">
          <p15:clr>
            <a:srgbClr val="E46962"/>
          </p15:clr>
        </p15:guide>
        <p15:guide id="34" pos="2004">
          <p15:clr>
            <a:srgbClr val="E46962"/>
          </p15:clr>
        </p15:guide>
        <p15:guide id="35" pos="2449">
          <p15:clr>
            <a:srgbClr val="E46962"/>
          </p15:clr>
        </p15:guide>
        <p15:guide id="36" pos="2645">
          <p15:clr>
            <a:srgbClr val="E46962"/>
          </p15:clr>
        </p15:guide>
        <p15:guide id="37" pos="1535">
          <p15:clr>
            <a:srgbClr val="E46962"/>
          </p15:clr>
        </p15:guide>
        <p15:guide id="38" pos="1560">
          <p15:clr>
            <a:srgbClr val="E46962"/>
          </p15:clr>
        </p15:guide>
        <p15:guide id="39" pos="1757">
          <p15:clr>
            <a:srgbClr val="E46962"/>
          </p15:clr>
        </p15:guide>
        <p15:guide id="40" pos="1782">
          <p15:clr>
            <a:srgbClr val="E46962"/>
          </p15:clr>
        </p15:guide>
        <p15:guide id="41" pos="2201">
          <p15:clr>
            <a:srgbClr val="E46962"/>
          </p15:clr>
        </p15:guide>
        <p15:guide id="42" pos="2226">
          <p15:clr>
            <a:srgbClr val="E46962"/>
          </p15:clr>
        </p15:guide>
        <p15:guide id="43" pos="2423">
          <p15:clr>
            <a:srgbClr val="E46962"/>
          </p15:clr>
        </p15:guide>
        <p15:guide id="44" pos="2671">
          <p15:clr>
            <a:srgbClr val="E46962"/>
          </p15:clr>
        </p15:guide>
        <p15:guide id="45" pos="3089">
          <p15:clr>
            <a:srgbClr val="E46962"/>
          </p15:clr>
        </p15:guide>
        <p15:guide id="46" pos="3115">
          <p15:clr>
            <a:srgbClr val="E46962"/>
          </p15:clr>
        </p15:guide>
        <p15:guide id="47" pos="4892">
          <p15:clr>
            <a:srgbClr val="E46962"/>
          </p15:clr>
        </p15:guide>
        <p15:guide id="48" pos="4866">
          <p15:clr>
            <a:srgbClr val="E46962"/>
          </p15:clr>
        </p15:guide>
        <p15:guide id="49" pos="3978">
          <p15:clr>
            <a:srgbClr val="E46962"/>
          </p15:clr>
        </p15:guide>
        <p15:guide id="50" pos="4003">
          <p15:clr>
            <a:srgbClr val="E46962"/>
          </p15:clr>
        </p15:guide>
        <p15:guide id="51" pos="4200">
          <p15:clr>
            <a:srgbClr val="E46962"/>
          </p15:clr>
        </p15:guide>
        <p15:guide id="52" pos="4225">
          <p15:clr>
            <a:srgbClr val="E46962"/>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20" name="Straight Connector 19"/>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2"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Isosceles Triangle 23"/>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Isosceles Triangle 27"/>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Isosceles Triangle 28"/>
            <p:cNvSpPr/>
            <p:nvPr/>
          </p:nvSpPr>
          <p:spPr>
            <a:xfrm>
              <a:off x="0"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Placeholder 1"/>
          <p:cNvSpPr>
            <a:spLocks noGrp="1"/>
          </p:cNvSpPr>
          <p:nvPr>
            <p:ph type="title"/>
          </p:nvPr>
        </p:nvSpPr>
        <p:spPr>
          <a:xfrm>
            <a:off x="677334" y="609600"/>
            <a:ext cx="8596668" cy="1320800"/>
          </a:xfrm>
          <a:prstGeom prst="rect">
            <a:avLst/>
          </a:prstGeom>
        </p:spPr>
        <p:txBody>
          <a:bodyPr vert="horz" lIns="91440" tIns="45720" rIns="91440" bIns="45720" rtlCol="0" anchor="t">
            <a:normAutofit/>
          </a:bodyPr>
          <a:lstStyle/>
          <a:p>
            <a:r>
              <a:rPr lang="en-GB"/>
              <a:t>Click to edit Master title style</a:t>
            </a:r>
            <a:endParaRPr lang="en-US" dirty="0"/>
          </a:p>
        </p:txBody>
      </p:sp>
      <p:sp>
        <p:nvSpPr>
          <p:cNvPr id="3" name="Text Placeholder 2"/>
          <p:cNvSpPr>
            <a:spLocks noGrp="1"/>
          </p:cNvSpPr>
          <p:nvPr>
            <p:ph type="body" idx="1"/>
          </p:nvPr>
        </p:nvSpPr>
        <p:spPr>
          <a:xfrm>
            <a:off x="677334" y="2160589"/>
            <a:ext cx="8596668" cy="3880773"/>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Date Placeholder 3"/>
          <p:cNvSpPr>
            <a:spLocks noGrp="1"/>
          </p:cNvSpPr>
          <p:nvPr>
            <p:ph type="dt" sz="half" idx="2"/>
          </p:nvPr>
        </p:nvSpPr>
        <p:spPr>
          <a:xfrm>
            <a:off x="7205133" y="6041362"/>
            <a:ext cx="911939"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65681DF2-9414-453D-AEBD-942B0A5AEB8E}" type="datetimeFigureOut">
              <a:rPr lang="en-GB" smtClean="0"/>
              <a:t>23/06/2024</a:t>
            </a:fld>
            <a:endParaRPr lang="en-GB"/>
          </a:p>
        </p:txBody>
      </p:sp>
      <p:sp>
        <p:nvSpPr>
          <p:cNvPr id="5" name="Footer Placeholder 4"/>
          <p:cNvSpPr>
            <a:spLocks noGrp="1"/>
          </p:cNvSpPr>
          <p:nvPr>
            <p:ph type="ftr" sz="quarter" idx="3"/>
          </p:nvPr>
        </p:nvSpPr>
        <p:spPr>
          <a:xfrm>
            <a:off x="677334" y="6041362"/>
            <a:ext cx="6297612"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8590663" y="6041362"/>
            <a:ext cx="683339" cy="365125"/>
          </a:xfrm>
          <a:prstGeom prst="rect">
            <a:avLst/>
          </a:prstGeom>
        </p:spPr>
        <p:txBody>
          <a:bodyPr vert="horz" lIns="91440" tIns="45720" rIns="91440" bIns="45720" rtlCol="0" anchor="ctr"/>
          <a:lstStyle>
            <a:lvl1pPr algn="r">
              <a:defRPr sz="900">
                <a:solidFill>
                  <a:schemeClr val="accent1"/>
                </a:solidFill>
              </a:defRPr>
            </a:lvl1pPr>
          </a:lstStyle>
          <a:p>
            <a:fld id="{0FD5D1F4-30DC-4E3A-978A-8E7DE87D4386}" type="slidenum">
              <a:rPr lang="en-GB" smtClean="0"/>
              <a:t>‹#›</a:t>
            </a:fld>
            <a:endParaRPr lang="en-GB"/>
          </a:p>
        </p:txBody>
      </p:sp>
    </p:spTree>
    <p:extLst>
      <p:ext uri="{BB962C8B-B14F-4D97-AF65-F5344CB8AC3E}">
        <p14:creationId xmlns:p14="http://schemas.microsoft.com/office/powerpoint/2010/main" val="2278041288"/>
      </p:ext>
    </p:extLst>
  </p:cSld>
  <p:clrMap bg1="lt1" tx1="dk1" bg2="lt2" tx2="dk2" accent1="accent1" accent2="accent2" accent3="accent3" accent4="accent4" accent5="accent5" accent6="accent6" hlink="hlink" folHlink="folHlink"/>
  <p:sldLayoutIdLst>
    <p:sldLayoutId id="2147483776" r:id="rId1"/>
    <p:sldLayoutId id="2147483777" r:id="rId2"/>
    <p:sldLayoutId id="2147483778" r:id="rId3"/>
    <p:sldLayoutId id="2147483779" r:id="rId4"/>
    <p:sldLayoutId id="2147483780" r:id="rId5"/>
    <p:sldLayoutId id="2147483781" r:id="rId6"/>
    <p:sldLayoutId id="2147483782" r:id="rId7"/>
    <p:sldLayoutId id="2147483783" r:id="rId8"/>
    <p:sldLayoutId id="2147483784" r:id="rId9"/>
    <p:sldLayoutId id="2147483785" r:id="rId10"/>
    <p:sldLayoutId id="2147483786" r:id="rId11"/>
    <p:sldLayoutId id="2147483787" r:id="rId12"/>
    <p:sldLayoutId id="2147483788" r:id="rId13"/>
    <p:sldLayoutId id="2147483789" r:id="rId14"/>
    <p:sldLayoutId id="2147483790" r:id="rId15"/>
    <p:sldLayoutId id="2147483791" r:id="rId16"/>
  </p:sldLayoutIdLst>
  <p:txStyles>
    <p:title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415600" y="593367"/>
            <a:ext cx="11360800" cy="763600"/>
          </a:xfrm>
          <a:prstGeom prst="rect">
            <a:avLst/>
          </a:prstGeom>
          <a:noFill/>
          <a:ln>
            <a:noFill/>
          </a:ln>
        </p:spPr>
        <p:txBody>
          <a:bodyPr spcFirstLastPara="1" wrap="square" lIns="91425" tIns="91425" rIns="91425" bIns="91425" anchor="t" anchorCtr="0">
            <a:normAutofit/>
          </a:bodyPr>
          <a:lstStyle>
            <a:lvl1pPr lvl="0">
              <a:spcBef>
                <a:spcPts val="0"/>
              </a:spcBef>
              <a:spcAft>
                <a:spcPts val="0"/>
              </a:spcAft>
              <a:buClr>
                <a:schemeClr val="dk1"/>
              </a:buClr>
              <a:buSzPts val="2800"/>
              <a:buNone/>
              <a:defRPr sz="2800">
                <a:solidFill>
                  <a:schemeClr val="dk1"/>
                </a:solidFill>
              </a:defRPr>
            </a:lvl1pPr>
            <a:lvl2pPr lvl="1">
              <a:spcBef>
                <a:spcPts val="0"/>
              </a:spcBef>
              <a:spcAft>
                <a:spcPts val="0"/>
              </a:spcAft>
              <a:buClr>
                <a:schemeClr val="dk1"/>
              </a:buClr>
              <a:buSzPts val="2800"/>
              <a:buNone/>
              <a:defRPr sz="2800">
                <a:solidFill>
                  <a:schemeClr val="dk1"/>
                </a:solidFill>
              </a:defRPr>
            </a:lvl2pPr>
            <a:lvl3pPr lvl="2">
              <a:spcBef>
                <a:spcPts val="0"/>
              </a:spcBef>
              <a:spcAft>
                <a:spcPts val="0"/>
              </a:spcAft>
              <a:buClr>
                <a:schemeClr val="dk1"/>
              </a:buClr>
              <a:buSzPts val="2800"/>
              <a:buNone/>
              <a:defRPr sz="2800">
                <a:solidFill>
                  <a:schemeClr val="dk1"/>
                </a:solidFill>
              </a:defRPr>
            </a:lvl3pPr>
            <a:lvl4pPr lvl="3">
              <a:spcBef>
                <a:spcPts val="0"/>
              </a:spcBef>
              <a:spcAft>
                <a:spcPts val="0"/>
              </a:spcAft>
              <a:buClr>
                <a:schemeClr val="dk1"/>
              </a:buClr>
              <a:buSzPts val="2800"/>
              <a:buNone/>
              <a:defRPr sz="2800">
                <a:solidFill>
                  <a:schemeClr val="dk1"/>
                </a:solidFill>
              </a:defRPr>
            </a:lvl4pPr>
            <a:lvl5pPr lvl="4">
              <a:spcBef>
                <a:spcPts val="0"/>
              </a:spcBef>
              <a:spcAft>
                <a:spcPts val="0"/>
              </a:spcAft>
              <a:buClr>
                <a:schemeClr val="dk1"/>
              </a:buClr>
              <a:buSzPts val="2800"/>
              <a:buNone/>
              <a:defRPr sz="2800">
                <a:solidFill>
                  <a:schemeClr val="dk1"/>
                </a:solidFill>
              </a:defRPr>
            </a:lvl5pPr>
            <a:lvl6pPr lvl="5">
              <a:spcBef>
                <a:spcPts val="0"/>
              </a:spcBef>
              <a:spcAft>
                <a:spcPts val="0"/>
              </a:spcAft>
              <a:buClr>
                <a:schemeClr val="dk1"/>
              </a:buClr>
              <a:buSzPts val="2800"/>
              <a:buNone/>
              <a:defRPr sz="2800">
                <a:solidFill>
                  <a:schemeClr val="dk1"/>
                </a:solidFill>
              </a:defRPr>
            </a:lvl6pPr>
            <a:lvl7pPr lvl="6">
              <a:spcBef>
                <a:spcPts val="0"/>
              </a:spcBef>
              <a:spcAft>
                <a:spcPts val="0"/>
              </a:spcAft>
              <a:buClr>
                <a:schemeClr val="dk1"/>
              </a:buClr>
              <a:buSzPts val="2800"/>
              <a:buNone/>
              <a:defRPr sz="2800">
                <a:solidFill>
                  <a:schemeClr val="dk1"/>
                </a:solidFill>
              </a:defRPr>
            </a:lvl7pPr>
            <a:lvl8pPr lvl="7">
              <a:spcBef>
                <a:spcPts val="0"/>
              </a:spcBef>
              <a:spcAft>
                <a:spcPts val="0"/>
              </a:spcAft>
              <a:buClr>
                <a:schemeClr val="dk1"/>
              </a:buClr>
              <a:buSzPts val="2800"/>
              <a:buNone/>
              <a:defRPr sz="2800">
                <a:solidFill>
                  <a:schemeClr val="dk1"/>
                </a:solidFill>
              </a:defRPr>
            </a:lvl8pPr>
            <a:lvl9pPr lvl="8">
              <a:spcBef>
                <a:spcPts val="0"/>
              </a:spcBef>
              <a:spcAft>
                <a:spcPts val="0"/>
              </a:spcAft>
              <a:buClr>
                <a:schemeClr val="dk1"/>
              </a:buClr>
              <a:buSzPts val="2800"/>
              <a:buNone/>
              <a:defRPr sz="2800">
                <a:solidFill>
                  <a:schemeClr val="dk1"/>
                </a:solidFill>
              </a:defRPr>
            </a:lvl9pPr>
          </a:lstStyle>
          <a:p>
            <a:endParaRPr/>
          </a:p>
        </p:txBody>
      </p:sp>
      <p:sp>
        <p:nvSpPr>
          <p:cNvPr id="7" name="Google Shape;7;p1"/>
          <p:cNvSpPr txBox="1">
            <a:spLocks noGrp="1"/>
          </p:cNvSpPr>
          <p:nvPr>
            <p:ph type="body" idx="1"/>
          </p:nvPr>
        </p:nvSpPr>
        <p:spPr>
          <a:xfrm>
            <a:off x="415600" y="1536633"/>
            <a:ext cx="11360800" cy="4555200"/>
          </a:xfrm>
          <a:prstGeom prst="rect">
            <a:avLst/>
          </a:prstGeom>
          <a:noFill/>
          <a:ln>
            <a:noFill/>
          </a:ln>
        </p:spPr>
        <p:txBody>
          <a:bodyPr spcFirstLastPara="1" wrap="square" lIns="91425" tIns="91425" rIns="91425" bIns="91425" anchor="t" anchorCtr="0">
            <a:normAutofit/>
          </a:bodyPr>
          <a:lstStyle>
            <a:lvl1pPr marL="457200" lvl="0" indent="-342900">
              <a:lnSpc>
                <a:spcPct val="115000"/>
              </a:lnSpc>
              <a:spcBef>
                <a:spcPts val="0"/>
              </a:spcBef>
              <a:spcAft>
                <a:spcPts val="0"/>
              </a:spcAft>
              <a:buClr>
                <a:schemeClr val="dk2"/>
              </a:buClr>
              <a:buSzPts val="1800"/>
              <a:buChar char="●"/>
              <a:defRPr sz="1800">
                <a:solidFill>
                  <a:schemeClr val="dk2"/>
                </a:solidFill>
              </a:defRPr>
            </a:lvl1pPr>
            <a:lvl2pPr marL="914400" lvl="1" indent="-317500">
              <a:lnSpc>
                <a:spcPct val="115000"/>
              </a:lnSpc>
              <a:spcBef>
                <a:spcPts val="0"/>
              </a:spcBef>
              <a:spcAft>
                <a:spcPts val="0"/>
              </a:spcAft>
              <a:buClr>
                <a:schemeClr val="dk2"/>
              </a:buClr>
              <a:buSzPts val="1400"/>
              <a:buChar char="○"/>
              <a:defRPr>
                <a:solidFill>
                  <a:schemeClr val="dk2"/>
                </a:solidFill>
              </a:defRPr>
            </a:lvl2pPr>
            <a:lvl3pPr marL="1371600" lvl="2" indent="-317500">
              <a:lnSpc>
                <a:spcPct val="115000"/>
              </a:lnSpc>
              <a:spcBef>
                <a:spcPts val="0"/>
              </a:spcBef>
              <a:spcAft>
                <a:spcPts val="0"/>
              </a:spcAft>
              <a:buClr>
                <a:schemeClr val="dk2"/>
              </a:buClr>
              <a:buSzPts val="1400"/>
              <a:buChar char="■"/>
              <a:defRPr>
                <a:solidFill>
                  <a:schemeClr val="dk2"/>
                </a:solidFill>
              </a:defRPr>
            </a:lvl3pPr>
            <a:lvl4pPr marL="1828800" lvl="3" indent="-317500">
              <a:lnSpc>
                <a:spcPct val="115000"/>
              </a:lnSpc>
              <a:spcBef>
                <a:spcPts val="0"/>
              </a:spcBef>
              <a:spcAft>
                <a:spcPts val="0"/>
              </a:spcAft>
              <a:buClr>
                <a:schemeClr val="dk2"/>
              </a:buClr>
              <a:buSzPts val="1400"/>
              <a:buChar char="●"/>
              <a:defRPr>
                <a:solidFill>
                  <a:schemeClr val="dk2"/>
                </a:solidFill>
              </a:defRPr>
            </a:lvl4pPr>
            <a:lvl5pPr marL="2286000" lvl="4" indent="-317500">
              <a:lnSpc>
                <a:spcPct val="115000"/>
              </a:lnSpc>
              <a:spcBef>
                <a:spcPts val="0"/>
              </a:spcBef>
              <a:spcAft>
                <a:spcPts val="0"/>
              </a:spcAft>
              <a:buClr>
                <a:schemeClr val="dk2"/>
              </a:buClr>
              <a:buSzPts val="1400"/>
              <a:buChar char="○"/>
              <a:defRPr>
                <a:solidFill>
                  <a:schemeClr val="dk2"/>
                </a:solidFill>
              </a:defRPr>
            </a:lvl5pPr>
            <a:lvl6pPr marL="2743200" lvl="5" indent="-317500">
              <a:lnSpc>
                <a:spcPct val="115000"/>
              </a:lnSpc>
              <a:spcBef>
                <a:spcPts val="0"/>
              </a:spcBef>
              <a:spcAft>
                <a:spcPts val="0"/>
              </a:spcAft>
              <a:buClr>
                <a:schemeClr val="dk2"/>
              </a:buClr>
              <a:buSzPts val="1400"/>
              <a:buChar char="■"/>
              <a:defRPr>
                <a:solidFill>
                  <a:schemeClr val="dk2"/>
                </a:solidFill>
              </a:defRPr>
            </a:lvl6pPr>
            <a:lvl7pPr marL="3200400" lvl="6" indent="-317500">
              <a:lnSpc>
                <a:spcPct val="115000"/>
              </a:lnSpc>
              <a:spcBef>
                <a:spcPts val="0"/>
              </a:spcBef>
              <a:spcAft>
                <a:spcPts val="0"/>
              </a:spcAft>
              <a:buClr>
                <a:schemeClr val="dk2"/>
              </a:buClr>
              <a:buSzPts val="1400"/>
              <a:buChar char="●"/>
              <a:defRPr>
                <a:solidFill>
                  <a:schemeClr val="dk2"/>
                </a:solidFill>
              </a:defRPr>
            </a:lvl7pPr>
            <a:lvl8pPr marL="3657600" lvl="7" indent="-317500">
              <a:lnSpc>
                <a:spcPct val="115000"/>
              </a:lnSpc>
              <a:spcBef>
                <a:spcPts val="0"/>
              </a:spcBef>
              <a:spcAft>
                <a:spcPts val="0"/>
              </a:spcAft>
              <a:buClr>
                <a:schemeClr val="dk2"/>
              </a:buClr>
              <a:buSzPts val="1400"/>
              <a:buChar char="○"/>
              <a:defRPr>
                <a:solidFill>
                  <a:schemeClr val="dk2"/>
                </a:solidFill>
              </a:defRPr>
            </a:lvl8pPr>
            <a:lvl9pPr marL="4114800" lvl="8" indent="-317500">
              <a:lnSpc>
                <a:spcPct val="115000"/>
              </a:lnSpc>
              <a:spcBef>
                <a:spcPts val="0"/>
              </a:spcBef>
              <a:spcAft>
                <a:spcPts val="0"/>
              </a:spcAft>
              <a:buClr>
                <a:schemeClr val="dk2"/>
              </a:buClr>
              <a:buSzPts val="1400"/>
              <a:buChar char="■"/>
              <a:defRPr>
                <a:solidFill>
                  <a:schemeClr val="dk2"/>
                </a:solidFill>
              </a:defRPr>
            </a:lvl9pPr>
          </a:lstStyle>
          <a:p>
            <a:endParaRPr/>
          </a:p>
        </p:txBody>
      </p:sp>
      <p:sp>
        <p:nvSpPr>
          <p:cNvPr id="8" name="Google Shape;8;p1"/>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rmAutofit/>
          </a:bodyPr>
          <a:lstStyle>
            <a:lvl1pPr lvl="0" algn="r">
              <a:buNone/>
              <a:defRPr sz="1333">
                <a:solidFill>
                  <a:schemeClr val="dk2"/>
                </a:solidFill>
              </a:defRPr>
            </a:lvl1pPr>
            <a:lvl2pPr lvl="1" algn="r">
              <a:buNone/>
              <a:defRPr sz="1333">
                <a:solidFill>
                  <a:schemeClr val="dk2"/>
                </a:solidFill>
              </a:defRPr>
            </a:lvl2pPr>
            <a:lvl3pPr lvl="2" algn="r">
              <a:buNone/>
              <a:defRPr sz="1333">
                <a:solidFill>
                  <a:schemeClr val="dk2"/>
                </a:solidFill>
              </a:defRPr>
            </a:lvl3pPr>
            <a:lvl4pPr lvl="3" algn="r">
              <a:buNone/>
              <a:defRPr sz="1333">
                <a:solidFill>
                  <a:schemeClr val="dk2"/>
                </a:solidFill>
              </a:defRPr>
            </a:lvl4pPr>
            <a:lvl5pPr lvl="4" algn="r">
              <a:buNone/>
              <a:defRPr sz="1333">
                <a:solidFill>
                  <a:schemeClr val="dk2"/>
                </a:solidFill>
              </a:defRPr>
            </a:lvl5pPr>
            <a:lvl6pPr lvl="5" algn="r">
              <a:buNone/>
              <a:defRPr sz="1333">
                <a:solidFill>
                  <a:schemeClr val="dk2"/>
                </a:solidFill>
              </a:defRPr>
            </a:lvl6pPr>
            <a:lvl7pPr lvl="6" algn="r">
              <a:buNone/>
              <a:defRPr sz="1333">
                <a:solidFill>
                  <a:schemeClr val="dk2"/>
                </a:solidFill>
              </a:defRPr>
            </a:lvl7pPr>
            <a:lvl8pPr lvl="7" algn="r">
              <a:buNone/>
              <a:defRPr sz="1333">
                <a:solidFill>
                  <a:schemeClr val="dk2"/>
                </a:solidFill>
              </a:defRPr>
            </a:lvl8pPr>
            <a:lvl9pPr lvl="8" algn="r">
              <a:buNone/>
              <a:defRPr sz="1333">
                <a:solidFill>
                  <a:schemeClr val="dk2"/>
                </a:solidFil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073712293"/>
      </p:ext>
    </p:extLst>
  </p:cSld>
  <p:clrMap bg1="lt1" tx1="dk1" bg2="dk2" tx2="lt2" accent1="accent1" accent2="accent2" accent3="accent3" accent4="accent4" accent5="accent5" accent6="accent6" hlink="hlink" folHlink="folHlink"/>
  <p:sldLayoutIdLst>
    <p:sldLayoutId id="2147483793" r:id="rId1"/>
    <p:sldLayoutId id="2147483794" r:id="rId2"/>
    <p:sldLayoutId id="2147483795" r:id="rId3"/>
    <p:sldLayoutId id="2147483796" r:id="rId4"/>
    <p:sldLayoutId id="2147483797" r:id="rId5"/>
    <p:sldLayoutId id="2147483798" r:id="rId6"/>
    <p:sldLayoutId id="2147483799" r:id="rId7"/>
    <p:sldLayoutId id="2147483800" r:id="rId8"/>
    <p:sldLayoutId id="2147483801" r:id="rId9"/>
    <p:sldLayoutId id="2147483802" r:id="rId10"/>
    <p:sldLayoutId id="2147483803" r:id="rId1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10FCD69-BECD-F56E-FB5E-F99DD10ED38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FE6665B3-9A93-08C7-5F27-2D231CFB6B8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EC025433-DC57-8227-5E30-D2335D3C8A4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8AF805A-454B-4352-9F22-69E2AF27FD75}" type="datetimeFigureOut">
              <a:rPr lang="en-GB" smtClean="0"/>
              <a:t>23/06/2024</a:t>
            </a:fld>
            <a:endParaRPr lang="en-GB"/>
          </a:p>
        </p:txBody>
      </p:sp>
      <p:sp>
        <p:nvSpPr>
          <p:cNvPr id="5" name="Footer Placeholder 4">
            <a:extLst>
              <a:ext uri="{FF2B5EF4-FFF2-40B4-BE49-F238E27FC236}">
                <a16:creationId xmlns:a16="http://schemas.microsoft.com/office/drawing/2014/main" id="{906FEF85-0F09-76A5-A559-D37AA863680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57569341-3718-0D17-C53C-BB1F7020B58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01205F3-6727-4E9B-B167-10C2A40C7755}" type="slidenum">
              <a:rPr lang="en-GB" smtClean="0"/>
              <a:t>‹#›</a:t>
            </a:fld>
            <a:endParaRPr lang="en-GB"/>
          </a:p>
        </p:txBody>
      </p:sp>
    </p:spTree>
    <p:extLst>
      <p:ext uri="{BB962C8B-B14F-4D97-AF65-F5344CB8AC3E}">
        <p14:creationId xmlns:p14="http://schemas.microsoft.com/office/powerpoint/2010/main" val="1970912438"/>
      </p:ext>
    </p:extLst>
  </p:cSld>
  <p:clrMap bg1="lt1" tx1="dk1" bg2="lt2" tx2="dk2" accent1="accent1" accent2="accent2" accent3="accent3" accent4="accent4" accent5="accent5" accent6="accent6" hlink="hlink" folHlink="folHlink"/>
  <p:sldLayoutIdLst>
    <p:sldLayoutId id="2147483805" r:id="rId1"/>
    <p:sldLayoutId id="2147483806" r:id="rId2"/>
    <p:sldLayoutId id="2147483807" r:id="rId3"/>
    <p:sldLayoutId id="2147483808" r:id="rId4"/>
    <p:sldLayoutId id="2147483809" r:id="rId5"/>
    <p:sldLayoutId id="2147483810" r:id="rId6"/>
    <p:sldLayoutId id="2147483811" r:id="rId7"/>
    <p:sldLayoutId id="2147483812" r:id="rId8"/>
    <p:sldLayoutId id="2147483813" r:id="rId9"/>
    <p:sldLayoutId id="2147483814" r:id="rId10"/>
    <p:sldLayoutId id="2147483815"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Layout" Target="../slideLayouts/slideLayout2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notesSlide" Target="../notesSlides/notesSlide4.xml"/><Relationship Id="rId1" Type="http://schemas.openxmlformats.org/officeDocument/2006/relationships/slideLayout" Target="../slideLayouts/slideLayout93.xml"/><Relationship Id="rId6" Type="http://schemas.openxmlformats.org/officeDocument/2006/relationships/image" Target="../media/image29.png"/><Relationship Id="rId5" Type="http://schemas.openxmlformats.org/officeDocument/2006/relationships/image" Target="../media/image28.gif"/><Relationship Id="rId4" Type="http://schemas.openxmlformats.org/officeDocument/2006/relationships/image" Target="../media/image27.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8" Type="http://schemas.openxmlformats.org/officeDocument/2006/relationships/image" Target="../media/image34.jpeg"/><Relationship Id="rId3" Type="http://schemas.openxmlformats.org/officeDocument/2006/relationships/hyperlink" Target="https://www.ukri.org/apply-for-funding/studentships-and-doctoral-training/get-training-and-development-to-support-your-doctorate/ukri-policy-internships/" TargetMode="External"/><Relationship Id="rId7" Type="http://schemas.openxmlformats.org/officeDocument/2006/relationships/image" Target="../media/image33.jpeg"/><Relationship Id="rId2" Type="http://schemas.openxmlformats.org/officeDocument/2006/relationships/notesSlide" Target="../notesSlides/notesSlide6.xml"/><Relationship Id="rId1" Type="http://schemas.openxmlformats.org/officeDocument/2006/relationships/slideLayout" Target="../slideLayouts/slideLayout127.xml"/><Relationship Id="rId6" Type="http://schemas.openxmlformats.org/officeDocument/2006/relationships/image" Target="../media/image32.jpeg"/><Relationship Id="rId5" Type="http://schemas.openxmlformats.org/officeDocument/2006/relationships/image" Target="../media/image31.jpeg"/><Relationship Id="rId4" Type="http://schemas.openxmlformats.org/officeDocument/2006/relationships/image" Target="../media/image30.png"/></Relationships>
</file>

<file path=ppt/slides/_rels/slide16.xml.rels><?xml version="1.0" encoding="UTF-8" standalone="yes"?>
<Relationships xmlns="http://schemas.openxmlformats.org/package/2006/relationships"><Relationship Id="rId3" Type="http://schemas.openxmlformats.org/officeDocument/2006/relationships/hyperlink" Target="https://www.faststream.gov.uk/index.html" TargetMode="External"/><Relationship Id="rId7" Type="http://schemas.openxmlformats.org/officeDocument/2006/relationships/image" Target="../media/image37.png"/><Relationship Id="rId2" Type="http://schemas.openxmlformats.org/officeDocument/2006/relationships/notesSlide" Target="../notesSlides/notesSlide7.xml"/><Relationship Id="rId1" Type="http://schemas.openxmlformats.org/officeDocument/2006/relationships/slideLayout" Target="../slideLayouts/slideLayout127.xml"/><Relationship Id="rId6" Type="http://schemas.openxmlformats.org/officeDocument/2006/relationships/image" Target="../media/image36.png"/><Relationship Id="rId5" Type="http://schemas.openxmlformats.org/officeDocument/2006/relationships/image" Target="../media/image35.jpeg"/><Relationship Id="rId4" Type="http://schemas.openxmlformats.org/officeDocument/2006/relationships/hyperlink" Target="https://www.gov.uk/government/organisations/civil-service-government-operational-research-service" TargetMode="Externa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Layout" Target="../slideLayouts/slideLayout101.xml"/></Relationships>
</file>

<file path=ppt/slides/_rels/slide1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gif"/><Relationship Id="rId1" Type="http://schemas.openxmlformats.org/officeDocument/2006/relationships/slideLayout" Target="../slideLayouts/slideLayout101.xml"/><Relationship Id="rId4" Type="http://schemas.openxmlformats.org/officeDocument/2006/relationships/image" Target="../media/image41.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8.xml"/><Relationship Id="rId1" Type="http://schemas.openxmlformats.org/officeDocument/2006/relationships/slideLayout" Target="../slideLayouts/slideLayout116.xml"/><Relationship Id="rId4" Type="http://schemas.openxmlformats.org/officeDocument/2006/relationships/image" Target="../media/image43.png"/></Relationships>
</file>

<file path=ppt/slides/_rels/slide2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9.xml"/><Relationship Id="rId1" Type="http://schemas.openxmlformats.org/officeDocument/2006/relationships/slideLayout" Target="../slideLayouts/slideLayout116.xml"/><Relationship Id="rId4" Type="http://schemas.openxmlformats.org/officeDocument/2006/relationships/image" Target="../media/image45.gif"/></Relationships>
</file>

<file path=ppt/slides/_rels/slide23.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0.xml"/><Relationship Id="rId1" Type="http://schemas.openxmlformats.org/officeDocument/2006/relationships/slideLayout" Target="../slideLayouts/slideLayout116.xml"/></Relationships>
</file>

<file path=ppt/slides/_rels/slide2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1.xml"/><Relationship Id="rId1" Type="http://schemas.openxmlformats.org/officeDocument/2006/relationships/slideLayout" Target="../slideLayouts/slideLayout116.xml"/></Relationships>
</file>

<file path=ppt/slides/_rels/slide2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2.xml"/><Relationship Id="rId1" Type="http://schemas.openxmlformats.org/officeDocument/2006/relationships/slideLayout" Target="../slideLayouts/slideLayout116.xml"/></Relationships>
</file>

<file path=ppt/slides/_rels/slide2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3.xml"/><Relationship Id="rId1" Type="http://schemas.openxmlformats.org/officeDocument/2006/relationships/slideLayout" Target="../slideLayouts/slideLayout116.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1.xml"/></Relationships>
</file>

<file path=ppt/slides/_rels/slide4.xml.rels><?xml version="1.0" encoding="UTF-8" standalone="yes"?>
<Relationships xmlns="http://schemas.openxmlformats.org/package/2006/relationships"><Relationship Id="rId8" Type="http://schemas.openxmlformats.org/officeDocument/2006/relationships/image" Target="../media/image7.png"/><Relationship Id="rId13" Type="http://schemas.openxmlformats.org/officeDocument/2006/relationships/image" Target="../media/image12.png"/><Relationship Id="rId3" Type="http://schemas.openxmlformats.org/officeDocument/2006/relationships/slideLayout" Target="../slideLayouts/slideLayout13.xml"/><Relationship Id="rId7" Type="http://schemas.openxmlformats.org/officeDocument/2006/relationships/image" Target="../media/image6.png"/><Relationship Id="rId12" Type="http://schemas.openxmlformats.org/officeDocument/2006/relationships/image" Target="../media/image11.pn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1.emf"/><Relationship Id="rId11" Type="http://schemas.openxmlformats.org/officeDocument/2006/relationships/image" Target="../media/image10.png"/><Relationship Id="rId5" Type="http://schemas.openxmlformats.org/officeDocument/2006/relationships/oleObject" Target="../embeddings/oleObject9.bin"/><Relationship Id="rId10" Type="http://schemas.openxmlformats.org/officeDocument/2006/relationships/image" Target="../media/image9.png"/><Relationship Id="rId4" Type="http://schemas.openxmlformats.org/officeDocument/2006/relationships/notesSlide" Target="../notesSlides/notesSlide2.xml"/><Relationship Id="rId9" Type="http://schemas.openxmlformats.org/officeDocument/2006/relationships/image" Target="../media/image8.png"/><Relationship Id="rId14" Type="http://schemas.openxmlformats.org/officeDocument/2006/relationships/image" Target="../media/image13.png"/></Relationships>
</file>

<file path=ppt/slides/_rels/slide5.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emf"/><Relationship Id="rId3" Type="http://schemas.openxmlformats.org/officeDocument/2006/relationships/slideLayout" Target="../slideLayouts/slideLayout17.xml"/><Relationship Id="rId7" Type="http://schemas.openxmlformats.org/officeDocument/2006/relationships/image" Target="../media/image15.png"/><Relationship Id="rId12" Type="http://schemas.openxmlformats.org/officeDocument/2006/relationships/image" Target="../media/image20.emf"/><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14.emf"/><Relationship Id="rId11" Type="http://schemas.openxmlformats.org/officeDocument/2006/relationships/image" Target="../media/image19.png"/><Relationship Id="rId5" Type="http://schemas.openxmlformats.org/officeDocument/2006/relationships/oleObject" Target="../embeddings/oleObject10.bin"/><Relationship Id="rId10" Type="http://schemas.openxmlformats.org/officeDocument/2006/relationships/image" Target="../media/image18.png"/><Relationship Id="rId4" Type="http://schemas.openxmlformats.org/officeDocument/2006/relationships/notesSlide" Target="../notesSlides/notesSlide3.xml"/><Relationship Id="rId9" Type="http://schemas.openxmlformats.org/officeDocument/2006/relationships/image" Target="../media/image17.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Layout" Target="../slideLayouts/slideLayout18.xml"/><Relationship Id="rId5" Type="http://schemas.openxmlformats.org/officeDocument/2006/relationships/image" Target="../media/image23.jpg"/><Relationship Id="rId4" Type="http://schemas.openxmlformats.org/officeDocument/2006/relationships/image" Target="../media/image3.png"/></Relationships>
</file>

<file path=ppt/slides/_rels/slide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Layout" Target="../slideLayouts/slideLayout18.xml"/><Relationship Id="rId6" Type="http://schemas.openxmlformats.org/officeDocument/2006/relationships/image" Target="../media/image24.emf"/><Relationship Id="rId5" Type="http://schemas.openxmlformats.org/officeDocument/2006/relationships/image" Target="../media/image5.png"/><Relationship Id="rId4" Type="http://schemas.openxmlformats.org/officeDocument/2006/relationships/image" Target="../media/image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B3ABF9-74F5-A177-2C08-4194B40D416C}"/>
              </a:ext>
            </a:extLst>
          </p:cNvPr>
          <p:cNvSpPr>
            <a:spLocks noGrp="1"/>
          </p:cNvSpPr>
          <p:nvPr>
            <p:ph type="ctrTitle"/>
          </p:nvPr>
        </p:nvSpPr>
        <p:spPr/>
        <p:txBody>
          <a:bodyPr/>
          <a:lstStyle/>
          <a:p>
            <a:r>
              <a:rPr lang="en-GB" dirty="0"/>
              <a:t>Industry Panellist Introductions</a:t>
            </a:r>
          </a:p>
        </p:txBody>
      </p:sp>
      <p:sp>
        <p:nvSpPr>
          <p:cNvPr id="3" name="Subtitle 2">
            <a:extLst>
              <a:ext uri="{FF2B5EF4-FFF2-40B4-BE49-F238E27FC236}">
                <a16:creationId xmlns:a16="http://schemas.microsoft.com/office/drawing/2014/main" id="{08D484C6-8938-A703-A775-F79EFA61E1E1}"/>
              </a:ext>
            </a:extLst>
          </p:cNvPr>
          <p:cNvSpPr>
            <a:spLocks noGrp="1"/>
          </p:cNvSpPr>
          <p:nvPr>
            <p:ph type="subTitle" idx="1"/>
          </p:nvPr>
        </p:nvSpPr>
        <p:spPr>
          <a:xfrm>
            <a:off x="1524000" y="3602038"/>
            <a:ext cx="9144000" cy="2483802"/>
          </a:xfrm>
        </p:spPr>
        <p:txBody>
          <a:bodyPr>
            <a:normAutofit/>
          </a:bodyPr>
          <a:lstStyle/>
          <a:p>
            <a:r>
              <a:rPr lang="en-GB" dirty="0"/>
              <a:t>Karola </a:t>
            </a:r>
            <a:r>
              <a:rPr lang="en-GB" dirty="0" err="1"/>
              <a:t>Bejm</a:t>
            </a:r>
            <a:br>
              <a:rPr lang="en-GB" dirty="0"/>
            </a:br>
            <a:r>
              <a:rPr lang="en-GB" dirty="0"/>
              <a:t>Jon Burr</a:t>
            </a:r>
            <a:br>
              <a:rPr lang="en-GB" dirty="0"/>
            </a:br>
            <a:r>
              <a:rPr lang="en-GB" dirty="0"/>
              <a:t>Alix Fell</a:t>
            </a:r>
            <a:br>
              <a:rPr lang="en-GB" dirty="0"/>
            </a:br>
            <a:r>
              <a:rPr lang="en-GB" dirty="0"/>
              <a:t>James Grundy</a:t>
            </a:r>
            <a:br>
              <a:rPr lang="en-GB" dirty="0"/>
            </a:br>
            <a:r>
              <a:rPr lang="en-GB" dirty="0"/>
              <a:t>Martha Hilton</a:t>
            </a:r>
            <a:br>
              <a:rPr lang="en-GB" dirty="0"/>
            </a:br>
            <a:r>
              <a:rPr lang="en-GB" dirty="0"/>
              <a:t>Mike Nelson</a:t>
            </a:r>
          </a:p>
        </p:txBody>
      </p:sp>
    </p:spTree>
    <p:extLst>
      <p:ext uri="{BB962C8B-B14F-4D97-AF65-F5344CB8AC3E}">
        <p14:creationId xmlns:p14="http://schemas.microsoft.com/office/powerpoint/2010/main" val="34299558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building with windows and a tree&#10;&#10;Description automatically generated">
            <a:extLst>
              <a:ext uri="{FF2B5EF4-FFF2-40B4-BE49-F238E27FC236}">
                <a16:creationId xmlns:a16="http://schemas.microsoft.com/office/drawing/2014/main" id="{6846AA9D-1D0F-6B54-55E1-A088725DBD50}"/>
              </a:ext>
            </a:extLst>
          </p:cNvPr>
          <p:cNvPicPr>
            <a:picLocks noChangeAspect="1"/>
          </p:cNvPicPr>
          <p:nvPr/>
        </p:nvPicPr>
        <p:blipFill rotWithShape="1">
          <a:blip r:embed="rId2">
            <a:extLst>
              <a:ext uri="{28A0092B-C50C-407E-A947-70E740481C1C}">
                <a14:useLocalDpi xmlns:a14="http://schemas.microsoft.com/office/drawing/2010/main" val="0"/>
              </a:ext>
            </a:extLst>
          </a:blip>
          <a:srcRect r="9948"/>
          <a:stretch/>
        </p:blipFill>
        <p:spPr>
          <a:xfrm>
            <a:off x="4229139" y="1438563"/>
            <a:ext cx="7962862" cy="3980873"/>
          </a:xfrm>
          <a:prstGeom prst="rect">
            <a:avLst/>
          </a:prstGeom>
        </p:spPr>
      </p:pic>
      <p:sp>
        <p:nvSpPr>
          <p:cNvPr id="4" name="TextBox 3">
            <a:extLst>
              <a:ext uri="{FF2B5EF4-FFF2-40B4-BE49-F238E27FC236}">
                <a16:creationId xmlns:a16="http://schemas.microsoft.com/office/drawing/2014/main" id="{6C6B89B2-A601-4845-97F7-596515810B9E}"/>
              </a:ext>
            </a:extLst>
          </p:cNvPr>
          <p:cNvSpPr txBox="1"/>
          <p:nvPr/>
        </p:nvSpPr>
        <p:spPr>
          <a:xfrm>
            <a:off x="50883" y="1603155"/>
            <a:ext cx="4178255" cy="2308324"/>
          </a:xfrm>
          <a:prstGeom prst="rect">
            <a:avLst/>
          </a:prstGeom>
          <a:solidFill>
            <a:schemeClr val="bg1">
              <a:alpha val="80000"/>
            </a:schemeClr>
          </a:solidFill>
          <a:effectLst>
            <a:softEdge rad="63500"/>
          </a:effectLst>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rPr>
              <a:t>Senior Software Engineer at MathWorks (Oct 2023 – presen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rPr>
              <a:t>Part of the parallel computing team working on the infrastructure to run computations on multiple MATLABs in parallel</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rPr>
              <a:t>Developing mostly in C++ and MATLAB</a:t>
            </a:r>
          </a:p>
        </p:txBody>
      </p:sp>
    </p:spTree>
    <p:extLst>
      <p:ext uri="{BB962C8B-B14F-4D97-AF65-F5344CB8AC3E}">
        <p14:creationId xmlns:p14="http://schemas.microsoft.com/office/powerpoint/2010/main" val="51125496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4C161FAD-ACC4-D703-7B5B-437E10990EB9}"/>
              </a:ext>
            </a:extLst>
          </p:cNvPr>
          <p:cNvSpPr>
            <a:spLocks noGrp="1"/>
          </p:cNvSpPr>
          <p:nvPr>
            <p:ph type="title"/>
          </p:nvPr>
        </p:nvSpPr>
        <p:spPr>
          <a:xfrm>
            <a:off x="838200" y="2766218"/>
            <a:ext cx="10515600" cy="1325563"/>
          </a:xfrm>
        </p:spPr>
        <p:txBody>
          <a:bodyPr/>
          <a:lstStyle/>
          <a:p>
            <a:pPr algn="ctr"/>
            <a:r>
              <a:rPr lang="en-GB" dirty="0"/>
              <a:t>Alix Fell</a:t>
            </a:r>
          </a:p>
        </p:txBody>
      </p:sp>
    </p:spTree>
    <p:extLst>
      <p:ext uri="{BB962C8B-B14F-4D97-AF65-F5344CB8AC3E}">
        <p14:creationId xmlns:p14="http://schemas.microsoft.com/office/powerpoint/2010/main" val="365487658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2900"/>
        <p:cNvGrpSpPr/>
        <p:nvPr/>
      </p:nvGrpSpPr>
      <p:grpSpPr>
        <a:xfrm>
          <a:off x="0" y="0"/>
          <a:ext cx="0" cy="0"/>
          <a:chOff x="0" y="0"/>
          <a:chExt cx="0" cy="0"/>
        </a:xfrm>
      </p:grpSpPr>
      <p:sp>
        <p:nvSpPr>
          <p:cNvPr id="2901" name="Google Shape;2901;p73"/>
          <p:cNvSpPr txBox="1">
            <a:spLocks noGrp="1"/>
          </p:cNvSpPr>
          <p:nvPr>
            <p:ph type="subTitle" idx="1"/>
          </p:nvPr>
        </p:nvSpPr>
        <p:spPr>
          <a:xfrm>
            <a:off x="497600" y="810633"/>
            <a:ext cx="6442800" cy="1050000"/>
          </a:xfrm>
          <a:prstGeom prst="rect">
            <a:avLst/>
          </a:prstGeom>
        </p:spPr>
        <p:txBody>
          <a:bodyPr spcFirstLastPara="1" wrap="square" lIns="0" tIns="45700" rIns="91433" bIns="45700" anchor="t" anchorCtr="0">
            <a:normAutofit lnSpcReduction="10000"/>
          </a:bodyPr>
          <a:lstStyle/>
          <a:p>
            <a:pPr marL="0" indent="0"/>
            <a:r>
              <a:rPr lang="en-GB"/>
              <a:t>Alix Fell</a:t>
            </a:r>
            <a:endParaRPr/>
          </a:p>
        </p:txBody>
      </p:sp>
      <p:pic>
        <p:nvPicPr>
          <p:cNvPr id="2902" name="Google Shape;2902;p73"/>
          <p:cNvPicPr preferRelativeResize="0">
            <a:picLocks noGrp="1"/>
          </p:cNvPicPr>
          <p:nvPr>
            <p:ph type="pic" idx="2"/>
          </p:nvPr>
        </p:nvPicPr>
        <p:blipFill rotWithShape="1">
          <a:blip r:embed="rId3">
            <a:alphaModFix/>
          </a:blip>
          <a:srcRect t="5736" b="5736"/>
          <a:stretch/>
        </p:blipFill>
        <p:spPr>
          <a:xfrm>
            <a:off x="7147200" y="1334400"/>
            <a:ext cx="3416000" cy="4032000"/>
          </a:xfrm>
          <a:prstGeom prst="roundRect">
            <a:avLst>
              <a:gd name="adj" fmla="val 16667"/>
            </a:avLst>
          </a:prstGeom>
        </p:spPr>
      </p:pic>
      <p:pic>
        <p:nvPicPr>
          <p:cNvPr id="2903" name="Google Shape;2903;p73" title="Multiverse_Symbol_rgb_white.png"/>
          <p:cNvPicPr preferRelativeResize="0"/>
          <p:nvPr/>
        </p:nvPicPr>
        <p:blipFill>
          <a:blip r:embed="rId4">
            <a:alphaModFix/>
          </a:blip>
          <a:stretch>
            <a:fillRect/>
          </a:stretch>
        </p:blipFill>
        <p:spPr>
          <a:xfrm>
            <a:off x="1017634" y="5066200"/>
            <a:ext cx="1403900" cy="1215968"/>
          </a:xfrm>
          <a:prstGeom prst="rect">
            <a:avLst/>
          </a:prstGeom>
          <a:noFill/>
          <a:ln>
            <a:noFill/>
          </a:ln>
        </p:spPr>
      </p:pic>
      <p:pic>
        <p:nvPicPr>
          <p:cNvPr id="2904" name="Google Shape;2904;p73"/>
          <p:cNvPicPr preferRelativeResize="0"/>
          <p:nvPr/>
        </p:nvPicPr>
        <p:blipFill rotWithShape="1">
          <a:blip r:embed="rId5">
            <a:alphaModFix/>
          </a:blip>
          <a:srcRect b="49438"/>
          <a:stretch/>
        </p:blipFill>
        <p:spPr>
          <a:xfrm>
            <a:off x="482600" y="4188149"/>
            <a:ext cx="2474000" cy="703616"/>
          </a:xfrm>
          <a:prstGeom prst="rect">
            <a:avLst/>
          </a:prstGeom>
          <a:noFill/>
          <a:ln>
            <a:noFill/>
          </a:ln>
        </p:spPr>
      </p:pic>
      <p:pic>
        <p:nvPicPr>
          <p:cNvPr id="2905" name="Google Shape;2905;p73"/>
          <p:cNvPicPr preferRelativeResize="0"/>
          <p:nvPr/>
        </p:nvPicPr>
        <p:blipFill>
          <a:blip r:embed="rId6">
            <a:alphaModFix/>
          </a:blip>
          <a:stretch>
            <a:fillRect/>
          </a:stretch>
        </p:blipFill>
        <p:spPr>
          <a:xfrm rot="4">
            <a:off x="3220534" y="2797736"/>
            <a:ext cx="3662732" cy="3484441"/>
          </a:xfrm>
          <a:prstGeom prst="rect">
            <a:avLst/>
          </a:prstGeom>
          <a:noFill/>
          <a:ln>
            <a:noFill/>
          </a:ln>
        </p:spPr>
      </p:pic>
      <p:sp>
        <p:nvSpPr>
          <p:cNvPr id="2906" name="Google Shape;2906;p73"/>
          <p:cNvSpPr txBox="1">
            <a:spLocks noGrp="1"/>
          </p:cNvSpPr>
          <p:nvPr>
            <p:ph type="subTitle" idx="1"/>
          </p:nvPr>
        </p:nvSpPr>
        <p:spPr>
          <a:xfrm>
            <a:off x="550500" y="1687376"/>
            <a:ext cx="6442800" cy="2665600"/>
          </a:xfrm>
          <a:prstGeom prst="rect">
            <a:avLst/>
          </a:prstGeom>
        </p:spPr>
        <p:txBody>
          <a:bodyPr spcFirstLastPara="1" wrap="square" lIns="0" tIns="45700" rIns="91433" bIns="45700" anchor="t" anchorCtr="0">
            <a:normAutofit lnSpcReduction="10000"/>
          </a:bodyPr>
          <a:lstStyle/>
          <a:p>
            <a:pPr marL="0" indent="0"/>
            <a:r>
              <a:rPr lang="en-GB" sz="2133" i="1"/>
              <a:t>2017-2021: </a:t>
            </a:r>
            <a:br>
              <a:rPr lang="en-GB" sz="2667"/>
            </a:br>
            <a:r>
              <a:rPr lang="en-GB" sz="2667"/>
              <a:t>The University of Sheffield</a:t>
            </a:r>
            <a:br>
              <a:rPr lang="en-GB" sz="2667"/>
            </a:br>
            <a:r>
              <a:rPr lang="en-GB" sz="2667"/>
              <a:t>The ATLAS Collaboration</a:t>
            </a:r>
            <a:endParaRPr sz="2667"/>
          </a:p>
          <a:p>
            <a:pPr marL="0" indent="0"/>
            <a:r>
              <a:rPr lang="en-GB" sz="2133" i="1"/>
              <a:t>2021 - 2022: </a:t>
            </a:r>
            <a:br>
              <a:rPr lang="en-GB" sz="2667"/>
            </a:br>
            <a:r>
              <a:rPr lang="en-GB" sz="2667"/>
              <a:t>Tutoring</a:t>
            </a:r>
            <a:endParaRPr sz="2667"/>
          </a:p>
          <a:p>
            <a:pPr marL="0" indent="0"/>
            <a:r>
              <a:rPr lang="en-GB" sz="2133" i="1"/>
              <a:t>2022 - Present: </a:t>
            </a:r>
            <a:br>
              <a:rPr lang="en-GB" sz="2667"/>
            </a:br>
            <a:r>
              <a:rPr lang="en-GB" sz="2667"/>
              <a:t>Multiverse </a:t>
            </a:r>
            <a:endParaRPr sz="2667"/>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2910"/>
        <p:cNvGrpSpPr/>
        <p:nvPr/>
      </p:nvGrpSpPr>
      <p:grpSpPr>
        <a:xfrm>
          <a:off x="0" y="0"/>
          <a:ext cx="0" cy="0"/>
          <a:chOff x="0" y="0"/>
          <a:chExt cx="0" cy="0"/>
        </a:xfrm>
      </p:grpSpPr>
      <p:sp>
        <p:nvSpPr>
          <p:cNvPr id="2911" name="Google Shape;2911;p74"/>
          <p:cNvSpPr txBox="1">
            <a:spLocks noGrp="1"/>
          </p:cNvSpPr>
          <p:nvPr>
            <p:ph type="subTitle" idx="1"/>
          </p:nvPr>
        </p:nvSpPr>
        <p:spPr>
          <a:xfrm>
            <a:off x="493900" y="2338733"/>
            <a:ext cx="1614400" cy="264000"/>
          </a:xfrm>
          <a:prstGeom prst="rect">
            <a:avLst/>
          </a:prstGeom>
        </p:spPr>
        <p:txBody>
          <a:bodyPr spcFirstLastPara="1" wrap="square" lIns="48000" tIns="0" rIns="48000" bIns="0" anchor="ctr" anchorCtr="0">
            <a:noAutofit/>
          </a:bodyPr>
          <a:lstStyle/>
          <a:p>
            <a:pPr marL="0" indent="0"/>
            <a:r>
              <a:rPr lang="en-GB" sz="2133"/>
              <a:t>Academia</a:t>
            </a:r>
            <a:endParaRPr sz="2133"/>
          </a:p>
        </p:txBody>
      </p:sp>
      <p:sp>
        <p:nvSpPr>
          <p:cNvPr id="2912" name="Google Shape;2912;p74"/>
          <p:cNvSpPr txBox="1">
            <a:spLocks noGrp="1"/>
          </p:cNvSpPr>
          <p:nvPr>
            <p:ph type="subTitle" idx="2"/>
          </p:nvPr>
        </p:nvSpPr>
        <p:spPr>
          <a:xfrm>
            <a:off x="4239469" y="2338733"/>
            <a:ext cx="1884000" cy="264000"/>
          </a:xfrm>
          <a:prstGeom prst="rect">
            <a:avLst/>
          </a:prstGeom>
        </p:spPr>
        <p:txBody>
          <a:bodyPr spcFirstLastPara="1" wrap="square" lIns="48000" tIns="0" rIns="48000" bIns="0" anchor="ctr" anchorCtr="0">
            <a:noAutofit/>
          </a:bodyPr>
          <a:lstStyle/>
          <a:p>
            <a:pPr marL="0" indent="0"/>
            <a:r>
              <a:rPr lang="en-GB" sz="2133"/>
              <a:t>Skills Gained</a:t>
            </a:r>
            <a:endParaRPr sz="2133"/>
          </a:p>
        </p:txBody>
      </p:sp>
      <p:sp>
        <p:nvSpPr>
          <p:cNvPr id="2913" name="Google Shape;2913;p74"/>
          <p:cNvSpPr txBox="1">
            <a:spLocks noGrp="1"/>
          </p:cNvSpPr>
          <p:nvPr>
            <p:ph type="subTitle" idx="3"/>
          </p:nvPr>
        </p:nvSpPr>
        <p:spPr>
          <a:xfrm>
            <a:off x="7985017" y="2338733"/>
            <a:ext cx="1614400" cy="264000"/>
          </a:xfrm>
          <a:prstGeom prst="rect">
            <a:avLst/>
          </a:prstGeom>
        </p:spPr>
        <p:txBody>
          <a:bodyPr spcFirstLastPara="1" wrap="square" lIns="48000" tIns="0" rIns="48000" bIns="0" anchor="ctr" anchorCtr="0">
            <a:noAutofit/>
          </a:bodyPr>
          <a:lstStyle/>
          <a:p>
            <a:pPr marL="0" indent="0"/>
            <a:r>
              <a:rPr lang="en-GB" sz="2133"/>
              <a:t>Industry</a:t>
            </a:r>
            <a:endParaRPr sz="2133"/>
          </a:p>
        </p:txBody>
      </p:sp>
      <p:sp>
        <p:nvSpPr>
          <p:cNvPr id="2914" name="Google Shape;2914;p74"/>
          <p:cNvSpPr txBox="1">
            <a:spLocks noGrp="1"/>
          </p:cNvSpPr>
          <p:nvPr>
            <p:ph type="title"/>
          </p:nvPr>
        </p:nvSpPr>
        <p:spPr>
          <a:xfrm>
            <a:off x="951700" y="821699"/>
            <a:ext cx="10515600" cy="524800"/>
          </a:xfrm>
          <a:prstGeom prst="rect">
            <a:avLst/>
          </a:prstGeom>
        </p:spPr>
        <p:txBody>
          <a:bodyPr spcFirstLastPara="1" wrap="square" lIns="0" tIns="0" rIns="91433" bIns="45700" anchor="t" anchorCtr="0">
            <a:noAutofit/>
          </a:bodyPr>
          <a:lstStyle/>
          <a:p>
            <a:r>
              <a:rPr lang="en-GB"/>
              <a:t>My Journey </a:t>
            </a:r>
            <a:endParaRPr/>
          </a:p>
        </p:txBody>
      </p:sp>
      <p:sp>
        <p:nvSpPr>
          <p:cNvPr id="2915" name="Google Shape;2915;p74"/>
          <p:cNvSpPr txBox="1">
            <a:spLocks noGrp="1"/>
          </p:cNvSpPr>
          <p:nvPr>
            <p:ph type="body" idx="4"/>
          </p:nvPr>
        </p:nvSpPr>
        <p:spPr>
          <a:xfrm>
            <a:off x="481600" y="2710000"/>
            <a:ext cx="3237200" cy="3535200"/>
          </a:xfrm>
          <a:prstGeom prst="rect">
            <a:avLst/>
          </a:prstGeom>
        </p:spPr>
        <p:txBody>
          <a:bodyPr spcFirstLastPara="1" wrap="square" lIns="0" tIns="45700" rIns="91433" bIns="45700" anchor="t" anchorCtr="0">
            <a:noAutofit/>
          </a:bodyPr>
          <a:lstStyle/>
          <a:p>
            <a:pPr indent="-423323">
              <a:buSzPts val="1400"/>
            </a:pPr>
            <a:r>
              <a:rPr lang="en-GB" sz="1867"/>
              <a:t>Studied photon induced WW boson production at the ATLAS collaboration</a:t>
            </a:r>
            <a:endParaRPr sz="1867"/>
          </a:p>
          <a:p>
            <a:pPr indent="-423323">
              <a:buSzPts val="1400"/>
            </a:pPr>
            <a:r>
              <a:rPr lang="en-GB" sz="1867"/>
              <a:t>Author qualification project in electron ID</a:t>
            </a:r>
            <a:endParaRPr sz="1867"/>
          </a:p>
          <a:p>
            <a:pPr indent="-423323">
              <a:buSzPts val="1400"/>
            </a:pPr>
            <a:r>
              <a:rPr lang="en-GB" sz="1867"/>
              <a:t>Taught a first year undergraduate maths course as part of my teaching scholarship</a:t>
            </a:r>
            <a:endParaRPr sz="1867"/>
          </a:p>
        </p:txBody>
      </p:sp>
      <p:sp>
        <p:nvSpPr>
          <p:cNvPr id="2916" name="Google Shape;2916;p74"/>
          <p:cNvSpPr txBox="1">
            <a:spLocks noGrp="1"/>
          </p:cNvSpPr>
          <p:nvPr>
            <p:ph type="body" idx="5"/>
          </p:nvPr>
        </p:nvSpPr>
        <p:spPr>
          <a:xfrm>
            <a:off x="4242500" y="2710000"/>
            <a:ext cx="3325200" cy="3535200"/>
          </a:xfrm>
          <a:prstGeom prst="rect">
            <a:avLst/>
          </a:prstGeom>
        </p:spPr>
        <p:txBody>
          <a:bodyPr spcFirstLastPara="1" wrap="square" lIns="0" tIns="45700" rIns="91433" bIns="45700" anchor="t" anchorCtr="0">
            <a:noAutofit/>
          </a:bodyPr>
          <a:lstStyle/>
          <a:p>
            <a:pPr indent="-423323">
              <a:buSzPts val="1400"/>
            </a:pPr>
            <a:r>
              <a:rPr lang="en-GB" sz="1867"/>
              <a:t>Data handling and analysis</a:t>
            </a:r>
            <a:endParaRPr sz="1867"/>
          </a:p>
          <a:p>
            <a:pPr indent="-423323">
              <a:buSzPts val="1400"/>
            </a:pPr>
            <a:r>
              <a:rPr lang="en-GB" sz="1867"/>
              <a:t>Statistics</a:t>
            </a:r>
            <a:endParaRPr sz="1867"/>
          </a:p>
          <a:p>
            <a:pPr indent="-423323">
              <a:buSzPts val="1400"/>
            </a:pPr>
            <a:r>
              <a:rPr lang="en-GB" sz="1867"/>
              <a:t>Coding - python, C++, linux systems</a:t>
            </a:r>
            <a:endParaRPr sz="1867"/>
          </a:p>
          <a:p>
            <a:pPr indent="-423323">
              <a:buSzPts val="1400"/>
            </a:pPr>
            <a:r>
              <a:rPr lang="en-GB" sz="1867"/>
              <a:t>The ability to ask questions</a:t>
            </a:r>
            <a:endParaRPr sz="1867"/>
          </a:p>
          <a:p>
            <a:pPr indent="-423323">
              <a:buSzPts val="1400"/>
            </a:pPr>
            <a:r>
              <a:rPr lang="en-GB" sz="1867"/>
              <a:t>The ability to articulate complex concepts</a:t>
            </a:r>
            <a:endParaRPr sz="1867"/>
          </a:p>
          <a:p>
            <a:pPr indent="-423323">
              <a:buSzPts val="1400"/>
            </a:pPr>
            <a:r>
              <a:rPr lang="en-GB" sz="1867"/>
              <a:t>Problem Solving</a:t>
            </a:r>
            <a:endParaRPr sz="1867"/>
          </a:p>
        </p:txBody>
      </p:sp>
      <p:sp>
        <p:nvSpPr>
          <p:cNvPr id="2917" name="Google Shape;2917;p74"/>
          <p:cNvSpPr txBox="1">
            <a:spLocks noGrp="1"/>
          </p:cNvSpPr>
          <p:nvPr>
            <p:ph type="body" idx="6"/>
          </p:nvPr>
        </p:nvSpPr>
        <p:spPr>
          <a:xfrm>
            <a:off x="8003400" y="2710000"/>
            <a:ext cx="3840000" cy="3535200"/>
          </a:xfrm>
          <a:prstGeom prst="rect">
            <a:avLst/>
          </a:prstGeom>
        </p:spPr>
        <p:txBody>
          <a:bodyPr spcFirstLastPara="1" wrap="square" lIns="0" tIns="45700" rIns="91433" bIns="45700" anchor="t" anchorCtr="0">
            <a:noAutofit/>
          </a:bodyPr>
          <a:lstStyle/>
          <a:p>
            <a:pPr indent="-423323">
              <a:buSzPts val="1400"/>
            </a:pPr>
            <a:r>
              <a:rPr lang="en-GB" sz="1867"/>
              <a:t>EdTech Scale-up organisation</a:t>
            </a:r>
            <a:endParaRPr sz="1867"/>
          </a:p>
          <a:p>
            <a:pPr indent="-423323">
              <a:buSzPts val="1400"/>
            </a:pPr>
            <a:r>
              <a:rPr lang="en-GB" sz="1867"/>
              <a:t>Fast paced environment</a:t>
            </a:r>
            <a:endParaRPr sz="1867"/>
          </a:p>
          <a:p>
            <a:pPr indent="-423323">
              <a:buSzPts val="1400"/>
            </a:pPr>
            <a:r>
              <a:rPr lang="en-GB" sz="1867"/>
              <a:t>Teaching and Coaching digital skills</a:t>
            </a:r>
            <a:endParaRPr sz="1867"/>
          </a:p>
          <a:p>
            <a:pPr indent="-423323">
              <a:buSzPts val="1400"/>
            </a:pPr>
            <a:r>
              <a:rPr lang="en-GB" sz="1867"/>
              <a:t>Refining processes to work at scale</a:t>
            </a:r>
            <a:endParaRPr sz="1867"/>
          </a:p>
          <a:p>
            <a:pPr indent="-423323">
              <a:buSzPts val="1400"/>
            </a:pPr>
            <a:r>
              <a:rPr lang="en-GB" sz="1867"/>
              <a:t>Aims to unlock economic opportunity through learning</a:t>
            </a:r>
            <a:endParaRPr sz="1867"/>
          </a:p>
        </p:txBody>
      </p:sp>
      <p:sp>
        <p:nvSpPr>
          <p:cNvPr id="2918" name="Google Shape;2918;p74"/>
          <p:cNvSpPr txBox="1">
            <a:spLocks noGrp="1"/>
          </p:cNvSpPr>
          <p:nvPr>
            <p:ph type="subTitle" idx="7"/>
          </p:nvPr>
        </p:nvSpPr>
        <p:spPr>
          <a:xfrm>
            <a:off x="951700" y="1335617"/>
            <a:ext cx="5831600" cy="446800"/>
          </a:xfrm>
          <a:prstGeom prst="rect">
            <a:avLst/>
          </a:prstGeom>
        </p:spPr>
        <p:txBody>
          <a:bodyPr spcFirstLastPara="1" wrap="square" lIns="0" tIns="45700" rIns="91433" bIns="45700" anchor="t" anchorCtr="0">
            <a:normAutofit fontScale="40000" lnSpcReduction="20000"/>
          </a:bodyPr>
          <a:lstStyle/>
          <a:p>
            <a:pPr marL="0" indent="0">
              <a:spcBef>
                <a:spcPts val="0"/>
              </a:spcBef>
              <a:buClr>
                <a:schemeClr val="dk1"/>
              </a:buClr>
              <a:buSzPts val="275"/>
            </a:pPr>
            <a:r>
              <a:rPr lang="en-GB" sz="7466"/>
              <a:t>From Academia to Industry</a:t>
            </a:r>
            <a:endParaRPr sz="7466"/>
          </a:p>
          <a:p>
            <a:pPr marL="0" indent="0"/>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4C161FAD-ACC4-D703-7B5B-437E10990EB9}"/>
              </a:ext>
            </a:extLst>
          </p:cNvPr>
          <p:cNvSpPr>
            <a:spLocks noGrp="1"/>
          </p:cNvSpPr>
          <p:nvPr>
            <p:ph type="title"/>
          </p:nvPr>
        </p:nvSpPr>
        <p:spPr>
          <a:xfrm>
            <a:off x="838200" y="2766218"/>
            <a:ext cx="10515600" cy="1325563"/>
          </a:xfrm>
        </p:spPr>
        <p:txBody>
          <a:bodyPr/>
          <a:lstStyle/>
          <a:p>
            <a:pPr algn="ctr"/>
            <a:r>
              <a:rPr lang="en-GB" dirty="0"/>
              <a:t>James Grundy</a:t>
            </a:r>
          </a:p>
        </p:txBody>
      </p:sp>
    </p:spTree>
    <p:extLst>
      <p:ext uri="{BB962C8B-B14F-4D97-AF65-F5344CB8AC3E}">
        <p14:creationId xmlns:p14="http://schemas.microsoft.com/office/powerpoint/2010/main" val="15965424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66EEA382-2606-C497-DE2F-8B737A44165F}"/>
              </a:ext>
            </a:extLst>
          </p:cNvPr>
          <p:cNvSpPr txBox="1"/>
          <p:nvPr/>
        </p:nvSpPr>
        <p:spPr>
          <a:xfrm>
            <a:off x="226240" y="1679192"/>
            <a:ext cx="5906277" cy="437042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prstClr val="black"/>
                </a:solidFill>
                <a:effectLst/>
                <a:uLnTx/>
                <a:uFillTx/>
                <a:latin typeface="Calibri" panose="020F0502020204030204"/>
                <a:ea typeface="+mn-ea"/>
                <a:cs typeface="+mn-cs"/>
              </a:rPr>
              <a:t>2014 - 2018</a:t>
            </a:r>
            <a:r>
              <a:rPr kumimoji="0" lang="en-GB" sz="20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GB" sz="2000" b="0" i="0" u="none" strike="noStrike" kern="1200" cap="none" spc="0" normalizeH="0" baseline="0" noProof="0" dirty="0" err="1">
                <a:ln>
                  <a:noFill/>
                </a:ln>
                <a:solidFill>
                  <a:prstClr val="black"/>
                </a:solidFill>
                <a:effectLst/>
                <a:uLnTx/>
                <a:uFillTx/>
                <a:latin typeface="Calibri" panose="020F0502020204030204"/>
                <a:ea typeface="+mn-ea"/>
                <a:cs typeface="+mn-cs"/>
              </a:rPr>
              <a:t>MSci</a:t>
            </a:r>
            <a:r>
              <a:rPr kumimoji="0" lang="en-GB" sz="2000" b="0" i="0" u="none" strike="noStrike" kern="1200" cap="none" spc="0" normalizeH="0" baseline="0" noProof="0" dirty="0">
                <a:ln>
                  <a:noFill/>
                </a:ln>
                <a:solidFill>
                  <a:prstClr val="black"/>
                </a:solidFill>
                <a:effectLst/>
                <a:uLnTx/>
                <a:uFillTx/>
                <a:latin typeface="Calibri" panose="020F0502020204030204"/>
                <a:ea typeface="+mn-ea"/>
                <a:cs typeface="+mn-cs"/>
              </a:rPr>
              <a:t> in Physic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prstClr val="black"/>
                </a:solidFill>
                <a:effectLst/>
                <a:uLnTx/>
                <a:uFillTx/>
                <a:latin typeface="Calibri" panose="020F0502020204030204"/>
                <a:ea typeface="+mn-ea"/>
                <a:cs typeface="+mn-cs"/>
              </a:rPr>
              <a:t>2018 – 2022</a:t>
            </a:r>
            <a:r>
              <a:rPr kumimoji="0" lang="en-GB" sz="2000" b="0" i="0" u="none" strike="noStrike" kern="1200" cap="none" spc="0" normalizeH="0" baseline="0" noProof="0" dirty="0">
                <a:ln>
                  <a:noFill/>
                </a:ln>
                <a:solidFill>
                  <a:prstClr val="black"/>
                </a:solidFill>
                <a:effectLst/>
                <a:uLnTx/>
                <a:uFillTx/>
                <a:latin typeface="Calibri" panose="020F0502020204030204"/>
                <a:ea typeface="+mn-ea"/>
                <a:cs typeface="+mn-cs"/>
              </a:rPr>
              <a:t>: DPhil on ATLAS searching for HH </a:t>
            </a:r>
            <a:r>
              <a:rPr kumimoji="0" lang="en-GB" sz="2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a:t>
            </a:r>
            <a:r>
              <a:rPr kumimoji="0" lang="en-GB" sz="20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Calibri" panose="020F0502020204030204" pitchFamily="34" charset="0"/>
              </a:rPr>
              <a:t>bbbb</a:t>
            </a:r>
            <a:endParaRPr kumimoji="0" lang="en-GB"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prstClr val="black"/>
                </a:solidFill>
                <a:effectLst/>
                <a:uLnTx/>
                <a:uFillTx/>
                <a:latin typeface="Calibri" panose="020F0502020204030204"/>
                <a:ea typeface="+mn-ea"/>
                <a:cs typeface="+mn-cs"/>
              </a:rPr>
              <a:t>Unsure if academia was the right for me long-term. Always interested in politics and public service. Heard good things about the Civil Servic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prstClr val="black"/>
                </a:solidFill>
                <a:effectLst/>
                <a:uLnTx/>
                <a:uFillTx/>
                <a:latin typeface="Calibri" panose="020F0502020204030204"/>
                <a:ea typeface="+mn-ea"/>
                <a:cs typeface="+mn-cs"/>
              </a:rPr>
              <a:t>Spring- Summer 2022</a:t>
            </a:r>
            <a:r>
              <a:rPr kumimoji="0" lang="en-GB" sz="20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GB" sz="2000" b="0" i="0" u="none" strike="noStrike" kern="1200" cap="none" spc="0" normalizeH="0" baseline="0" noProof="0" dirty="0">
                <a:ln>
                  <a:noFill/>
                </a:ln>
                <a:solidFill>
                  <a:prstClr val="black"/>
                </a:solidFill>
                <a:effectLst/>
                <a:uLnTx/>
                <a:uFillTx/>
                <a:latin typeface="Calibri" panose="020F0502020204030204"/>
                <a:ea typeface="+mn-ea"/>
                <a:cs typeface="+mn-cs"/>
                <a:hlinkClick r:id="rId3"/>
              </a:rPr>
              <a:t>UKRI Policy Internship</a:t>
            </a:r>
            <a:endParaRPr kumimoji="0" lang="en-GB"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prstClr val="black"/>
                </a:solidFill>
                <a:effectLst/>
                <a:uLnTx/>
                <a:uFillTx/>
                <a:latin typeface="Calibri" panose="020F0502020204030204"/>
                <a:ea typeface="+mn-ea"/>
                <a:cs typeface="+mn-cs"/>
              </a:rPr>
              <a:t>House of Lords JHA Select Committe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prstClr val="black"/>
                </a:solidFill>
                <a:effectLst/>
                <a:uLnTx/>
                <a:uFillTx/>
                <a:latin typeface="Calibri" panose="020F0502020204030204"/>
                <a:ea typeface="+mn-ea"/>
                <a:cs typeface="+mn-cs"/>
              </a:rPr>
              <a:t>Autum 2022</a:t>
            </a:r>
            <a:r>
              <a:rPr kumimoji="0" lang="en-GB" sz="2000" b="0" i="0" u="none" strike="noStrike" kern="1200" cap="none" spc="0" normalizeH="0" baseline="0" noProof="0" dirty="0">
                <a:ln>
                  <a:noFill/>
                </a:ln>
                <a:solidFill>
                  <a:prstClr val="black"/>
                </a:solidFill>
                <a:effectLst/>
                <a:uLnTx/>
                <a:uFillTx/>
                <a:latin typeface="Calibri" panose="020F0502020204030204"/>
                <a:ea typeface="+mn-ea"/>
                <a:cs typeface="+mn-cs"/>
              </a:rPr>
              <a:t>: Civil Service Fast Stream</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prstClr val="black"/>
                </a:solidFill>
                <a:effectLst/>
                <a:uLnTx/>
                <a:uFillTx/>
                <a:latin typeface="Calibri" panose="020F0502020204030204"/>
                <a:ea typeface="+mn-ea"/>
                <a:cs typeface="+mn-cs"/>
              </a:rPr>
              <a:t>Now</a:t>
            </a:r>
            <a:r>
              <a:rPr kumimoji="0" lang="en-GB" sz="2000" b="0" i="0" u="none" strike="noStrike" kern="1200" cap="none" spc="0" normalizeH="0" baseline="0" noProof="0" dirty="0">
                <a:ln>
                  <a:noFill/>
                </a:ln>
                <a:solidFill>
                  <a:prstClr val="black"/>
                </a:solidFill>
                <a:effectLst/>
                <a:uLnTx/>
                <a:uFillTx/>
                <a:latin typeface="Calibri" panose="020F0502020204030204"/>
                <a:ea typeface="+mn-ea"/>
                <a:cs typeface="+mn-cs"/>
              </a:rPr>
              <a:t>: Second year OR Fast Streamer at DWP</a:t>
            </a:r>
          </a:p>
        </p:txBody>
      </p:sp>
      <p:grpSp>
        <p:nvGrpSpPr>
          <p:cNvPr id="11" name="Group 10">
            <a:extLst>
              <a:ext uri="{FF2B5EF4-FFF2-40B4-BE49-F238E27FC236}">
                <a16:creationId xmlns:a16="http://schemas.microsoft.com/office/drawing/2014/main" id="{F9ECD1E4-9E31-EA18-3B71-9E5528B99A7E}"/>
              </a:ext>
            </a:extLst>
          </p:cNvPr>
          <p:cNvGrpSpPr/>
          <p:nvPr/>
        </p:nvGrpSpPr>
        <p:grpSpPr>
          <a:xfrm>
            <a:off x="6961791" y="3150541"/>
            <a:ext cx="2811026" cy="1581757"/>
            <a:chOff x="6887721" y="3145838"/>
            <a:chExt cx="3529851" cy="1905325"/>
          </a:xfrm>
        </p:grpSpPr>
        <p:pic>
          <p:nvPicPr>
            <p:cNvPr id="7" name="Picture 6">
              <a:extLst>
                <a:ext uri="{FF2B5EF4-FFF2-40B4-BE49-F238E27FC236}">
                  <a16:creationId xmlns:a16="http://schemas.microsoft.com/office/drawing/2014/main" id="{1BF8836F-418D-7612-46A4-34D3DEFF55FA}"/>
                </a:ext>
              </a:extLst>
            </p:cNvPr>
            <p:cNvPicPr>
              <a:picLocks noChangeAspect="1"/>
            </p:cNvPicPr>
            <p:nvPr/>
          </p:nvPicPr>
          <p:blipFill rotWithShape="1">
            <a:blip r:embed="rId4"/>
            <a:srcRect l="19685" b="27352"/>
            <a:stretch/>
          </p:blipFill>
          <p:spPr>
            <a:xfrm>
              <a:off x="6887721" y="3145838"/>
              <a:ext cx="3529851" cy="1905325"/>
            </a:xfrm>
            <a:prstGeom prst="rect">
              <a:avLst/>
            </a:prstGeom>
          </p:spPr>
        </p:pic>
        <p:sp>
          <p:nvSpPr>
            <p:cNvPr id="8" name="Oval 7">
              <a:extLst>
                <a:ext uri="{FF2B5EF4-FFF2-40B4-BE49-F238E27FC236}">
                  <a16:creationId xmlns:a16="http://schemas.microsoft.com/office/drawing/2014/main" id="{40396758-282E-3006-50BC-AD4CD6DCA804}"/>
                </a:ext>
              </a:extLst>
            </p:cNvPr>
            <p:cNvSpPr/>
            <p:nvPr/>
          </p:nvSpPr>
          <p:spPr>
            <a:xfrm>
              <a:off x="8190920" y="3235831"/>
              <a:ext cx="326866" cy="354326"/>
            </a:xfrm>
            <a:prstGeom prst="ellipse">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10" name="Rectangle 9">
            <a:extLst>
              <a:ext uri="{FF2B5EF4-FFF2-40B4-BE49-F238E27FC236}">
                <a16:creationId xmlns:a16="http://schemas.microsoft.com/office/drawing/2014/main" id="{713A53A7-0091-0E74-42CB-0393AA3631CD}"/>
              </a:ext>
            </a:extLst>
          </p:cNvPr>
          <p:cNvSpPr/>
          <p:nvPr/>
        </p:nvSpPr>
        <p:spPr>
          <a:xfrm>
            <a:off x="0" y="0"/>
            <a:ext cx="12192000" cy="1111375"/>
          </a:xfrm>
          <a:prstGeom prst="rect">
            <a:avLst/>
          </a:prstGeom>
          <a:solidFill>
            <a:schemeClr val="accent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TextBox 3">
            <a:extLst>
              <a:ext uri="{FF2B5EF4-FFF2-40B4-BE49-F238E27FC236}">
                <a16:creationId xmlns:a16="http://schemas.microsoft.com/office/drawing/2014/main" id="{70450213-014D-70F7-6951-06545A6FD02A}"/>
              </a:ext>
            </a:extLst>
          </p:cNvPr>
          <p:cNvSpPr txBox="1"/>
          <p:nvPr/>
        </p:nvSpPr>
        <p:spPr>
          <a:xfrm>
            <a:off x="97654" y="223065"/>
            <a:ext cx="11523216"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600" b="0" i="0" u="none" strike="noStrike" kern="1200" cap="none" spc="0" normalizeH="0" baseline="0" noProof="0" dirty="0">
                <a:ln>
                  <a:noFill/>
                </a:ln>
                <a:solidFill>
                  <a:prstClr val="white"/>
                </a:solidFill>
                <a:effectLst/>
                <a:uLnTx/>
                <a:uFillTx/>
                <a:latin typeface="Calibri" panose="020F0502020204030204"/>
                <a:ea typeface="+mn-ea"/>
                <a:cs typeface="+mn-cs"/>
              </a:rPr>
              <a:t>Pathway to my Current Career</a:t>
            </a:r>
          </a:p>
        </p:txBody>
      </p:sp>
      <p:pic>
        <p:nvPicPr>
          <p:cNvPr id="2050" name="Picture 2" descr="Inline image">
            <a:extLst>
              <a:ext uri="{FF2B5EF4-FFF2-40B4-BE49-F238E27FC236}">
                <a16:creationId xmlns:a16="http://schemas.microsoft.com/office/drawing/2014/main" id="{C1CD6A85-FF4A-2D2D-B1D6-E97504D2837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421622" y="836518"/>
            <a:ext cx="1676568" cy="2239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1" name="Picture 3" descr="Inline image">
            <a:extLst>
              <a:ext uri="{FF2B5EF4-FFF2-40B4-BE49-F238E27FC236}">
                <a16:creationId xmlns:a16="http://schemas.microsoft.com/office/drawing/2014/main" id="{29C6A85E-C2F5-1DF0-4233-62A18273674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flipH="1">
            <a:off x="9851385" y="2159042"/>
            <a:ext cx="1679485" cy="2239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2" name="Picture 4" descr="Inline image">
            <a:extLst>
              <a:ext uri="{FF2B5EF4-FFF2-40B4-BE49-F238E27FC236}">
                <a16:creationId xmlns:a16="http://schemas.microsoft.com/office/drawing/2014/main" id="{532F311A-D611-60B1-D97B-9281657216C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096249" y="4807008"/>
            <a:ext cx="2742561" cy="18279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3" name="Picture 5" descr="Inline image">
            <a:extLst>
              <a:ext uri="{FF2B5EF4-FFF2-40B4-BE49-F238E27FC236}">
                <a16:creationId xmlns:a16="http://schemas.microsoft.com/office/drawing/2014/main" id="{0B70126B-4DC8-CB28-7E70-4AF985DD75C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195844" y="322040"/>
            <a:ext cx="1895764" cy="16882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2485958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7BD994B-6ACD-8BA0-56E4-F153C0C15325}"/>
              </a:ext>
            </a:extLst>
          </p:cNvPr>
          <p:cNvSpPr/>
          <p:nvPr/>
        </p:nvSpPr>
        <p:spPr>
          <a:xfrm>
            <a:off x="0" y="0"/>
            <a:ext cx="12192000" cy="1111375"/>
          </a:xfrm>
          <a:prstGeom prst="rect">
            <a:avLst/>
          </a:prstGeom>
          <a:solidFill>
            <a:schemeClr val="accent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0920CF14-DD3F-0DD6-6C3D-DB1B83D78D12}"/>
              </a:ext>
            </a:extLst>
          </p:cNvPr>
          <p:cNvSpPr txBox="1"/>
          <p:nvPr/>
        </p:nvSpPr>
        <p:spPr>
          <a:xfrm>
            <a:off x="97654" y="223065"/>
            <a:ext cx="11523216"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600" b="0" i="0" u="none" strike="noStrike" kern="1200" cap="none" spc="0" normalizeH="0" baseline="0" noProof="0" dirty="0">
                <a:ln>
                  <a:noFill/>
                </a:ln>
                <a:solidFill>
                  <a:prstClr val="white"/>
                </a:solidFill>
                <a:effectLst/>
                <a:uLnTx/>
                <a:uFillTx/>
                <a:latin typeface="Calibri" panose="020F0502020204030204"/>
                <a:ea typeface="+mn-ea"/>
                <a:cs typeface="+mn-cs"/>
              </a:rPr>
              <a:t>My Career as a Civil Servant</a:t>
            </a:r>
          </a:p>
        </p:txBody>
      </p:sp>
      <p:sp>
        <p:nvSpPr>
          <p:cNvPr id="5" name="TextBox 4">
            <a:extLst>
              <a:ext uri="{FF2B5EF4-FFF2-40B4-BE49-F238E27FC236}">
                <a16:creationId xmlns:a16="http://schemas.microsoft.com/office/drawing/2014/main" id="{66EEA382-2606-C497-DE2F-8B737A44165F}"/>
              </a:ext>
            </a:extLst>
          </p:cNvPr>
          <p:cNvSpPr txBox="1"/>
          <p:nvPr/>
        </p:nvSpPr>
        <p:spPr>
          <a:xfrm>
            <a:off x="225333" y="1235677"/>
            <a:ext cx="7178021" cy="547842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rPr>
              <a:t>Currently, I’m a second year on the Operational Research stream of the </a:t>
            </a:r>
            <a:r>
              <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hlinkClick r:id="rId3"/>
              </a:rPr>
              <a:t>Civil Service Fast Stream</a:t>
            </a:r>
            <a:r>
              <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rPr>
              <a:t>The Fast Stream is the graduate scheme for future leaders in the Civil Service, offering a range of roles across multiple departments. It held the No. 1 spot on The Times’ list of Top Graduate Employers from 2019 – 2022.</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rPr>
              <a:t>I’m on the Operational Research scheme ran by </a:t>
            </a:r>
            <a:r>
              <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hlinkClick r:id="rId4"/>
              </a:rPr>
              <a:t>GORS</a:t>
            </a:r>
            <a:r>
              <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rPr>
              <a:t> (Government OR Service). In GORS, we use</a:t>
            </a:r>
            <a:r>
              <a:rPr kumimoji="0" lang="en-GB" sz="1400" b="0" i="0" u="none" strike="noStrike" kern="1200" cap="none" spc="0" normalizeH="0" baseline="0" noProof="0" dirty="0">
                <a:ln>
                  <a:noFill/>
                </a:ln>
                <a:solidFill>
                  <a:srgbClr val="0B0C0C"/>
                </a:solidFill>
                <a:effectLst/>
                <a:uLnTx/>
                <a:uFillTx/>
                <a:latin typeface="GDS Transport"/>
                <a:ea typeface="+mn-ea"/>
                <a:cs typeface="+mn-cs"/>
              </a:rPr>
              <a:t> scientific and mathematical techniques to find solutions to complex problems and improve decision making in governme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1"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rPr>
              <a:t>In my first year, I worked on the Work and Health Programme, the biggest employment programme for people with disabilities in the UK.</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rPr>
              <a:t>Created regular performance reports to evaluate the performance of the programm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rPr>
              <a:t>Acted as an analysis consultancy, creating ad hoc analysis to assist colleagues, e.g., forecasting the future number of attendees on the programm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rPr>
              <a:t>In my second year, I worked on policies to help people in work increase their earning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rPr>
              <a:t>Conducted statistical analyses to evaluate the impact of Job Centre interven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rPr>
              <a:t>Provided analysis to support policy writers in making evidence-based decision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rPr>
              <a:t>Next, potentially health at MoD, trade with NI at DEFRA, data science at DBT – we’ll se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rPr>
              <a:t>For any more info, feel free to drop me a line - James.Grundy@dwp.gov.uk</a:t>
            </a:r>
          </a:p>
        </p:txBody>
      </p:sp>
      <p:pic>
        <p:nvPicPr>
          <p:cNvPr id="1026" name="Picture 2" descr="Start your career | EY UK">
            <a:extLst>
              <a:ext uri="{FF2B5EF4-FFF2-40B4-BE49-F238E27FC236}">
                <a16:creationId xmlns:a16="http://schemas.microsoft.com/office/drawing/2014/main" id="{4FD84554-8EC2-9BE4-B15A-B409994BF152}"/>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6234" t="18358" r="16366" b="19602"/>
          <a:stretch/>
        </p:blipFill>
        <p:spPr bwMode="auto">
          <a:xfrm>
            <a:off x="8153997" y="1281994"/>
            <a:ext cx="1375509" cy="844063"/>
          </a:xfrm>
          <a:prstGeom prst="rect">
            <a:avLst/>
          </a:prstGeom>
          <a:noFill/>
          <a:extLst>
            <a:ext uri="{909E8E84-426E-40DD-AFC4-6F175D3DCCD1}">
              <a14:hiddenFill xmlns:a14="http://schemas.microsoft.com/office/drawing/2010/main">
                <a:solidFill>
                  <a:srgbClr val="FFFFFF"/>
                </a:solidFill>
              </a14:hiddenFill>
            </a:ext>
          </a:extLst>
        </p:spPr>
      </p:pic>
      <p:grpSp>
        <p:nvGrpSpPr>
          <p:cNvPr id="27" name="Group 26">
            <a:extLst>
              <a:ext uri="{FF2B5EF4-FFF2-40B4-BE49-F238E27FC236}">
                <a16:creationId xmlns:a16="http://schemas.microsoft.com/office/drawing/2014/main" id="{B58149C3-C0EC-8404-6DCE-27DF3ADE012C}"/>
              </a:ext>
            </a:extLst>
          </p:cNvPr>
          <p:cNvGrpSpPr/>
          <p:nvPr/>
        </p:nvGrpSpPr>
        <p:grpSpPr>
          <a:xfrm>
            <a:off x="7138100" y="2326136"/>
            <a:ext cx="5368264" cy="4309252"/>
            <a:chOff x="6839227" y="2136680"/>
            <a:chExt cx="5368264" cy="4309252"/>
          </a:xfrm>
        </p:grpSpPr>
        <p:sp>
          <p:nvSpPr>
            <p:cNvPr id="10" name="Oval 9">
              <a:extLst>
                <a:ext uri="{FF2B5EF4-FFF2-40B4-BE49-F238E27FC236}">
                  <a16:creationId xmlns:a16="http://schemas.microsoft.com/office/drawing/2014/main" id="{0A16F68E-7222-997C-8B35-A2A7EB8788E3}"/>
                </a:ext>
              </a:extLst>
            </p:cNvPr>
            <p:cNvSpPr/>
            <p:nvPr/>
          </p:nvSpPr>
          <p:spPr>
            <a:xfrm>
              <a:off x="7217546" y="2136680"/>
              <a:ext cx="4403324" cy="4309252"/>
            </a:xfrm>
            <a:prstGeom prst="ellipse">
              <a:avLst/>
            </a:prstGeom>
            <a:solidFill>
              <a:schemeClr val="accent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 name="TextBox 10">
              <a:extLst>
                <a:ext uri="{FF2B5EF4-FFF2-40B4-BE49-F238E27FC236}">
                  <a16:creationId xmlns:a16="http://schemas.microsoft.com/office/drawing/2014/main" id="{2C5B3843-3ADC-487A-C809-56873904122B}"/>
                </a:ext>
              </a:extLst>
            </p:cNvPr>
            <p:cNvSpPr txBox="1"/>
            <p:nvPr/>
          </p:nvSpPr>
          <p:spPr>
            <a:xfrm>
              <a:off x="7579796" y="2619690"/>
              <a:ext cx="2778711"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rPr>
                <a:t>Experimental Design</a:t>
              </a:r>
            </a:p>
          </p:txBody>
        </p:sp>
        <p:sp>
          <p:nvSpPr>
            <p:cNvPr id="12" name="TextBox 11">
              <a:extLst>
                <a:ext uri="{FF2B5EF4-FFF2-40B4-BE49-F238E27FC236}">
                  <a16:creationId xmlns:a16="http://schemas.microsoft.com/office/drawing/2014/main" id="{38CE3142-2DEB-336B-98AD-816800C2BF1D}"/>
                </a:ext>
              </a:extLst>
            </p:cNvPr>
            <p:cNvSpPr txBox="1"/>
            <p:nvPr/>
          </p:nvSpPr>
          <p:spPr>
            <a:xfrm>
              <a:off x="9220478" y="3486118"/>
              <a:ext cx="2778711"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rPr>
                <a:t>Data Collection</a:t>
              </a:r>
            </a:p>
          </p:txBody>
        </p:sp>
        <p:sp>
          <p:nvSpPr>
            <p:cNvPr id="13" name="TextBox 12">
              <a:extLst>
                <a:ext uri="{FF2B5EF4-FFF2-40B4-BE49-F238E27FC236}">
                  <a16:creationId xmlns:a16="http://schemas.microsoft.com/office/drawing/2014/main" id="{27E4F691-3E60-8E1F-5F97-A268B253B7EA}"/>
                </a:ext>
              </a:extLst>
            </p:cNvPr>
            <p:cNvSpPr txBox="1"/>
            <p:nvPr/>
          </p:nvSpPr>
          <p:spPr>
            <a:xfrm>
              <a:off x="6839227" y="4629529"/>
              <a:ext cx="2778711"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rPr>
                <a:t>Decision Analysis</a:t>
              </a:r>
            </a:p>
          </p:txBody>
        </p:sp>
        <p:sp>
          <p:nvSpPr>
            <p:cNvPr id="14" name="TextBox 13">
              <a:extLst>
                <a:ext uri="{FF2B5EF4-FFF2-40B4-BE49-F238E27FC236}">
                  <a16:creationId xmlns:a16="http://schemas.microsoft.com/office/drawing/2014/main" id="{E194F2C6-191F-7EA4-A67D-626C1C233C07}"/>
                </a:ext>
              </a:extLst>
            </p:cNvPr>
            <p:cNvSpPr txBox="1"/>
            <p:nvPr/>
          </p:nvSpPr>
          <p:spPr>
            <a:xfrm>
              <a:off x="9428780" y="4573029"/>
              <a:ext cx="2778711"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rPr>
                <a:t>Forecasting</a:t>
              </a:r>
            </a:p>
          </p:txBody>
        </p:sp>
        <p:sp>
          <p:nvSpPr>
            <p:cNvPr id="15" name="TextBox 14">
              <a:extLst>
                <a:ext uri="{FF2B5EF4-FFF2-40B4-BE49-F238E27FC236}">
                  <a16:creationId xmlns:a16="http://schemas.microsoft.com/office/drawing/2014/main" id="{99DBAFE6-4CD2-B6F1-EE26-F52B01FF7CBA}"/>
                </a:ext>
              </a:extLst>
            </p:cNvPr>
            <p:cNvSpPr txBox="1"/>
            <p:nvPr/>
          </p:nvSpPr>
          <p:spPr>
            <a:xfrm>
              <a:off x="7217546" y="5400278"/>
              <a:ext cx="2778711"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rPr>
                <a:t>Modelling</a:t>
              </a:r>
            </a:p>
          </p:txBody>
        </p:sp>
        <p:sp>
          <p:nvSpPr>
            <p:cNvPr id="17" name="TextBox 16">
              <a:extLst>
                <a:ext uri="{FF2B5EF4-FFF2-40B4-BE49-F238E27FC236}">
                  <a16:creationId xmlns:a16="http://schemas.microsoft.com/office/drawing/2014/main" id="{5373BC83-24F7-6AE2-816C-67C40FE80E2B}"/>
                </a:ext>
              </a:extLst>
            </p:cNvPr>
            <p:cNvSpPr txBox="1"/>
            <p:nvPr/>
          </p:nvSpPr>
          <p:spPr>
            <a:xfrm>
              <a:off x="7329509" y="3209614"/>
              <a:ext cx="2473675"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rPr>
                <a:t>Optimisation Methods</a:t>
              </a:r>
            </a:p>
          </p:txBody>
        </p:sp>
        <p:sp>
          <p:nvSpPr>
            <p:cNvPr id="18" name="TextBox 17">
              <a:extLst>
                <a:ext uri="{FF2B5EF4-FFF2-40B4-BE49-F238E27FC236}">
                  <a16:creationId xmlns:a16="http://schemas.microsoft.com/office/drawing/2014/main" id="{60A977D8-66C3-FD4B-2708-D24FCD1B63EB}"/>
                </a:ext>
              </a:extLst>
            </p:cNvPr>
            <p:cNvSpPr txBox="1"/>
            <p:nvPr/>
          </p:nvSpPr>
          <p:spPr>
            <a:xfrm>
              <a:off x="8662836" y="5307854"/>
              <a:ext cx="2778711"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rPr>
                <a:t>Statistics</a:t>
              </a:r>
            </a:p>
          </p:txBody>
        </p:sp>
        <p:sp>
          <p:nvSpPr>
            <p:cNvPr id="19" name="TextBox 18">
              <a:extLst>
                <a:ext uri="{FF2B5EF4-FFF2-40B4-BE49-F238E27FC236}">
                  <a16:creationId xmlns:a16="http://schemas.microsoft.com/office/drawing/2014/main" id="{58C1BB8E-F618-3038-FEEC-5D0766166F7D}"/>
                </a:ext>
              </a:extLst>
            </p:cNvPr>
            <p:cNvSpPr txBox="1"/>
            <p:nvPr/>
          </p:nvSpPr>
          <p:spPr>
            <a:xfrm>
              <a:off x="8029852" y="5776756"/>
              <a:ext cx="2778711"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rPr>
                <a:t>And a whole lot more…</a:t>
              </a:r>
            </a:p>
          </p:txBody>
        </p:sp>
        <p:sp>
          <p:nvSpPr>
            <p:cNvPr id="21" name="TextBox 20">
              <a:extLst>
                <a:ext uri="{FF2B5EF4-FFF2-40B4-BE49-F238E27FC236}">
                  <a16:creationId xmlns:a16="http://schemas.microsoft.com/office/drawing/2014/main" id="{01FF3DB8-76F6-5BF2-24B6-D639EC68AACF}"/>
                </a:ext>
              </a:extLst>
            </p:cNvPr>
            <p:cNvSpPr txBox="1"/>
            <p:nvPr/>
          </p:nvSpPr>
          <p:spPr>
            <a:xfrm>
              <a:off x="9096143" y="4915164"/>
              <a:ext cx="2778711"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rPr>
                <a:t>Data Science</a:t>
              </a:r>
            </a:p>
          </p:txBody>
        </p:sp>
        <p:sp>
          <p:nvSpPr>
            <p:cNvPr id="22" name="TextBox 21">
              <a:extLst>
                <a:ext uri="{FF2B5EF4-FFF2-40B4-BE49-F238E27FC236}">
                  <a16:creationId xmlns:a16="http://schemas.microsoft.com/office/drawing/2014/main" id="{2B6FFD4F-ADC6-E35A-1384-A3424A135D3D}"/>
                </a:ext>
              </a:extLst>
            </p:cNvPr>
            <p:cNvSpPr txBox="1"/>
            <p:nvPr/>
          </p:nvSpPr>
          <p:spPr>
            <a:xfrm>
              <a:off x="8029851" y="2260442"/>
              <a:ext cx="2778711"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rPr>
                <a:t>Systems Mapping</a:t>
              </a:r>
            </a:p>
          </p:txBody>
        </p:sp>
        <p:pic>
          <p:nvPicPr>
            <p:cNvPr id="1032" name="Picture 8">
              <a:extLst>
                <a:ext uri="{FF2B5EF4-FFF2-40B4-BE49-F238E27FC236}">
                  <a16:creationId xmlns:a16="http://schemas.microsoft.com/office/drawing/2014/main" id="{C3F263A8-D7AD-89AB-65DD-F28BD061D885}"/>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37187" b="34991"/>
            <a:stretch/>
          </p:blipFill>
          <p:spPr bwMode="auto">
            <a:xfrm>
              <a:off x="8275954" y="3951172"/>
              <a:ext cx="2381250" cy="662527"/>
            </a:xfrm>
            <a:prstGeom prst="rect">
              <a:avLst/>
            </a:prstGeom>
            <a:noFill/>
            <a:extLst>
              <a:ext uri="{909E8E84-426E-40DD-AFC4-6F175D3DCCD1}">
                <a14:hiddenFill xmlns:a14="http://schemas.microsoft.com/office/drawing/2010/main">
                  <a:solidFill>
                    <a:srgbClr val="FFFFFF"/>
                  </a:solidFill>
                </a14:hiddenFill>
              </a:ext>
            </a:extLst>
          </p:spPr>
        </p:pic>
        <p:sp>
          <p:nvSpPr>
            <p:cNvPr id="24" name="TextBox 23">
              <a:extLst>
                <a:ext uri="{FF2B5EF4-FFF2-40B4-BE49-F238E27FC236}">
                  <a16:creationId xmlns:a16="http://schemas.microsoft.com/office/drawing/2014/main" id="{B5EE58D2-6A9D-2D75-9AB4-B65AB98FDFAD}"/>
                </a:ext>
              </a:extLst>
            </p:cNvPr>
            <p:cNvSpPr txBox="1"/>
            <p:nvPr/>
          </p:nvSpPr>
          <p:spPr>
            <a:xfrm>
              <a:off x="8900353" y="2928547"/>
              <a:ext cx="2778711"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rPr>
                <a:t>Casual Inference</a:t>
              </a:r>
            </a:p>
          </p:txBody>
        </p:sp>
        <p:sp>
          <p:nvSpPr>
            <p:cNvPr id="25" name="TextBox 24">
              <a:extLst>
                <a:ext uri="{FF2B5EF4-FFF2-40B4-BE49-F238E27FC236}">
                  <a16:creationId xmlns:a16="http://schemas.microsoft.com/office/drawing/2014/main" id="{86C91A47-1179-E1D6-0F16-A602C1511A4D}"/>
                </a:ext>
              </a:extLst>
            </p:cNvPr>
            <p:cNvSpPr txBox="1"/>
            <p:nvPr/>
          </p:nvSpPr>
          <p:spPr>
            <a:xfrm>
              <a:off x="7477334" y="4981161"/>
              <a:ext cx="2778711"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rPr>
                <a:t>Python/R/SQL</a:t>
              </a:r>
            </a:p>
          </p:txBody>
        </p:sp>
        <p:sp>
          <p:nvSpPr>
            <p:cNvPr id="26" name="TextBox 25">
              <a:extLst>
                <a:ext uri="{FF2B5EF4-FFF2-40B4-BE49-F238E27FC236}">
                  <a16:creationId xmlns:a16="http://schemas.microsoft.com/office/drawing/2014/main" id="{C919BB02-BAD3-AAC7-8A3D-4ABCB200C1FA}"/>
                </a:ext>
              </a:extLst>
            </p:cNvPr>
            <p:cNvSpPr txBox="1"/>
            <p:nvPr/>
          </p:nvSpPr>
          <p:spPr>
            <a:xfrm>
              <a:off x="6914827" y="3600767"/>
              <a:ext cx="2778711"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rPr>
                <a:t>Machine Learning</a:t>
              </a:r>
            </a:p>
          </p:txBody>
        </p:sp>
      </p:grpSp>
      <p:pic>
        <p:nvPicPr>
          <p:cNvPr id="2" name="Picture 4" descr="Home | Civil Service Fast Stream">
            <a:extLst>
              <a:ext uri="{FF2B5EF4-FFF2-40B4-BE49-F238E27FC236}">
                <a16:creationId xmlns:a16="http://schemas.microsoft.com/office/drawing/2014/main" id="{DE9EB432-044F-D06C-12B0-74655CF0369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669191" y="1283413"/>
            <a:ext cx="1340569" cy="8440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1834859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4C161FAD-ACC4-D703-7B5B-437E10990EB9}"/>
              </a:ext>
            </a:extLst>
          </p:cNvPr>
          <p:cNvSpPr>
            <a:spLocks noGrp="1"/>
          </p:cNvSpPr>
          <p:nvPr>
            <p:ph type="title"/>
          </p:nvPr>
        </p:nvSpPr>
        <p:spPr>
          <a:xfrm>
            <a:off x="838200" y="2766218"/>
            <a:ext cx="10515600" cy="1325563"/>
          </a:xfrm>
        </p:spPr>
        <p:txBody>
          <a:bodyPr/>
          <a:lstStyle/>
          <a:p>
            <a:pPr algn="ctr"/>
            <a:r>
              <a:rPr lang="en-GB" dirty="0"/>
              <a:t>Martha Hilton</a:t>
            </a:r>
          </a:p>
        </p:txBody>
      </p:sp>
    </p:spTree>
    <p:extLst>
      <p:ext uri="{BB962C8B-B14F-4D97-AF65-F5344CB8AC3E}">
        <p14:creationId xmlns:p14="http://schemas.microsoft.com/office/powerpoint/2010/main" val="84105460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EB337AF-9348-5EA8-52D4-DF25B31DE25B}"/>
              </a:ext>
            </a:extLst>
          </p:cNvPr>
          <p:cNvSpPr>
            <a:spLocks noGrp="1"/>
          </p:cNvSpPr>
          <p:nvPr>
            <p:ph type="title"/>
          </p:nvPr>
        </p:nvSpPr>
        <p:spPr/>
        <p:txBody>
          <a:bodyPr/>
          <a:lstStyle/>
          <a:p>
            <a:r>
              <a:rPr lang="en-GB" dirty="0"/>
              <a:t>My path through academia</a:t>
            </a:r>
          </a:p>
        </p:txBody>
      </p:sp>
      <p:sp>
        <p:nvSpPr>
          <p:cNvPr id="4" name="Content Placeholder 3">
            <a:extLst>
              <a:ext uri="{FF2B5EF4-FFF2-40B4-BE49-F238E27FC236}">
                <a16:creationId xmlns:a16="http://schemas.microsoft.com/office/drawing/2014/main" id="{7C7A8297-AE99-8972-E4AF-9A348B1E2167}"/>
              </a:ext>
            </a:extLst>
          </p:cNvPr>
          <p:cNvSpPr>
            <a:spLocks noGrp="1"/>
          </p:cNvSpPr>
          <p:nvPr>
            <p:ph idx="1"/>
          </p:nvPr>
        </p:nvSpPr>
        <p:spPr/>
        <p:txBody>
          <a:bodyPr>
            <a:normAutofit/>
          </a:bodyPr>
          <a:lstStyle/>
          <a:p>
            <a:r>
              <a:rPr lang="en-GB" dirty="0">
                <a:latin typeface="Aptos" panose="020B0004020202020204" pitchFamily="34" charset="0"/>
                <a:ea typeface="Aptos" panose="020B0004020202020204" pitchFamily="34" charset="0"/>
                <a:cs typeface="Aptos" panose="020B0004020202020204" pitchFamily="34" charset="0"/>
              </a:rPr>
              <a:t>S</a:t>
            </a:r>
            <a:r>
              <a:rPr lang="en-GB" sz="1800" dirty="0">
                <a:effectLst/>
                <a:latin typeface="Aptos" panose="020B0004020202020204" pitchFamily="34" charset="0"/>
                <a:ea typeface="Aptos" panose="020B0004020202020204" pitchFamily="34" charset="0"/>
                <a:cs typeface="Aptos" panose="020B0004020202020204" pitchFamily="34" charset="0"/>
              </a:rPr>
              <a:t>tudied physics at Imperial College London. </a:t>
            </a:r>
          </a:p>
          <a:p>
            <a:r>
              <a:rPr lang="en-GB" sz="1800" dirty="0">
                <a:effectLst/>
                <a:latin typeface="Aptos" panose="020B0004020202020204" pitchFamily="34" charset="0"/>
                <a:ea typeface="Aptos" panose="020B0004020202020204" pitchFamily="34" charset="0"/>
                <a:cs typeface="Aptos" panose="020B0004020202020204" pitchFamily="34" charset="0"/>
              </a:rPr>
              <a:t>I did my PhD at the University of Manchester on charm physics at </a:t>
            </a:r>
            <a:r>
              <a:rPr lang="en-GB" sz="1800" dirty="0" err="1">
                <a:effectLst/>
                <a:latin typeface="Aptos" panose="020B0004020202020204" pitchFamily="34" charset="0"/>
                <a:ea typeface="Aptos" panose="020B0004020202020204" pitchFamily="34" charset="0"/>
                <a:cs typeface="Aptos" panose="020B0004020202020204" pitchFamily="34" charset="0"/>
              </a:rPr>
              <a:t>LHCb</a:t>
            </a:r>
            <a:endParaRPr lang="en-GB" sz="1800" dirty="0">
              <a:effectLst/>
              <a:latin typeface="Aptos" panose="020B0004020202020204" pitchFamily="34" charset="0"/>
              <a:ea typeface="Aptos" panose="020B0004020202020204" pitchFamily="34" charset="0"/>
              <a:cs typeface="Aptos" panose="020B0004020202020204" pitchFamily="34" charset="0"/>
            </a:endParaRPr>
          </a:p>
          <a:p>
            <a:pPr lvl="1"/>
            <a:r>
              <a:rPr lang="en-GB" dirty="0">
                <a:latin typeface="Aptos" panose="020B0004020202020204" pitchFamily="34" charset="0"/>
                <a:ea typeface="Aptos" panose="020B0004020202020204" pitchFamily="34" charset="0"/>
                <a:cs typeface="Aptos" panose="020B0004020202020204" pitchFamily="34" charset="0"/>
              </a:rPr>
              <a:t>G</a:t>
            </a:r>
            <a:r>
              <a:rPr lang="en-GB" dirty="0">
                <a:effectLst/>
                <a:latin typeface="Aptos" panose="020B0004020202020204" pitchFamily="34" charset="0"/>
                <a:ea typeface="Aptos" panose="020B0004020202020204" pitchFamily="34" charset="0"/>
                <a:cs typeface="Aptos" panose="020B0004020202020204" pitchFamily="34" charset="0"/>
              </a:rPr>
              <a:t>ot involved in many diversity and early career initiatives including sitting on the Early Career Gender and Diversity committee for the </a:t>
            </a:r>
            <a:r>
              <a:rPr lang="en-GB" dirty="0" err="1">
                <a:effectLst/>
                <a:latin typeface="Aptos" panose="020B0004020202020204" pitchFamily="34" charset="0"/>
                <a:ea typeface="Aptos" panose="020B0004020202020204" pitchFamily="34" charset="0"/>
                <a:cs typeface="Aptos" panose="020B0004020202020204" pitchFamily="34" charset="0"/>
              </a:rPr>
              <a:t>LHCb</a:t>
            </a:r>
            <a:r>
              <a:rPr lang="en-GB" dirty="0">
                <a:effectLst/>
                <a:latin typeface="Aptos" panose="020B0004020202020204" pitchFamily="34" charset="0"/>
                <a:ea typeface="Aptos" panose="020B0004020202020204" pitchFamily="34" charset="0"/>
                <a:cs typeface="Aptos" panose="020B0004020202020204" pitchFamily="34" charset="0"/>
              </a:rPr>
              <a:t> collaboration. </a:t>
            </a:r>
          </a:p>
          <a:p>
            <a:r>
              <a:rPr lang="en-GB" sz="1800" dirty="0">
                <a:effectLst/>
                <a:latin typeface="Aptos" panose="020B0004020202020204" pitchFamily="34" charset="0"/>
                <a:ea typeface="Aptos" panose="020B0004020202020204" pitchFamily="34" charset="0"/>
                <a:cs typeface="Aptos" panose="020B0004020202020204" pitchFamily="34" charset="0"/>
              </a:rPr>
              <a:t>Stayed at Manchester for a Post Doc for one year, then decided to leave academia and pursue a career in the public sector…. </a:t>
            </a:r>
            <a:endParaRPr lang="en-GB" dirty="0"/>
          </a:p>
        </p:txBody>
      </p:sp>
      <p:pic>
        <p:nvPicPr>
          <p:cNvPr id="1028" name="Picture 4" descr="Image">
            <a:extLst>
              <a:ext uri="{FF2B5EF4-FFF2-40B4-BE49-F238E27FC236}">
                <a16:creationId xmlns:a16="http://schemas.microsoft.com/office/drawing/2014/main" id="{DE001EAB-7552-EEFB-2406-0F632502AA5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8762" y="4341812"/>
            <a:ext cx="2314575" cy="23145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8928925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EB337AF-9348-5EA8-52D4-DF25B31DE25B}"/>
              </a:ext>
            </a:extLst>
          </p:cNvPr>
          <p:cNvSpPr>
            <a:spLocks noGrp="1"/>
          </p:cNvSpPr>
          <p:nvPr>
            <p:ph type="title"/>
          </p:nvPr>
        </p:nvSpPr>
        <p:spPr/>
        <p:txBody>
          <a:bodyPr/>
          <a:lstStyle/>
          <a:p>
            <a:r>
              <a:rPr lang="en-GB" dirty="0"/>
              <a:t>My career in the public sector</a:t>
            </a:r>
          </a:p>
        </p:txBody>
      </p:sp>
      <p:sp>
        <p:nvSpPr>
          <p:cNvPr id="4" name="Content Placeholder 3">
            <a:extLst>
              <a:ext uri="{FF2B5EF4-FFF2-40B4-BE49-F238E27FC236}">
                <a16:creationId xmlns:a16="http://schemas.microsoft.com/office/drawing/2014/main" id="{7C7A8297-AE99-8972-E4AF-9A348B1E2167}"/>
              </a:ext>
            </a:extLst>
          </p:cNvPr>
          <p:cNvSpPr>
            <a:spLocks noGrp="1"/>
          </p:cNvSpPr>
          <p:nvPr>
            <p:ph idx="1"/>
          </p:nvPr>
        </p:nvSpPr>
        <p:spPr/>
        <p:txBody>
          <a:bodyPr>
            <a:normAutofit/>
          </a:bodyPr>
          <a:lstStyle/>
          <a:p>
            <a:r>
              <a:rPr lang="en-GB" sz="1800" dirty="0">
                <a:effectLst/>
                <a:latin typeface="Aptos" panose="020B0004020202020204" pitchFamily="34" charset="0"/>
                <a:ea typeface="Aptos" panose="020B0004020202020204" pitchFamily="34" charset="0"/>
                <a:cs typeface="Aptos" panose="020B0004020202020204" pitchFamily="34" charset="0"/>
              </a:rPr>
              <a:t>After my undergraduate I worked for the social leadership charity RECLAIM              in Manchester which works with working class young people on a leadership and development program.</a:t>
            </a:r>
          </a:p>
          <a:p>
            <a:r>
              <a:rPr lang="en-GB" dirty="0">
                <a:latin typeface="Aptos" panose="020B0004020202020204" pitchFamily="34" charset="0"/>
                <a:ea typeface="Aptos" panose="020B0004020202020204" pitchFamily="34" charset="0"/>
                <a:cs typeface="Aptos" panose="020B0004020202020204" pitchFamily="34" charset="0"/>
              </a:rPr>
              <a:t>After finishing my Post Doc </a:t>
            </a:r>
            <a:r>
              <a:rPr lang="en-GB" sz="1800" dirty="0">
                <a:effectLst/>
                <a:latin typeface="Aptos" panose="020B0004020202020204" pitchFamily="34" charset="0"/>
                <a:ea typeface="Aptos" panose="020B0004020202020204" pitchFamily="34" charset="0"/>
                <a:cs typeface="Aptos" panose="020B0004020202020204" pitchFamily="34" charset="0"/>
              </a:rPr>
              <a:t>I worked as a </a:t>
            </a:r>
            <a:r>
              <a:rPr lang="en-GB" sz="1800" dirty="0">
                <a:solidFill>
                  <a:schemeClr val="accent2"/>
                </a:solidFill>
                <a:effectLst/>
                <a:latin typeface="Aptos" panose="020B0004020202020204" pitchFamily="34" charset="0"/>
                <a:ea typeface="Aptos" panose="020B0004020202020204" pitchFamily="34" charset="0"/>
                <a:cs typeface="Aptos" panose="020B0004020202020204" pitchFamily="34" charset="0"/>
              </a:rPr>
              <a:t>Senior Data Analyst </a:t>
            </a:r>
            <a:r>
              <a:rPr lang="en-GB" sz="1800" dirty="0">
                <a:effectLst/>
                <a:latin typeface="Aptos" panose="020B0004020202020204" pitchFamily="34" charset="0"/>
                <a:ea typeface="Aptos" panose="020B0004020202020204" pitchFamily="34" charset="0"/>
                <a:cs typeface="Aptos" panose="020B0004020202020204" pitchFamily="34" charset="0"/>
              </a:rPr>
              <a:t>for the </a:t>
            </a:r>
            <a:r>
              <a:rPr lang="en-GB" sz="1800" dirty="0">
                <a:solidFill>
                  <a:schemeClr val="accent1"/>
                </a:solidFill>
                <a:effectLst/>
                <a:latin typeface="Aptos" panose="020B0004020202020204" pitchFamily="34" charset="0"/>
                <a:ea typeface="Aptos" panose="020B0004020202020204" pitchFamily="34" charset="0"/>
                <a:cs typeface="Aptos" panose="020B0004020202020204" pitchFamily="34" charset="0"/>
              </a:rPr>
              <a:t>Institute of Physics </a:t>
            </a:r>
            <a:r>
              <a:rPr lang="en-GB" sz="1800" dirty="0">
                <a:effectLst/>
                <a:latin typeface="Aptos" panose="020B0004020202020204" pitchFamily="34" charset="0"/>
                <a:ea typeface="Aptos" panose="020B0004020202020204" pitchFamily="34" charset="0"/>
                <a:cs typeface="Aptos" panose="020B0004020202020204" pitchFamily="34" charset="0"/>
              </a:rPr>
              <a:t>until recently.</a:t>
            </a:r>
          </a:p>
          <a:p>
            <a:r>
              <a:rPr lang="en-GB" sz="1800" dirty="0">
                <a:effectLst/>
                <a:latin typeface="Aptos" panose="020B0004020202020204" pitchFamily="34" charset="0"/>
                <a:ea typeface="Aptos" panose="020B0004020202020204" pitchFamily="34" charset="0"/>
                <a:cs typeface="Aptos" panose="020B0004020202020204" pitchFamily="34" charset="0"/>
              </a:rPr>
              <a:t>I have just taken a position as </a:t>
            </a:r>
            <a:r>
              <a:rPr lang="en-GB" sz="1800" dirty="0">
                <a:solidFill>
                  <a:schemeClr val="accent2"/>
                </a:solidFill>
                <a:effectLst/>
                <a:latin typeface="Aptos" panose="020B0004020202020204" pitchFamily="34" charset="0"/>
                <a:ea typeface="Aptos" panose="020B0004020202020204" pitchFamily="34" charset="0"/>
                <a:cs typeface="Aptos" panose="020B0004020202020204" pitchFamily="34" charset="0"/>
              </a:rPr>
              <a:t>Senior Analyst </a:t>
            </a:r>
            <a:r>
              <a:rPr lang="en-GB" sz="1800" dirty="0">
                <a:effectLst/>
                <a:latin typeface="Aptos" panose="020B0004020202020204" pitchFamily="34" charset="0"/>
                <a:ea typeface="Aptos" panose="020B0004020202020204" pitchFamily="34" charset="0"/>
                <a:cs typeface="Aptos" panose="020B0004020202020204" pitchFamily="34" charset="0"/>
              </a:rPr>
              <a:t>at </a:t>
            </a:r>
            <a:r>
              <a:rPr lang="en-GB" sz="1800" dirty="0">
                <a:solidFill>
                  <a:schemeClr val="accent1"/>
                </a:solidFill>
                <a:effectLst/>
                <a:latin typeface="Aptos" panose="020B0004020202020204" pitchFamily="34" charset="0"/>
                <a:ea typeface="Aptos" panose="020B0004020202020204" pitchFamily="34" charset="0"/>
                <a:cs typeface="Aptos" panose="020B0004020202020204" pitchFamily="34" charset="0"/>
              </a:rPr>
              <a:t>UKRI</a:t>
            </a:r>
            <a:r>
              <a:rPr lang="en-GB" sz="1800" dirty="0">
                <a:effectLst/>
                <a:latin typeface="Aptos" panose="020B0004020202020204" pitchFamily="34" charset="0"/>
                <a:ea typeface="Aptos" panose="020B0004020202020204" pitchFamily="34" charset="0"/>
                <a:cs typeface="Aptos" panose="020B0004020202020204" pitchFamily="34" charset="0"/>
              </a:rPr>
              <a:t>. </a:t>
            </a:r>
          </a:p>
          <a:p>
            <a:r>
              <a:rPr lang="en-GB" sz="1800" dirty="0">
                <a:effectLst/>
                <a:latin typeface="Aptos" panose="020B0004020202020204" pitchFamily="34" charset="0"/>
                <a:ea typeface="Aptos" panose="020B0004020202020204" pitchFamily="34" charset="0"/>
                <a:cs typeface="Aptos" panose="020B0004020202020204" pitchFamily="34" charset="0"/>
              </a:rPr>
              <a:t>As a state school educated woman in physics I have an active commitment to equality and diversity within the subject. </a:t>
            </a:r>
          </a:p>
          <a:p>
            <a:endParaRPr lang="en-GB" dirty="0"/>
          </a:p>
        </p:txBody>
      </p:sp>
      <p:pic>
        <p:nvPicPr>
          <p:cNvPr id="1026" name="Picture 2">
            <a:extLst>
              <a:ext uri="{FF2B5EF4-FFF2-40B4-BE49-F238E27FC236}">
                <a16:creationId xmlns:a16="http://schemas.microsoft.com/office/drawing/2014/main" id="{D5A9BAE7-8450-7368-57C4-047E6FC2572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58662" y="5776313"/>
            <a:ext cx="1425115" cy="802287"/>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UK Research and Innovation (UKRI) - CINUK">
            <a:extLst>
              <a:ext uri="{FF2B5EF4-FFF2-40B4-BE49-F238E27FC236}">
                <a16:creationId xmlns:a16="http://schemas.microsoft.com/office/drawing/2014/main" id="{ACD9DD51-5F1D-346C-06F9-CD5F6544F73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36873" y="5764312"/>
            <a:ext cx="2762250" cy="814288"/>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82580165-5B67-E478-1661-417355BEDE2E}"/>
              </a:ext>
            </a:extLst>
          </p:cNvPr>
          <p:cNvPicPr>
            <a:picLocks noChangeAspect="1"/>
          </p:cNvPicPr>
          <p:nvPr/>
        </p:nvPicPr>
        <p:blipFill>
          <a:blip r:embed="rId4"/>
          <a:stretch>
            <a:fillRect/>
          </a:stretch>
        </p:blipFill>
        <p:spPr>
          <a:xfrm>
            <a:off x="7481627" y="2223138"/>
            <a:ext cx="1425116" cy="224827"/>
          </a:xfrm>
          <a:prstGeom prst="rect">
            <a:avLst/>
          </a:prstGeom>
        </p:spPr>
      </p:pic>
    </p:spTree>
    <p:extLst>
      <p:ext uri="{BB962C8B-B14F-4D97-AF65-F5344CB8AC3E}">
        <p14:creationId xmlns:p14="http://schemas.microsoft.com/office/powerpoint/2010/main" val="123021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4C161FAD-ACC4-D703-7B5B-437E10990EB9}"/>
              </a:ext>
            </a:extLst>
          </p:cNvPr>
          <p:cNvSpPr>
            <a:spLocks noGrp="1"/>
          </p:cNvSpPr>
          <p:nvPr>
            <p:ph type="title"/>
          </p:nvPr>
        </p:nvSpPr>
        <p:spPr>
          <a:xfrm>
            <a:off x="838200" y="2766218"/>
            <a:ext cx="10515600" cy="1325563"/>
          </a:xfrm>
        </p:spPr>
        <p:txBody>
          <a:bodyPr/>
          <a:lstStyle/>
          <a:p>
            <a:pPr algn="ctr"/>
            <a:r>
              <a:rPr lang="en-GB" dirty="0"/>
              <a:t>Karola </a:t>
            </a:r>
            <a:r>
              <a:rPr lang="en-GB" dirty="0" err="1"/>
              <a:t>Bejm</a:t>
            </a:r>
            <a:endParaRPr lang="en-GB" dirty="0"/>
          </a:p>
        </p:txBody>
      </p:sp>
    </p:spTree>
    <p:extLst>
      <p:ext uri="{BB962C8B-B14F-4D97-AF65-F5344CB8AC3E}">
        <p14:creationId xmlns:p14="http://schemas.microsoft.com/office/powerpoint/2010/main" val="230897567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4C161FAD-ACC4-D703-7B5B-437E10990EB9}"/>
              </a:ext>
            </a:extLst>
          </p:cNvPr>
          <p:cNvSpPr>
            <a:spLocks noGrp="1"/>
          </p:cNvSpPr>
          <p:nvPr>
            <p:ph type="title"/>
          </p:nvPr>
        </p:nvSpPr>
        <p:spPr>
          <a:xfrm>
            <a:off x="838200" y="2766218"/>
            <a:ext cx="10515600" cy="1325563"/>
          </a:xfrm>
        </p:spPr>
        <p:txBody>
          <a:bodyPr/>
          <a:lstStyle/>
          <a:p>
            <a:pPr algn="ctr"/>
            <a:r>
              <a:rPr lang="en-GB" dirty="0"/>
              <a:t>Mike Nelson</a:t>
            </a:r>
          </a:p>
        </p:txBody>
      </p:sp>
    </p:spTree>
    <p:extLst>
      <p:ext uri="{BB962C8B-B14F-4D97-AF65-F5344CB8AC3E}">
        <p14:creationId xmlns:p14="http://schemas.microsoft.com/office/powerpoint/2010/main" val="371874956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303052"/>
        </a:solidFill>
        <a:effectLst/>
      </p:bgPr>
    </p:bg>
    <p:spTree>
      <p:nvGrpSpPr>
        <p:cNvPr id="1" name="Shape 53"/>
        <p:cNvGrpSpPr/>
        <p:nvPr/>
      </p:nvGrpSpPr>
      <p:grpSpPr>
        <a:xfrm>
          <a:off x="0" y="0"/>
          <a:ext cx="0" cy="0"/>
          <a:chOff x="0" y="0"/>
          <a:chExt cx="0" cy="0"/>
        </a:xfrm>
      </p:grpSpPr>
      <p:pic>
        <p:nvPicPr>
          <p:cNvPr id="54" name="Google Shape;54;p13"/>
          <p:cNvPicPr preferRelativeResize="0"/>
          <p:nvPr/>
        </p:nvPicPr>
        <p:blipFill rotWithShape="1">
          <a:blip r:embed="rId3">
            <a:alphaModFix/>
          </a:blip>
          <a:srcRect r="37421" b="44702"/>
          <a:stretch/>
        </p:blipFill>
        <p:spPr>
          <a:xfrm>
            <a:off x="5056534" y="1"/>
            <a:ext cx="7135465" cy="6858001"/>
          </a:xfrm>
          <a:prstGeom prst="rect">
            <a:avLst/>
          </a:prstGeom>
          <a:noFill/>
          <a:ln>
            <a:noFill/>
          </a:ln>
        </p:spPr>
      </p:pic>
      <p:sp>
        <p:nvSpPr>
          <p:cNvPr id="55" name="Google Shape;55;p13"/>
          <p:cNvSpPr txBox="1"/>
          <p:nvPr/>
        </p:nvSpPr>
        <p:spPr>
          <a:xfrm>
            <a:off x="609600" y="609600"/>
            <a:ext cx="8210800" cy="2068400"/>
          </a:xfrm>
          <a:prstGeom prst="rect">
            <a:avLst/>
          </a:prstGeom>
          <a:noFill/>
          <a:ln>
            <a:noFill/>
          </a:ln>
        </p:spPr>
        <p:txBody>
          <a:bodyPr spcFirstLastPara="1" wrap="square" lIns="0" tIns="0" rIns="0" bIns="0" anchor="t" anchorCtr="0">
            <a:noAutofit/>
          </a:bodyPr>
          <a:lstStyle/>
          <a:p>
            <a:pPr defTabSz="1219170">
              <a:lnSpc>
                <a:spcPct val="80000"/>
              </a:lnSpc>
              <a:buClr>
                <a:srgbClr val="000000"/>
              </a:buClr>
            </a:pPr>
            <a:r>
              <a:rPr lang="en" sz="7733" b="1" kern="0">
                <a:solidFill>
                  <a:srgbClr val="FFFFFF"/>
                </a:solidFill>
                <a:latin typeface="Inter Tight"/>
                <a:ea typeface="Inter Tight"/>
                <a:cs typeface="Inter Tight"/>
                <a:sym typeface="Inter Tight"/>
              </a:rPr>
              <a:t>Life after HEP: statistics and the markets</a:t>
            </a:r>
            <a:endParaRPr sz="7733" b="1" kern="0">
              <a:solidFill>
                <a:srgbClr val="FFFFFF"/>
              </a:solidFill>
              <a:latin typeface="Inter Tight"/>
              <a:ea typeface="Inter Tight"/>
              <a:cs typeface="Inter Tight"/>
              <a:sym typeface="Inter Tight"/>
            </a:endParaRPr>
          </a:p>
          <a:p>
            <a:pPr defTabSz="1219170">
              <a:lnSpc>
                <a:spcPct val="80000"/>
              </a:lnSpc>
              <a:buClr>
                <a:srgbClr val="000000"/>
              </a:buClr>
            </a:pPr>
            <a:endParaRPr sz="2667" b="1" kern="0">
              <a:solidFill>
                <a:srgbClr val="FFFFFF"/>
              </a:solidFill>
              <a:latin typeface="Inter Tight"/>
              <a:ea typeface="Inter Tight"/>
              <a:cs typeface="Inter Tight"/>
              <a:sym typeface="Inter Tight"/>
            </a:endParaRPr>
          </a:p>
          <a:p>
            <a:pPr defTabSz="1219170">
              <a:lnSpc>
                <a:spcPct val="80000"/>
              </a:lnSpc>
              <a:buClr>
                <a:srgbClr val="000000"/>
              </a:buClr>
            </a:pPr>
            <a:endParaRPr sz="2667" b="1" kern="0">
              <a:solidFill>
                <a:srgbClr val="FFFFFF"/>
              </a:solidFill>
              <a:latin typeface="Inter Tight"/>
              <a:ea typeface="Inter Tight"/>
              <a:cs typeface="Inter Tight"/>
              <a:sym typeface="Inter Tight"/>
            </a:endParaRPr>
          </a:p>
          <a:p>
            <a:pPr defTabSz="1219170">
              <a:lnSpc>
                <a:spcPct val="80000"/>
              </a:lnSpc>
              <a:buClr>
                <a:srgbClr val="000000"/>
              </a:buClr>
            </a:pPr>
            <a:r>
              <a:rPr lang="en" sz="2667" b="1" kern="0">
                <a:solidFill>
                  <a:srgbClr val="FFFFFF"/>
                </a:solidFill>
                <a:latin typeface="Inter Tight"/>
                <a:ea typeface="Inter Tight"/>
                <a:cs typeface="Inter Tight"/>
                <a:sym typeface="Inter Tight"/>
              </a:rPr>
              <a:t>Mike Nelson,</a:t>
            </a:r>
            <a:endParaRPr sz="2667" b="1" kern="0">
              <a:solidFill>
                <a:srgbClr val="FFFFFF"/>
              </a:solidFill>
              <a:latin typeface="Inter Tight"/>
              <a:ea typeface="Inter Tight"/>
              <a:cs typeface="Inter Tight"/>
              <a:sym typeface="Inter Tight"/>
            </a:endParaRPr>
          </a:p>
          <a:p>
            <a:pPr defTabSz="1219170">
              <a:lnSpc>
                <a:spcPct val="80000"/>
              </a:lnSpc>
              <a:buClr>
                <a:srgbClr val="000000"/>
              </a:buClr>
            </a:pPr>
            <a:r>
              <a:rPr lang="en" sz="2667" b="1" kern="0">
                <a:solidFill>
                  <a:srgbClr val="FFFFFF"/>
                </a:solidFill>
                <a:latin typeface="Inter Tight"/>
                <a:ea typeface="Inter Tight"/>
                <a:cs typeface="Inter Tight"/>
                <a:sym typeface="Inter Tight"/>
              </a:rPr>
              <a:t>Head of Spot &amp; Futures Quantitative Research, Keyrock</a:t>
            </a:r>
            <a:endParaRPr sz="2667" b="1" kern="0">
              <a:solidFill>
                <a:srgbClr val="FFFFFF"/>
              </a:solidFill>
              <a:latin typeface="Inter Tight"/>
              <a:ea typeface="Inter Tight"/>
              <a:cs typeface="Inter Tight"/>
              <a:sym typeface="Inter Tight"/>
            </a:endParaRPr>
          </a:p>
        </p:txBody>
      </p:sp>
      <p:pic>
        <p:nvPicPr>
          <p:cNvPr id="56" name="Google Shape;56;p13"/>
          <p:cNvPicPr preferRelativeResize="0"/>
          <p:nvPr/>
        </p:nvPicPr>
        <p:blipFill>
          <a:blip r:embed="rId4">
            <a:alphaModFix/>
          </a:blip>
          <a:stretch>
            <a:fillRect/>
          </a:stretch>
        </p:blipFill>
        <p:spPr>
          <a:xfrm>
            <a:off x="609607" y="5937504"/>
            <a:ext cx="1757499" cy="399867"/>
          </a:xfrm>
          <a:prstGeom prst="rect">
            <a:avLst/>
          </a:prstGeom>
          <a:noFill/>
          <a:ln>
            <a:noFill/>
          </a:ln>
        </p:spPr>
      </p:pic>
      <p:sp>
        <p:nvSpPr>
          <p:cNvPr id="57" name="Google Shape;57;p13"/>
          <p:cNvSpPr txBox="1"/>
          <p:nvPr/>
        </p:nvSpPr>
        <p:spPr>
          <a:xfrm>
            <a:off x="609600" y="2950133"/>
            <a:ext cx="5274800" cy="544400"/>
          </a:xfrm>
          <a:prstGeom prst="rect">
            <a:avLst/>
          </a:prstGeom>
          <a:noFill/>
          <a:ln>
            <a:noFill/>
          </a:ln>
        </p:spPr>
        <p:txBody>
          <a:bodyPr spcFirstLastPara="1" wrap="square" lIns="0" tIns="0" rIns="0" bIns="0" anchor="t" anchorCtr="0">
            <a:noAutofit/>
          </a:bodyPr>
          <a:lstStyle/>
          <a:p>
            <a:pPr defTabSz="1219170">
              <a:lnSpc>
                <a:spcPct val="115000"/>
              </a:lnSpc>
              <a:buClr>
                <a:srgbClr val="000000"/>
              </a:buClr>
            </a:pPr>
            <a:endParaRPr sz="1067" kern="0">
              <a:solidFill>
                <a:srgbClr val="FFFFFF"/>
              </a:solidFill>
              <a:latin typeface="Inter"/>
              <a:ea typeface="Inter"/>
              <a:cs typeface="Inter"/>
              <a:sym typeface="Inter"/>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61"/>
        <p:cNvGrpSpPr/>
        <p:nvPr/>
      </p:nvGrpSpPr>
      <p:grpSpPr>
        <a:xfrm>
          <a:off x="0" y="0"/>
          <a:ext cx="0" cy="0"/>
          <a:chOff x="0" y="0"/>
          <a:chExt cx="0" cy="0"/>
        </a:xfrm>
      </p:grpSpPr>
      <p:sp>
        <p:nvSpPr>
          <p:cNvPr id="62" name="Google Shape;62;p14"/>
          <p:cNvSpPr/>
          <p:nvPr/>
        </p:nvSpPr>
        <p:spPr>
          <a:xfrm>
            <a:off x="6799000" y="5900"/>
            <a:ext cx="5393200" cy="6858000"/>
          </a:xfrm>
          <a:prstGeom prst="rect">
            <a:avLst/>
          </a:prstGeom>
          <a:solidFill>
            <a:schemeClr val="lt2"/>
          </a:solidFill>
          <a:ln>
            <a:noFill/>
          </a:ln>
        </p:spPr>
        <p:txBody>
          <a:bodyPr spcFirstLastPara="1" wrap="square" lIns="0" tIns="0" rIns="0" bIns="0" anchor="ctr" anchorCtr="0">
            <a:noAutofit/>
          </a:bodyPr>
          <a:lstStyle/>
          <a:p>
            <a:pPr algn="ctr" defTabSz="1219170">
              <a:buClr>
                <a:srgbClr val="000000"/>
              </a:buClr>
            </a:pPr>
            <a:endParaRPr sz="1867" kern="0">
              <a:solidFill>
                <a:srgbClr val="000000"/>
              </a:solidFill>
              <a:latin typeface="Arial"/>
              <a:cs typeface="Arial"/>
              <a:sym typeface="Arial"/>
            </a:endParaRPr>
          </a:p>
        </p:txBody>
      </p:sp>
      <p:sp>
        <p:nvSpPr>
          <p:cNvPr id="63" name="Google Shape;63;p14"/>
          <p:cNvSpPr txBox="1"/>
          <p:nvPr/>
        </p:nvSpPr>
        <p:spPr>
          <a:xfrm>
            <a:off x="7158400" y="239600"/>
            <a:ext cx="4843600" cy="5756800"/>
          </a:xfrm>
          <a:prstGeom prst="rect">
            <a:avLst/>
          </a:prstGeom>
          <a:noFill/>
          <a:ln>
            <a:noFill/>
          </a:ln>
        </p:spPr>
        <p:txBody>
          <a:bodyPr spcFirstLastPara="1" wrap="square" lIns="0" tIns="0" rIns="609600" bIns="0" anchor="t" anchorCtr="0">
            <a:noAutofit/>
          </a:bodyPr>
          <a:lstStyle/>
          <a:p>
            <a:pPr defTabSz="1219170">
              <a:lnSpc>
                <a:spcPct val="115000"/>
              </a:lnSpc>
              <a:buClr>
                <a:srgbClr val="000000"/>
              </a:buClr>
            </a:pPr>
            <a:r>
              <a:rPr lang="en" sz="2400" kern="0">
                <a:solidFill>
                  <a:srgbClr val="4E4E4E"/>
                </a:solidFill>
                <a:latin typeface="Inter"/>
                <a:ea typeface="Inter"/>
                <a:cs typeface="Inter"/>
                <a:sym typeface="Inter"/>
              </a:rPr>
              <a:t>-&gt;</a:t>
            </a:r>
            <a:r>
              <a:rPr lang="en" sz="2400" b="1" kern="0">
                <a:solidFill>
                  <a:srgbClr val="4E4E4E"/>
                </a:solidFill>
                <a:latin typeface="Inter"/>
                <a:ea typeface="Inter"/>
                <a:cs typeface="Inter"/>
                <a:sym typeface="Inter"/>
              </a:rPr>
              <a:t> The game</a:t>
            </a:r>
            <a:r>
              <a:rPr lang="en" sz="2400" kern="0">
                <a:solidFill>
                  <a:srgbClr val="4E4E4E"/>
                </a:solidFill>
                <a:latin typeface="Inter"/>
                <a:ea typeface="Inter"/>
                <a:cs typeface="Inter"/>
                <a:sym typeface="Inter"/>
              </a:rPr>
              <a:t>: building mathematical models to understand how prices move.</a:t>
            </a:r>
            <a:endParaRPr sz="2400" kern="0">
              <a:solidFill>
                <a:srgbClr val="4E4E4E"/>
              </a:solidFill>
              <a:latin typeface="Inter"/>
              <a:ea typeface="Inter"/>
              <a:cs typeface="Inter"/>
              <a:sym typeface="Inter"/>
            </a:endParaRPr>
          </a:p>
          <a:p>
            <a:pPr defTabSz="1219170">
              <a:lnSpc>
                <a:spcPct val="115000"/>
              </a:lnSpc>
              <a:buClr>
                <a:srgbClr val="000000"/>
              </a:buClr>
            </a:pPr>
            <a:endParaRPr sz="2400" kern="0">
              <a:solidFill>
                <a:srgbClr val="4E4E4E"/>
              </a:solidFill>
              <a:latin typeface="Inter"/>
              <a:ea typeface="Inter"/>
              <a:cs typeface="Inter"/>
              <a:sym typeface="Inter"/>
            </a:endParaRPr>
          </a:p>
          <a:p>
            <a:pPr defTabSz="1219170">
              <a:lnSpc>
                <a:spcPct val="115000"/>
              </a:lnSpc>
              <a:buClr>
                <a:srgbClr val="000000"/>
              </a:buClr>
            </a:pPr>
            <a:r>
              <a:rPr lang="en" sz="2400" kern="0">
                <a:solidFill>
                  <a:srgbClr val="4E4E4E"/>
                </a:solidFill>
                <a:latin typeface="Inter"/>
                <a:ea typeface="Inter"/>
                <a:cs typeface="Inter"/>
                <a:sym typeface="Inter"/>
              </a:rPr>
              <a:t>-&gt; Working with computer scientists, physicists, mathematicians to turn models into </a:t>
            </a:r>
            <a:r>
              <a:rPr lang="en" sz="2400" b="1" kern="0">
                <a:solidFill>
                  <a:srgbClr val="4E4E4E"/>
                </a:solidFill>
                <a:latin typeface="Inter"/>
                <a:ea typeface="Inter"/>
                <a:cs typeface="Inter"/>
                <a:sym typeface="Inter"/>
              </a:rPr>
              <a:t>algorithmic trading strategies</a:t>
            </a:r>
            <a:r>
              <a:rPr lang="en" sz="2400" kern="0">
                <a:solidFill>
                  <a:srgbClr val="4E4E4E"/>
                </a:solidFill>
                <a:latin typeface="Inter"/>
                <a:ea typeface="Inter"/>
                <a:cs typeface="Inter"/>
                <a:sym typeface="Inter"/>
              </a:rPr>
              <a:t>.</a:t>
            </a:r>
            <a:endParaRPr sz="2400" kern="0">
              <a:solidFill>
                <a:srgbClr val="4E4E4E"/>
              </a:solidFill>
              <a:latin typeface="Inter"/>
              <a:ea typeface="Inter"/>
              <a:cs typeface="Inter"/>
              <a:sym typeface="Inter"/>
            </a:endParaRPr>
          </a:p>
          <a:p>
            <a:pPr defTabSz="1219170">
              <a:lnSpc>
                <a:spcPct val="115000"/>
              </a:lnSpc>
              <a:buClr>
                <a:srgbClr val="000000"/>
              </a:buClr>
            </a:pPr>
            <a:endParaRPr sz="2400" kern="0">
              <a:solidFill>
                <a:srgbClr val="4E4E4E"/>
              </a:solidFill>
              <a:latin typeface="Inter"/>
              <a:ea typeface="Inter"/>
              <a:cs typeface="Inter"/>
              <a:sym typeface="Inter"/>
            </a:endParaRPr>
          </a:p>
          <a:p>
            <a:pPr defTabSz="1219170">
              <a:lnSpc>
                <a:spcPct val="115000"/>
              </a:lnSpc>
              <a:buClr>
                <a:srgbClr val="000000"/>
              </a:buClr>
            </a:pPr>
            <a:r>
              <a:rPr lang="en" sz="2400" kern="0">
                <a:solidFill>
                  <a:srgbClr val="4E4E4E"/>
                </a:solidFill>
                <a:latin typeface="Inter"/>
                <a:ea typeface="Inter"/>
                <a:cs typeface="Inter"/>
                <a:sym typeface="Inter"/>
              </a:rPr>
              <a:t>-&gt; </a:t>
            </a:r>
            <a:r>
              <a:rPr lang="en" sz="2400" b="1" kern="0">
                <a:solidFill>
                  <a:srgbClr val="4E4E4E"/>
                </a:solidFill>
                <a:latin typeface="Inter"/>
                <a:ea typeface="Inter"/>
                <a:cs typeface="Inter"/>
                <a:sym typeface="Inter"/>
              </a:rPr>
              <a:t>Trading currencies and cryptocurrencies</a:t>
            </a:r>
            <a:r>
              <a:rPr lang="en" sz="2400" kern="0">
                <a:solidFill>
                  <a:srgbClr val="4E4E4E"/>
                </a:solidFill>
                <a:latin typeface="Inter"/>
                <a:ea typeface="Inter"/>
                <a:cs typeface="Inter"/>
                <a:sym typeface="Inter"/>
              </a:rPr>
              <a:t> over millisecond - several hour time horizons. </a:t>
            </a:r>
            <a:endParaRPr sz="2400" kern="0">
              <a:solidFill>
                <a:srgbClr val="4E4E4E"/>
              </a:solidFill>
              <a:latin typeface="Inter"/>
              <a:ea typeface="Inter"/>
              <a:cs typeface="Inter"/>
              <a:sym typeface="Inter"/>
            </a:endParaRPr>
          </a:p>
          <a:p>
            <a:pPr defTabSz="1219170">
              <a:lnSpc>
                <a:spcPct val="115000"/>
              </a:lnSpc>
              <a:buClr>
                <a:srgbClr val="000000"/>
              </a:buClr>
            </a:pPr>
            <a:r>
              <a:rPr lang="en" sz="2400" kern="0">
                <a:solidFill>
                  <a:srgbClr val="4E4E4E"/>
                </a:solidFill>
                <a:latin typeface="Inter"/>
                <a:ea typeface="Inter"/>
                <a:cs typeface="Inter"/>
                <a:sym typeface="Inter"/>
              </a:rPr>
              <a:t> </a:t>
            </a:r>
            <a:endParaRPr sz="2400" kern="0">
              <a:solidFill>
                <a:srgbClr val="4E4E4E"/>
              </a:solidFill>
              <a:latin typeface="Inter"/>
              <a:ea typeface="Inter"/>
              <a:cs typeface="Inter"/>
              <a:sym typeface="Inter"/>
            </a:endParaRPr>
          </a:p>
          <a:p>
            <a:pPr defTabSz="1219170">
              <a:lnSpc>
                <a:spcPct val="115000"/>
              </a:lnSpc>
              <a:buClr>
                <a:srgbClr val="000000"/>
              </a:buClr>
            </a:pPr>
            <a:endParaRPr sz="1333" kern="0">
              <a:solidFill>
                <a:srgbClr val="4E4E4E"/>
              </a:solidFill>
              <a:latin typeface="Inter"/>
              <a:ea typeface="Inter"/>
              <a:cs typeface="Inter"/>
              <a:sym typeface="Inter"/>
            </a:endParaRPr>
          </a:p>
          <a:p>
            <a:pPr defTabSz="1219170">
              <a:lnSpc>
                <a:spcPct val="115000"/>
              </a:lnSpc>
              <a:buClr>
                <a:srgbClr val="000000"/>
              </a:buClr>
            </a:pPr>
            <a:endParaRPr sz="1333" kern="0">
              <a:solidFill>
                <a:srgbClr val="4E4E4E"/>
              </a:solidFill>
              <a:latin typeface="Inter"/>
              <a:ea typeface="Inter"/>
              <a:cs typeface="Inter"/>
              <a:sym typeface="Inter"/>
            </a:endParaRPr>
          </a:p>
          <a:p>
            <a:pPr defTabSz="1219170">
              <a:lnSpc>
                <a:spcPct val="115000"/>
              </a:lnSpc>
              <a:buClr>
                <a:srgbClr val="000000"/>
              </a:buClr>
            </a:pPr>
            <a:endParaRPr sz="1333" kern="0">
              <a:solidFill>
                <a:srgbClr val="4E4E4E"/>
              </a:solidFill>
              <a:latin typeface="Inter"/>
              <a:ea typeface="Inter"/>
              <a:cs typeface="Inter"/>
              <a:sym typeface="Inter"/>
            </a:endParaRPr>
          </a:p>
          <a:p>
            <a:pPr defTabSz="1219170">
              <a:lnSpc>
                <a:spcPct val="115000"/>
              </a:lnSpc>
              <a:buClr>
                <a:srgbClr val="000000"/>
              </a:buClr>
            </a:pPr>
            <a:endParaRPr sz="1333" kern="0">
              <a:solidFill>
                <a:srgbClr val="4E4E4E"/>
              </a:solidFill>
              <a:latin typeface="Inter"/>
              <a:ea typeface="Inter"/>
              <a:cs typeface="Inter"/>
              <a:sym typeface="Inter"/>
            </a:endParaRPr>
          </a:p>
          <a:p>
            <a:pPr defTabSz="1219170">
              <a:lnSpc>
                <a:spcPct val="115000"/>
              </a:lnSpc>
              <a:buClr>
                <a:srgbClr val="000000"/>
              </a:buClr>
            </a:pPr>
            <a:endParaRPr sz="1333" kern="0">
              <a:solidFill>
                <a:srgbClr val="4E4E4E"/>
              </a:solidFill>
              <a:latin typeface="Inter"/>
              <a:ea typeface="Inter"/>
              <a:cs typeface="Inter"/>
              <a:sym typeface="Inter"/>
            </a:endParaRPr>
          </a:p>
          <a:p>
            <a:pPr defTabSz="1219170">
              <a:lnSpc>
                <a:spcPct val="115000"/>
              </a:lnSpc>
              <a:buClr>
                <a:srgbClr val="000000"/>
              </a:buClr>
            </a:pPr>
            <a:endParaRPr sz="1333" kern="0">
              <a:solidFill>
                <a:srgbClr val="4E4E4E"/>
              </a:solidFill>
              <a:latin typeface="Inter"/>
              <a:ea typeface="Inter"/>
              <a:cs typeface="Inter"/>
              <a:sym typeface="Inter"/>
            </a:endParaRPr>
          </a:p>
          <a:p>
            <a:pPr defTabSz="1219170">
              <a:lnSpc>
                <a:spcPct val="115000"/>
              </a:lnSpc>
              <a:buClr>
                <a:srgbClr val="000000"/>
              </a:buClr>
            </a:pPr>
            <a:endParaRPr sz="1333" kern="0">
              <a:solidFill>
                <a:srgbClr val="4E4E4E"/>
              </a:solidFill>
              <a:latin typeface="Inter"/>
              <a:ea typeface="Inter"/>
              <a:cs typeface="Inter"/>
              <a:sym typeface="Inter"/>
            </a:endParaRPr>
          </a:p>
          <a:p>
            <a:pPr defTabSz="1219170">
              <a:lnSpc>
                <a:spcPct val="115000"/>
              </a:lnSpc>
              <a:buClr>
                <a:srgbClr val="000000"/>
              </a:buClr>
            </a:pPr>
            <a:endParaRPr sz="1333" kern="0">
              <a:solidFill>
                <a:srgbClr val="4E4E4E"/>
              </a:solidFill>
              <a:latin typeface="Inter"/>
              <a:ea typeface="Inter"/>
              <a:cs typeface="Inter"/>
              <a:sym typeface="Inter"/>
            </a:endParaRPr>
          </a:p>
          <a:p>
            <a:pPr defTabSz="1219170">
              <a:lnSpc>
                <a:spcPct val="115000"/>
              </a:lnSpc>
              <a:buClr>
                <a:srgbClr val="000000"/>
              </a:buClr>
            </a:pPr>
            <a:endParaRPr sz="1333" kern="0">
              <a:solidFill>
                <a:srgbClr val="4E4E4E"/>
              </a:solidFill>
              <a:latin typeface="Inter"/>
              <a:ea typeface="Inter"/>
              <a:cs typeface="Inter"/>
              <a:sym typeface="Inter"/>
            </a:endParaRPr>
          </a:p>
          <a:p>
            <a:pPr defTabSz="1219170">
              <a:lnSpc>
                <a:spcPct val="115000"/>
              </a:lnSpc>
              <a:buClr>
                <a:srgbClr val="000000"/>
              </a:buClr>
            </a:pPr>
            <a:endParaRPr sz="1333" kern="0">
              <a:solidFill>
                <a:srgbClr val="4E4E4E"/>
              </a:solidFill>
              <a:latin typeface="Inter"/>
              <a:ea typeface="Inter"/>
              <a:cs typeface="Inter"/>
              <a:sym typeface="Inter"/>
            </a:endParaRPr>
          </a:p>
          <a:p>
            <a:pPr defTabSz="1219170">
              <a:lnSpc>
                <a:spcPct val="115000"/>
              </a:lnSpc>
              <a:buClr>
                <a:srgbClr val="000000"/>
              </a:buClr>
            </a:pPr>
            <a:endParaRPr sz="1333" kern="0">
              <a:solidFill>
                <a:srgbClr val="4E4E4E"/>
              </a:solidFill>
              <a:latin typeface="Inter"/>
              <a:ea typeface="Inter"/>
              <a:cs typeface="Inter"/>
              <a:sym typeface="Inter"/>
            </a:endParaRPr>
          </a:p>
          <a:p>
            <a:pPr defTabSz="1219170">
              <a:lnSpc>
                <a:spcPct val="115000"/>
              </a:lnSpc>
              <a:buClr>
                <a:srgbClr val="000000"/>
              </a:buClr>
            </a:pPr>
            <a:endParaRPr sz="1333" kern="0">
              <a:solidFill>
                <a:srgbClr val="4E4E4E"/>
              </a:solidFill>
              <a:latin typeface="Inter"/>
              <a:ea typeface="Inter"/>
              <a:cs typeface="Inter"/>
              <a:sym typeface="Inter"/>
            </a:endParaRPr>
          </a:p>
        </p:txBody>
      </p:sp>
      <p:pic>
        <p:nvPicPr>
          <p:cNvPr id="64" name="Google Shape;64;p14"/>
          <p:cNvPicPr preferRelativeResize="0"/>
          <p:nvPr/>
        </p:nvPicPr>
        <p:blipFill>
          <a:blip r:embed="rId3">
            <a:alphaModFix/>
          </a:blip>
          <a:stretch>
            <a:fillRect/>
          </a:stretch>
        </p:blipFill>
        <p:spPr>
          <a:xfrm>
            <a:off x="609600" y="6059425"/>
            <a:ext cx="1060707" cy="243079"/>
          </a:xfrm>
          <a:prstGeom prst="rect">
            <a:avLst/>
          </a:prstGeom>
          <a:noFill/>
          <a:ln>
            <a:noFill/>
          </a:ln>
        </p:spPr>
      </p:pic>
      <p:sp>
        <p:nvSpPr>
          <p:cNvPr id="65" name="Google Shape;65;p14"/>
          <p:cNvSpPr txBox="1"/>
          <p:nvPr/>
        </p:nvSpPr>
        <p:spPr>
          <a:xfrm>
            <a:off x="0" y="328067"/>
            <a:ext cx="6415600" cy="370000"/>
          </a:xfrm>
          <a:prstGeom prst="rect">
            <a:avLst/>
          </a:prstGeom>
          <a:noFill/>
          <a:ln>
            <a:noFill/>
          </a:ln>
        </p:spPr>
        <p:txBody>
          <a:bodyPr spcFirstLastPara="1" wrap="square" lIns="0" tIns="0" rIns="0" bIns="0" anchor="t" anchorCtr="0">
            <a:noAutofit/>
          </a:bodyPr>
          <a:lstStyle/>
          <a:p>
            <a:pPr algn="ctr" defTabSz="1219170">
              <a:lnSpc>
                <a:spcPct val="80000"/>
              </a:lnSpc>
              <a:buClr>
                <a:srgbClr val="000000"/>
              </a:buClr>
            </a:pPr>
            <a:r>
              <a:rPr lang="en" sz="2667" i="1" kern="0">
                <a:solidFill>
                  <a:srgbClr val="1F1F1F"/>
                </a:solidFill>
                <a:latin typeface="Inter Tight SemiBold"/>
                <a:ea typeface="Inter Tight SemiBold"/>
                <a:cs typeface="Inter Tight SemiBold"/>
                <a:sym typeface="Inter Tight SemiBold"/>
              </a:rPr>
              <a:t>Where I am: machine learning, statistics, and algorithmic trading</a:t>
            </a:r>
            <a:r>
              <a:rPr lang="en" sz="1867" i="1" kern="0">
                <a:solidFill>
                  <a:srgbClr val="1F1F1F"/>
                </a:solidFill>
                <a:latin typeface="Inter Tight SemiBold"/>
                <a:ea typeface="Inter Tight SemiBold"/>
                <a:cs typeface="Inter Tight SemiBold"/>
                <a:sym typeface="Inter Tight SemiBold"/>
              </a:rPr>
              <a:t> </a:t>
            </a:r>
            <a:endParaRPr sz="1867" i="1" kern="0">
              <a:solidFill>
                <a:srgbClr val="1F1F1F"/>
              </a:solidFill>
              <a:latin typeface="Inter Tight SemiBold"/>
              <a:ea typeface="Inter Tight SemiBold"/>
              <a:cs typeface="Inter Tight SemiBold"/>
              <a:sym typeface="Inter Tight SemiBold"/>
            </a:endParaRPr>
          </a:p>
        </p:txBody>
      </p:sp>
      <p:sp>
        <p:nvSpPr>
          <p:cNvPr id="66" name="Google Shape;66;p14"/>
          <p:cNvSpPr txBox="1"/>
          <p:nvPr/>
        </p:nvSpPr>
        <p:spPr>
          <a:xfrm>
            <a:off x="8223367" y="1461200"/>
            <a:ext cx="3202800" cy="1202400"/>
          </a:xfrm>
          <a:prstGeom prst="rect">
            <a:avLst/>
          </a:prstGeom>
          <a:noFill/>
          <a:ln>
            <a:noFill/>
          </a:ln>
        </p:spPr>
        <p:txBody>
          <a:bodyPr spcFirstLastPara="1" wrap="square" lIns="0" tIns="0" rIns="0" bIns="0" anchor="t" anchorCtr="0">
            <a:noAutofit/>
          </a:bodyPr>
          <a:lstStyle/>
          <a:p>
            <a:pPr defTabSz="1219170">
              <a:lnSpc>
                <a:spcPct val="80000"/>
              </a:lnSpc>
              <a:buClr>
                <a:srgbClr val="000000"/>
              </a:buClr>
            </a:pPr>
            <a:endParaRPr sz="3467" b="1" kern="0">
              <a:solidFill>
                <a:srgbClr val="1F1F1F"/>
              </a:solidFill>
              <a:latin typeface="Inter Tight"/>
              <a:ea typeface="Inter Tight"/>
              <a:cs typeface="Inter Tight"/>
              <a:sym typeface="Inter Tight"/>
            </a:endParaRPr>
          </a:p>
        </p:txBody>
      </p:sp>
      <p:pic>
        <p:nvPicPr>
          <p:cNvPr id="67" name="Google Shape;67;p14"/>
          <p:cNvPicPr preferRelativeResize="0"/>
          <p:nvPr/>
        </p:nvPicPr>
        <p:blipFill>
          <a:blip r:embed="rId4">
            <a:alphaModFix/>
          </a:blip>
          <a:stretch>
            <a:fillRect/>
          </a:stretch>
        </p:blipFill>
        <p:spPr>
          <a:xfrm>
            <a:off x="609598" y="1356486"/>
            <a:ext cx="5937401" cy="4575429"/>
          </a:xfrm>
          <a:prstGeom prst="rect">
            <a:avLst/>
          </a:prstGeom>
          <a:noFill/>
          <a:ln>
            <a:noFill/>
          </a:ln>
        </p:spPr>
      </p:pic>
      <p:cxnSp>
        <p:nvCxnSpPr>
          <p:cNvPr id="68" name="Google Shape;68;p14"/>
          <p:cNvCxnSpPr/>
          <p:nvPr/>
        </p:nvCxnSpPr>
        <p:spPr>
          <a:xfrm>
            <a:off x="5654567" y="1235400"/>
            <a:ext cx="0" cy="4817600"/>
          </a:xfrm>
          <a:prstGeom prst="straightConnector1">
            <a:avLst/>
          </a:prstGeom>
          <a:noFill/>
          <a:ln w="9525" cap="flat" cmpd="sng">
            <a:solidFill>
              <a:srgbClr val="0F5AF4"/>
            </a:solidFill>
            <a:prstDash val="solid"/>
            <a:round/>
            <a:headEnd type="none" w="med" len="med"/>
            <a:tailEnd type="none" w="med" len="med"/>
          </a:ln>
        </p:spPr>
      </p:cxnSp>
      <p:cxnSp>
        <p:nvCxnSpPr>
          <p:cNvPr id="69" name="Google Shape;69;p14"/>
          <p:cNvCxnSpPr/>
          <p:nvPr/>
        </p:nvCxnSpPr>
        <p:spPr>
          <a:xfrm>
            <a:off x="2391833" y="1235400"/>
            <a:ext cx="0" cy="4817600"/>
          </a:xfrm>
          <a:prstGeom prst="straightConnector1">
            <a:avLst/>
          </a:prstGeom>
          <a:noFill/>
          <a:ln w="9525" cap="flat" cmpd="sng">
            <a:solidFill>
              <a:srgbClr val="0F5AF4"/>
            </a:solidFill>
            <a:prstDash val="solid"/>
            <a:round/>
            <a:headEnd type="none" w="med" len="med"/>
            <a:tailEnd type="none" w="med" len="med"/>
          </a:ln>
        </p:spPr>
      </p:cxnSp>
      <p:sp>
        <p:nvSpPr>
          <p:cNvPr id="70" name="Google Shape;70;p14"/>
          <p:cNvSpPr txBox="1"/>
          <p:nvPr/>
        </p:nvSpPr>
        <p:spPr>
          <a:xfrm>
            <a:off x="8465600" y="2581167"/>
            <a:ext cx="3672000" cy="707846"/>
          </a:xfrm>
          <a:prstGeom prst="rect">
            <a:avLst/>
          </a:prstGeom>
          <a:noFill/>
          <a:ln>
            <a:noFill/>
          </a:ln>
        </p:spPr>
        <p:txBody>
          <a:bodyPr spcFirstLastPara="1" wrap="square" lIns="121900" tIns="121900" rIns="121900" bIns="121900" anchor="t" anchorCtr="0">
            <a:spAutoFit/>
          </a:bodyPr>
          <a:lstStyle/>
          <a:p>
            <a:pPr defTabSz="1219170">
              <a:lnSpc>
                <a:spcPct val="150000"/>
              </a:lnSpc>
              <a:buClr>
                <a:srgbClr val="000000"/>
              </a:buClr>
            </a:pPr>
            <a:endParaRPr sz="2000" kern="0">
              <a:solidFill>
                <a:srgbClr val="000000"/>
              </a:solidFill>
              <a:latin typeface="Arial"/>
              <a:cs typeface="Arial"/>
              <a:sym typeface="Arial"/>
            </a:endParaRPr>
          </a:p>
        </p:txBody>
      </p:sp>
      <p:sp>
        <p:nvSpPr>
          <p:cNvPr id="71" name="Google Shape;71;p14"/>
          <p:cNvSpPr txBox="1"/>
          <p:nvPr/>
        </p:nvSpPr>
        <p:spPr>
          <a:xfrm>
            <a:off x="8465600" y="3497834"/>
            <a:ext cx="3536400" cy="707846"/>
          </a:xfrm>
          <a:prstGeom prst="rect">
            <a:avLst/>
          </a:prstGeom>
          <a:noFill/>
          <a:ln>
            <a:noFill/>
          </a:ln>
        </p:spPr>
        <p:txBody>
          <a:bodyPr spcFirstLastPara="1" wrap="square" lIns="121900" tIns="121900" rIns="121900" bIns="121900" anchor="t" anchorCtr="0">
            <a:spAutoFit/>
          </a:bodyPr>
          <a:lstStyle/>
          <a:p>
            <a:pPr defTabSz="1219170">
              <a:lnSpc>
                <a:spcPct val="150000"/>
              </a:lnSpc>
              <a:buClr>
                <a:srgbClr val="000000"/>
              </a:buClr>
            </a:pPr>
            <a:endParaRPr sz="2000" kern="0">
              <a:solidFill>
                <a:srgbClr val="000000"/>
              </a:solidFill>
              <a:latin typeface="Arial"/>
              <a:cs typeface="Arial"/>
              <a:sym typeface="Arial"/>
            </a:endParaRPr>
          </a:p>
        </p:txBody>
      </p:sp>
      <p:sp>
        <p:nvSpPr>
          <p:cNvPr id="72" name="Google Shape;72;p14"/>
          <p:cNvSpPr txBox="1"/>
          <p:nvPr/>
        </p:nvSpPr>
        <p:spPr>
          <a:xfrm>
            <a:off x="7727400" y="4283734"/>
            <a:ext cx="3536400" cy="492530"/>
          </a:xfrm>
          <a:prstGeom prst="rect">
            <a:avLst/>
          </a:prstGeom>
          <a:noFill/>
          <a:ln>
            <a:noFill/>
          </a:ln>
        </p:spPr>
        <p:txBody>
          <a:bodyPr spcFirstLastPara="1" wrap="square" lIns="121900" tIns="121900" rIns="121900" bIns="121900" anchor="t" anchorCtr="0">
            <a:spAutoFit/>
          </a:bodyPr>
          <a:lstStyle/>
          <a:p>
            <a:pPr defTabSz="1219170">
              <a:lnSpc>
                <a:spcPct val="150000"/>
              </a:lnSpc>
              <a:buClr>
                <a:srgbClr val="000000"/>
              </a:buClr>
            </a:pPr>
            <a:endParaRPr sz="1067" b="1" kern="0">
              <a:solidFill>
                <a:srgbClr val="CC0000"/>
              </a:solidFill>
              <a:latin typeface="Courier New"/>
              <a:ea typeface="Courier New"/>
              <a:cs typeface="Courier New"/>
              <a:sym typeface="Courier New"/>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7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71"/>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7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76"/>
        <p:cNvGrpSpPr/>
        <p:nvPr/>
      </p:nvGrpSpPr>
      <p:grpSpPr>
        <a:xfrm>
          <a:off x="0" y="0"/>
          <a:ext cx="0" cy="0"/>
          <a:chOff x="0" y="0"/>
          <a:chExt cx="0" cy="0"/>
        </a:xfrm>
      </p:grpSpPr>
      <p:sp>
        <p:nvSpPr>
          <p:cNvPr id="77" name="Google Shape;77;p15"/>
          <p:cNvSpPr/>
          <p:nvPr/>
        </p:nvSpPr>
        <p:spPr>
          <a:xfrm>
            <a:off x="200" y="5900"/>
            <a:ext cx="12192000" cy="6858000"/>
          </a:xfrm>
          <a:prstGeom prst="rect">
            <a:avLst/>
          </a:prstGeom>
          <a:solidFill>
            <a:schemeClr val="lt2"/>
          </a:solidFill>
          <a:ln>
            <a:noFill/>
          </a:ln>
        </p:spPr>
        <p:txBody>
          <a:bodyPr spcFirstLastPara="1" wrap="square" lIns="0" tIns="0" rIns="0" bIns="0" anchor="ctr" anchorCtr="0">
            <a:noAutofit/>
          </a:bodyPr>
          <a:lstStyle/>
          <a:p>
            <a:pPr algn="ctr" defTabSz="1219170">
              <a:buClr>
                <a:srgbClr val="000000"/>
              </a:buClr>
            </a:pPr>
            <a:endParaRPr sz="1867" kern="0">
              <a:solidFill>
                <a:srgbClr val="000000"/>
              </a:solidFill>
              <a:latin typeface="Arial"/>
              <a:cs typeface="Arial"/>
              <a:sym typeface="Arial"/>
            </a:endParaRPr>
          </a:p>
        </p:txBody>
      </p:sp>
      <p:sp>
        <p:nvSpPr>
          <p:cNvPr id="78" name="Google Shape;78;p15"/>
          <p:cNvSpPr txBox="1"/>
          <p:nvPr/>
        </p:nvSpPr>
        <p:spPr>
          <a:xfrm>
            <a:off x="855400" y="609600"/>
            <a:ext cx="10726800" cy="5195600"/>
          </a:xfrm>
          <a:prstGeom prst="rect">
            <a:avLst/>
          </a:prstGeom>
          <a:noFill/>
          <a:ln>
            <a:noFill/>
          </a:ln>
        </p:spPr>
        <p:txBody>
          <a:bodyPr spcFirstLastPara="1" wrap="square" lIns="0" tIns="0" rIns="609600" bIns="0" anchor="t" anchorCtr="0">
            <a:noAutofit/>
          </a:bodyPr>
          <a:lstStyle/>
          <a:p>
            <a:pPr defTabSz="1219170">
              <a:lnSpc>
                <a:spcPct val="115000"/>
              </a:lnSpc>
              <a:buClr>
                <a:srgbClr val="000000"/>
              </a:buClr>
            </a:pPr>
            <a:r>
              <a:rPr lang="en" sz="2267" b="1" kern="0">
                <a:solidFill>
                  <a:srgbClr val="4E4E4E"/>
                </a:solidFill>
                <a:latin typeface="Inter"/>
                <a:ea typeface="Inter"/>
                <a:cs typeface="Inter"/>
                <a:sym typeface="Inter"/>
              </a:rPr>
              <a:t>DPhil</a:t>
            </a:r>
            <a:r>
              <a:rPr lang="en" sz="2267" kern="0">
                <a:solidFill>
                  <a:srgbClr val="4E4E4E"/>
                </a:solidFill>
                <a:latin typeface="Inter"/>
                <a:ea typeface="Inter"/>
                <a:cs typeface="Inter"/>
                <a:sym typeface="Inter"/>
              </a:rPr>
              <a:t>: SUSY searches and hadronic jet physics on ATLAS </a:t>
            </a:r>
            <a:endParaRPr sz="2267" kern="0">
              <a:solidFill>
                <a:srgbClr val="4E4E4E"/>
              </a:solidFill>
              <a:latin typeface="Inter"/>
              <a:ea typeface="Inter"/>
              <a:cs typeface="Inter"/>
              <a:sym typeface="Inter"/>
            </a:endParaRPr>
          </a:p>
          <a:p>
            <a:pPr indent="609585" defTabSz="1219170">
              <a:lnSpc>
                <a:spcPct val="115000"/>
              </a:lnSpc>
              <a:buClr>
                <a:srgbClr val="000000"/>
              </a:buClr>
            </a:pPr>
            <a:r>
              <a:rPr lang="en" sz="2267" kern="0">
                <a:solidFill>
                  <a:srgbClr val="4E4E4E"/>
                </a:solidFill>
                <a:latin typeface="Inter"/>
                <a:ea typeface="Inter"/>
                <a:cs typeface="Inter"/>
                <a:sym typeface="Inter"/>
              </a:rPr>
              <a:t>→ Got interested in thinking about statistics more deeply</a:t>
            </a:r>
            <a:endParaRPr sz="2267" kern="0">
              <a:solidFill>
                <a:srgbClr val="4E4E4E"/>
              </a:solidFill>
              <a:latin typeface="Inter"/>
              <a:ea typeface="Inter"/>
              <a:cs typeface="Inter"/>
              <a:sym typeface="Inter"/>
            </a:endParaRPr>
          </a:p>
          <a:p>
            <a:pPr indent="609585" defTabSz="1219170">
              <a:lnSpc>
                <a:spcPct val="115000"/>
              </a:lnSpc>
              <a:buClr>
                <a:srgbClr val="000000"/>
              </a:buClr>
            </a:pPr>
            <a:r>
              <a:rPr lang="en" sz="2267" kern="0">
                <a:solidFill>
                  <a:srgbClr val="4E4E4E"/>
                </a:solidFill>
                <a:latin typeface="Inter"/>
                <a:ea typeface="Inter"/>
                <a:cs typeface="Inter"/>
                <a:sym typeface="Inter"/>
              </a:rPr>
              <a:t>-&gt; Introduced to the ideas of machine learning</a:t>
            </a:r>
            <a:endParaRPr sz="2267" kern="0">
              <a:solidFill>
                <a:srgbClr val="4E4E4E"/>
              </a:solidFill>
              <a:latin typeface="Inter"/>
              <a:ea typeface="Inter"/>
              <a:cs typeface="Inter"/>
              <a:sym typeface="Inter"/>
            </a:endParaRPr>
          </a:p>
          <a:p>
            <a:pPr indent="609585" defTabSz="1219170">
              <a:lnSpc>
                <a:spcPct val="115000"/>
              </a:lnSpc>
              <a:buClr>
                <a:srgbClr val="000000"/>
              </a:buClr>
            </a:pPr>
            <a:r>
              <a:rPr lang="en" sz="2267" kern="0">
                <a:solidFill>
                  <a:srgbClr val="4E4E4E"/>
                </a:solidFill>
                <a:latin typeface="Inter"/>
                <a:ea typeface="Inter"/>
                <a:cs typeface="Inter"/>
                <a:sym typeface="Inter"/>
              </a:rPr>
              <a:t>-&gt; Knew nothing about finance, biology etc</a:t>
            </a:r>
            <a:endParaRPr sz="2267" kern="0">
              <a:solidFill>
                <a:srgbClr val="4E4E4E"/>
              </a:solidFill>
              <a:latin typeface="Inter"/>
              <a:ea typeface="Inter"/>
              <a:cs typeface="Inter"/>
              <a:sym typeface="Inter"/>
            </a:endParaRPr>
          </a:p>
          <a:p>
            <a:pPr indent="609585" defTabSz="1219170">
              <a:lnSpc>
                <a:spcPct val="115000"/>
              </a:lnSpc>
              <a:buClr>
                <a:srgbClr val="000000"/>
              </a:buClr>
            </a:pPr>
            <a:endParaRPr sz="2267" kern="0">
              <a:solidFill>
                <a:srgbClr val="4E4E4E"/>
              </a:solidFill>
              <a:latin typeface="Inter"/>
              <a:ea typeface="Inter"/>
              <a:cs typeface="Inter"/>
              <a:sym typeface="Inter"/>
            </a:endParaRPr>
          </a:p>
          <a:p>
            <a:pPr defTabSz="1219170">
              <a:lnSpc>
                <a:spcPct val="115000"/>
              </a:lnSpc>
              <a:buClr>
                <a:srgbClr val="000000"/>
              </a:buClr>
            </a:pPr>
            <a:r>
              <a:rPr lang="en" sz="2267" b="1" kern="0">
                <a:solidFill>
                  <a:srgbClr val="4E4E4E"/>
                </a:solidFill>
                <a:latin typeface="Inter"/>
                <a:ea typeface="Inter"/>
                <a:cs typeface="Inter"/>
                <a:sym typeface="Inter"/>
              </a:rPr>
              <a:t>PostDoc</a:t>
            </a:r>
            <a:r>
              <a:rPr lang="en" sz="2267" kern="0">
                <a:solidFill>
                  <a:srgbClr val="4E4E4E"/>
                </a:solidFill>
                <a:latin typeface="Inter"/>
                <a:ea typeface="Inter"/>
                <a:cs typeface="Inter"/>
                <a:sym typeface="Inter"/>
              </a:rPr>
              <a:t>: Knew I wanted to apply statistics to new problems</a:t>
            </a:r>
            <a:endParaRPr sz="2267" kern="0">
              <a:solidFill>
                <a:srgbClr val="4E4E4E"/>
              </a:solidFill>
              <a:latin typeface="Inter"/>
              <a:ea typeface="Inter"/>
              <a:cs typeface="Inter"/>
              <a:sym typeface="Inter"/>
            </a:endParaRPr>
          </a:p>
          <a:p>
            <a:pPr defTabSz="1219170">
              <a:lnSpc>
                <a:spcPct val="115000"/>
              </a:lnSpc>
              <a:buClr>
                <a:srgbClr val="000000"/>
              </a:buClr>
            </a:pPr>
            <a:r>
              <a:rPr lang="en" sz="2267" kern="0">
                <a:solidFill>
                  <a:srgbClr val="4E4E4E"/>
                </a:solidFill>
                <a:latin typeface="Inter"/>
                <a:ea typeface="Inter"/>
                <a:cs typeface="Inter"/>
                <a:sym typeface="Inter"/>
              </a:rPr>
              <a:t>	-&gt; Became interested in economics &amp; the markets</a:t>
            </a:r>
            <a:endParaRPr sz="2267" kern="0">
              <a:solidFill>
                <a:srgbClr val="4E4E4E"/>
              </a:solidFill>
              <a:latin typeface="Inter"/>
              <a:ea typeface="Inter"/>
              <a:cs typeface="Inter"/>
              <a:sym typeface="Inter"/>
            </a:endParaRPr>
          </a:p>
          <a:p>
            <a:pPr defTabSz="1219170">
              <a:lnSpc>
                <a:spcPct val="115000"/>
              </a:lnSpc>
              <a:buClr>
                <a:srgbClr val="000000"/>
              </a:buClr>
            </a:pPr>
            <a:endParaRPr sz="2267" kern="0">
              <a:solidFill>
                <a:srgbClr val="4E4E4E"/>
              </a:solidFill>
              <a:latin typeface="Inter"/>
              <a:ea typeface="Inter"/>
              <a:cs typeface="Inter"/>
              <a:sym typeface="Inter"/>
            </a:endParaRPr>
          </a:p>
          <a:p>
            <a:pPr defTabSz="1219170">
              <a:lnSpc>
                <a:spcPct val="115000"/>
              </a:lnSpc>
              <a:buClr>
                <a:srgbClr val="000000"/>
              </a:buClr>
            </a:pPr>
            <a:r>
              <a:rPr lang="en" sz="2400" kern="0">
                <a:solidFill>
                  <a:srgbClr val="4E4E4E"/>
                </a:solidFill>
                <a:latin typeface="Inter"/>
                <a:ea typeface="Inter"/>
                <a:cs typeface="Inter"/>
                <a:sym typeface="Inter"/>
              </a:rPr>
              <a:t> </a:t>
            </a:r>
            <a:endParaRPr sz="2400" kern="0">
              <a:solidFill>
                <a:srgbClr val="4E4E4E"/>
              </a:solidFill>
              <a:latin typeface="Inter"/>
              <a:ea typeface="Inter"/>
              <a:cs typeface="Inter"/>
              <a:sym typeface="Inter"/>
            </a:endParaRPr>
          </a:p>
          <a:p>
            <a:pPr defTabSz="1219170">
              <a:lnSpc>
                <a:spcPct val="115000"/>
              </a:lnSpc>
              <a:buClr>
                <a:srgbClr val="000000"/>
              </a:buClr>
            </a:pPr>
            <a:endParaRPr sz="1333" kern="0">
              <a:solidFill>
                <a:srgbClr val="4E4E4E"/>
              </a:solidFill>
              <a:latin typeface="Inter"/>
              <a:ea typeface="Inter"/>
              <a:cs typeface="Inter"/>
              <a:sym typeface="Inter"/>
            </a:endParaRPr>
          </a:p>
          <a:p>
            <a:pPr defTabSz="1219170">
              <a:lnSpc>
                <a:spcPct val="115000"/>
              </a:lnSpc>
              <a:buClr>
                <a:srgbClr val="000000"/>
              </a:buClr>
            </a:pPr>
            <a:endParaRPr sz="1333" kern="0">
              <a:solidFill>
                <a:srgbClr val="4E4E4E"/>
              </a:solidFill>
              <a:latin typeface="Inter"/>
              <a:ea typeface="Inter"/>
              <a:cs typeface="Inter"/>
              <a:sym typeface="Inter"/>
            </a:endParaRPr>
          </a:p>
          <a:p>
            <a:pPr defTabSz="1219170">
              <a:lnSpc>
                <a:spcPct val="115000"/>
              </a:lnSpc>
              <a:buClr>
                <a:srgbClr val="000000"/>
              </a:buClr>
            </a:pPr>
            <a:endParaRPr sz="1333" kern="0">
              <a:solidFill>
                <a:srgbClr val="4E4E4E"/>
              </a:solidFill>
              <a:latin typeface="Inter"/>
              <a:ea typeface="Inter"/>
              <a:cs typeface="Inter"/>
              <a:sym typeface="Inter"/>
            </a:endParaRPr>
          </a:p>
          <a:p>
            <a:pPr defTabSz="1219170">
              <a:lnSpc>
                <a:spcPct val="115000"/>
              </a:lnSpc>
              <a:buClr>
                <a:srgbClr val="000000"/>
              </a:buClr>
            </a:pPr>
            <a:endParaRPr sz="1333" kern="0">
              <a:solidFill>
                <a:srgbClr val="4E4E4E"/>
              </a:solidFill>
              <a:latin typeface="Inter"/>
              <a:ea typeface="Inter"/>
              <a:cs typeface="Inter"/>
              <a:sym typeface="Inter"/>
            </a:endParaRPr>
          </a:p>
          <a:p>
            <a:pPr defTabSz="1219170">
              <a:lnSpc>
                <a:spcPct val="115000"/>
              </a:lnSpc>
              <a:buClr>
                <a:srgbClr val="000000"/>
              </a:buClr>
            </a:pPr>
            <a:endParaRPr sz="1333" kern="0">
              <a:solidFill>
                <a:srgbClr val="4E4E4E"/>
              </a:solidFill>
              <a:latin typeface="Inter"/>
              <a:ea typeface="Inter"/>
              <a:cs typeface="Inter"/>
              <a:sym typeface="Inter"/>
            </a:endParaRPr>
          </a:p>
          <a:p>
            <a:pPr defTabSz="1219170">
              <a:lnSpc>
                <a:spcPct val="115000"/>
              </a:lnSpc>
              <a:buClr>
                <a:srgbClr val="000000"/>
              </a:buClr>
            </a:pPr>
            <a:endParaRPr sz="1333" kern="0">
              <a:solidFill>
                <a:srgbClr val="4E4E4E"/>
              </a:solidFill>
              <a:latin typeface="Inter"/>
              <a:ea typeface="Inter"/>
              <a:cs typeface="Inter"/>
              <a:sym typeface="Inter"/>
            </a:endParaRPr>
          </a:p>
          <a:p>
            <a:pPr defTabSz="1219170">
              <a:lnSpc>
                <a:spcPct val="115000"/>
              </a:lnSpc>
              <a:buClr>
                <a:srgbClr val="000000"/>
              </a:buClr>
            </a:pPr>
            <a:endParaRPr sz="1333" kern="0">
              <a:solidFill>
                <a:srgbClr val="4E4E4E"/>
              </a:solidFill>
              <a:latin typeface="Inter"/>
              <a:ea typeface="Inter"/>
              <a:cs typeface="Inter"/>
              <a:sym typeface="Inter"/>
            </a:endParaRPr>
          </a:p>
          <a:p>
            <a:pPr defTabSz="1219170">
              <a:lnSpc>
                <a:spcPct val="115000"/>
              </a:lnSpc>
              <a:buClr>
                <a:srgbClr val="000000"/>
              </a:buClr>
            </a:pPr>
            <a:endParaRPr sz="1333" kern="0">
              <a:solidFill>
                <a:srgbClr val="4E4E4E"/>
              </a:solidFill>
              <a:latin typeface="Inter"/>
              <a:ea typeface="Inter"/>
              <a:cs typeface="Inter"/>
              <a:sym typeface="Inter"/>
            </a:endParaRPr>
          </a:p>
          <a:p>
            <a:pPr defTabSz="1219170">
              <a:lnSpc>
                <a:spcPct val="115000"/>
              </a:lnSpc>
              <a:buClr>
                <a:srgbClr val="000000"/>
              </a:buClr>
            </a:pPr>
            <a:endParaRPr sz="1333" kern="0">
              <a:solidFill>
                <a:srgbClr val="4E4E4E"/>
              </a:solidFill>
              <a:latin typeface="Inter"/>
              <a:ea typeface="Inter"/>
              <a:cs typeface="Inter"/>
              <a:sym typeface="Inter"/>
            </a:endParaRPr>
          </a:p>
          <a:p>
            <a:pPr defTabSz="1219170">
              <a:lnSpc>
                <a:spcPct val="115000"/>
              </a:lnSpc>
              <a:buClr>
                <a:srgbClr val="000000"/>
              </a:buClr>
            </a:pPr>
            <a:endParaRPr sz="1333" kern="0">
              <a:solidFill>
                <a:srgbClr val="4E4E4E"/>
              </a:solidFill>
              <a:latin typeface="Inter"/>
              <a:ea typeface="Inter"/>
              <a:cs typeface="Inter"/>
              <a:sym typeface="Inter"/>
            </a:endParaRPr>
          </a:p>
          <a:p>
            <a:pPr defTabSz="1219170">
              <a:lnSpc>
                <a:spcPct val="115000"/>
              </a:lnSpc>
              <a:buClr>
                <a:srgbClr val="000000"/>
              </a:buClr>
            </a:pPr>
            <a:endParaRPr sz="1333" kern="0">
              <a:solidFill>
                <a:srgbClr val="4E4E4E"/>
              </a:solidFill>
              <a:latin typeface="Inter"/>
              <a:ea typeface="Inter"/>
              <a:cs typeface="Inter"/>
              <a:sym typeface="Inter"/>
            </a:endParaRPr>
          </a:p>
          <a:p>
            <a:pPr defTabSz="1219170">
              <a:lnSpc>
                <a:spcPct val="115000"/>
              </a:lnSpc>
              <a:buClr>
                <a:srgbClr val="000000"/>
              </a:buClr>
            </a:pPr>
            <a:endParaRPr sz="1333" kern="0">
              <a:solidFill>
                <a:srgbClr val="4E4E4E"/>
              </a:solidFill>
              <a:latin typeface="Inter"/>
              <a:ea typeface="Inter"/>
              <a:cs typeface="Inter"/>
              <a:sym typeface="Inter"/>
            </a:endParaRPr>
          </a:p>
        </p:txBody>
      </p:sp>
      <p:pic>
        <p:nvPicPr>
          <p:cNvPr id="79" name="Google Shape;79;p15"/>
          <p:cNvPicPr preferRelativeResize="0"/>
          <p:nvPr/>
        </p:nvPicPr>
        <p:blipFill>
          <a:blip r:embed="rId3">
            <a:alphaModFix/>
          </a:blip>
          <a:stretch>
            <a:fillRect/>
          </a:stretch>
        </p:blipFill>
        <p:spPr>
          <a:xfrm>
            <a:off x="609600" y="6059425"/>
            <a:ext cx="1060707" cy="243079"/>
          </a:xfrm>
          <a:prstGeom prst="rect">
            <a:avLst/>
          </a:prstGeom>
          <a:noFill/>
          <a:ln>
            <a:noFill/>
          </a:ln>
        </p:spPr>
      </p:pic>
      <p:sp>
        <p:nvSpPr>
          <p:cNvPr id="80" name="Google Shape;80;p15"/>
          <p:cNvSpPr txBox="1"/>
          <p:nvPr/>
        </p:nvSpPr>
        <p:spPr>
          <a:xfrm>
            <a:off x="3011000" y="121600"/>
            <a:ext cx="6415600" cy="370000"/>
          </a:xfrm>
          <a:prstGeom prst="rect">
            <a:avLst/>
          </a:prstGeom>
          <a:noFill/>
          <a:ln>
            <a:noFill/>
          </a:ln>
        </p:spPr>
        <p:txBody>
          <a:bodyPr spcFirstLastPara="1" wrap="square" lIns="0" tIns="0" rIns="0" bIns="0" anchor="t" anchorCtr="0">
            <a:noAutofit/>
          </a:bodyPr>
          <a:lstStyle/>
          <a:p>
            <a:pPr algn="ctr" defTabSz="1219170">
              <a:lnSpc>
                <a:spcPct val="80000"/>
              </a:lnSpc>
              <a:buClr>
                <a:srgbClr val="000000"/>
              </a:buClr>
            </a:pPr>
            <a:r>
              <a:rPr lang="en" sz="2667" i="1" kern="0">
                <a:solidFill>
                  <a:srgbClr val="1F1F1F"/>
                </a:solidFill>
                <a:latin typeface="Inter Tight SemiBold"/>
                <a:ea typeface="Inter Tight SemiBold"/>
                <a:cs typeface="Inter Tight SemiBold"/>
                <a:sym typeface="Inter Tight SemiBold"/>
              </a:rPr>
              <a:t>How I got there</a:t>
            </a:r>
            <a:r>
              <a:rPr lang="en" sz="1867" i="1" kern="0">
                <a:solidFill>
                  <a:srgbClr val="1F1F1F"/>
                </a:solidFill>
                <a:latin typeface="Inter Tight SemiBold"/>
                <a:ea typeface="Inter Tight SemiBold"/>
                <a:cs typeface="Inter Tight SemiBold"/>
                <a:sym typeface="Inter Tight SemiBold"/>
              </a:rPr>
              <a:t> </a:t>
            </a:r>
            <a:endParaRPr sz="1867" i="1" kern="0">
              <a:solidFill>
                <a:srgbClr val="1F1F1F"/>
              </a:solidFill>
              <a:latin typeface="Inter Tight SemiBold"/>
              <a:ea typeface="Inter Tight SemiBold"/>
              <a:cs typeface="Inter Tight SemiBold"/>
              <a:sym typeface="Inter Tight SemiBold"/>
            </a:endParaRPr>
          </a:p>
        </p:txBody>
      </p:sp>
      <p:sp>
        <p:nvSpPr>
          <p:cNvPr id="81" name="Google Shape;81;p15"/>
          <p:cNvSpPr txBox="1"/>
          <p:nvPr/>
        </p:nvSpPr>
        <p:spPr>
          <a:xfrm>
            <a:off x="8223367" y="1461200"/>
            <a:ext cx="3202800" cy="1202400"/>
          </a:xfrm>
          <a:prstGeom prst="rect">
            <a:avLst/>
          </a:prstGeom>
          <a:noFill/>
          <a:ln>
            <a:noFill/>
          </a:ln>
        </p:spPr>
        <p:txBody>
          <a:bodyPr spcFirstLastPara="1" wrap="square" lIns="0" tIns="0" rIns="0" bIns="0" anchor="t" anchorCtr="0">
            <a:noAutofit/>
          </a:bodyPr>
          <a:lstStyle/>
          <a:p>
            <a:pPr defTabSz="1219170">
              <a:lnSpc>
                <a:spcPct val="80000"/>
              </a:lnSpc>
              <a:buClr>
                <a:srgbClr val="000000"/>
              </a:buClr>
            </a:pPr>
            <a:endParaRPr sz="3467" b="1" kern="0">
              <a:solidFill>
                <a:srgbClr val="1F1F1F"/>
              </a:solidFill>
              <a:latin typeface="Inter Tight"/>
              <a:ea typeface="Inter Tight"/>
              <a:cs typeface="Inter Tight"/>
              <a:sym typeface="Inter Tight"/>
            </a:endParaRPr>
          </a:p>
        </p:txBody>
      </p:sp>
      <p:sp>
        <p:nvSpPr>
          <p:cNvPr id="82" name="Google Shape;82;p15"/>
          <p:cNvSpPr txBox="1"/>
          <p:nvPr/>
        </p:nvSpPr>
        <p:spPr>
          <a:xfrm>
            <a:off x="8465600" y="2581167"/>
            <a:ext cx="3672000" cy="707846"/>
          </a:xfrm>
          <a:prstGeom prst="rect">
            <a:avLst/>
          </a:prstGeom>
          <a:noFill/>
          <a:ln>
            <a:noFill/>
          </a:ln>
        </p:spPr>
        <p:txBody>
          <a:bodyPr spcFirstLastPara="1" wrap="square" lIns="121900" tIns="121900" rIns="121900" bIns="121900" anchor="t" anchorCtr="0">
            <a:spAutoFit/>
          </a:bodyPr>
          <a:lstStyle/>
          <a:p>
            <a:pPr defTabSz="1219170">
              <a:lnSpc>
                <a:spcPct val="150000"/>
              </a:lnSpc>
              <a:buClr>
                <a:srgbClr val="000000"/>
              </a:buClr>
            </a:pPr>
            <a:endParaRPr sz="2000" kern="0">
              <a:solidFill>
                <a:srgbClr val="000000"/>
              </a:solidFill>
              <a:latin typeface="Arial"/>
              <a:cs typeface="Arial"/>
              <a:sym typeface="Arial"/>
            </a:endParaRPr>
          </a:p>
        </p:txBody>
      </p:sp>
      <p:sp>
        <p:nvSpPr>
          <p:cNvPr id="83" name="Google Shape;83;p15"/>
          <p:cNvSpPr txBox="1"/>
          <p:nvPr/>
        </p:nvSpPr>
        <p:spPr>
          <a:xfrm>
            <a:off x="8465600" y="3497834"/>
            <a:ext cx="3536400" cy="707846"/>
          </a:xfrm>
          <a:prstGeom prst="rect">
            <a:avLst/>
          </a:prstGeom>
          <a:noFill/>
          <a:ln>
            <a:noFill/>
          </a:ln>
        </p:spPr>
        <p:txBody>
          <a:bodyPr spcFirstLastPara="1" wrap="square" lIns="121900" tIns="121900" rIns="121900" bIns="121900" anchor="t" anchorCtr="0">
            <a:spAutoFit/>
          </a:bodyPr>
          <a:lstStyle/>
          <a:p>
            <a:pPr defTabSz="1219170">
              <a:lnSpc>
                <a:spcPct val="150000"/>
              </a:lnSpc>
              <a:buClr>
                <a:srgbClr val="000000"/>
              </a:buClr>
            </a:pPr>
            <a:endParaRPr sz="2000" kern="0">
              <a:solidFill>
                <a:srgbClr val="000000"/>
              </a:solidFill>
              <a:latin typeface="Arial"/>
              <a:cs typeface="Arial"/>
              <a:sym typeface="Arial"/>
            </a:endParaRPr>
          </a:p>
        </p:txBody>
      </p:sp>
      <p:sp>
        <p:nvSpPr>
          <p:cNvPr id="84" name="Google Shape;84;p15"/>
          <p:cNvSpPr txBox="1"/>
          <p:nvPr/>
        </p:nvSpPr>
        <p:spPr>
          <a:xfrm>
            <a:off x="7727400" y="4283734"/>
            <a:ext cx="3536400" cy="492530"/>
          </a:xfrm>
          <a:prstGeom prst="rect">
            <a:avLst/>
          </a:prstGeom>
          <a:noFill/>
          <a:ln>
            <a:noFill/>
          </a:ln>
        </p:spPr>
        <p:txBody>
          <a:bodyPr spcFirstLastPara="1" wrap="square" lIns="121900" tIns="121900" rIns="121900" bIns="121900" anchor="t" anchorCtr="0">
            <a:spAutoFit/>
          </a:bodyPr>
          <a:lstStyle/>
          <a:p>
            <a:pPr defTabSz="1219170">
              <a:lnSpc>
                <a:spcPct val="150000"/>
              </a:lnSpc>
              <a:buClr>
                <a:srgbClr val="000000"/>
              </a:buClr>
            </a:pPr>
            <a:endParaRPr sz="1067" b="1" kern="0">
              <a:solidFill>
                <a:srgbClr val="CC0000"/>
              </a:solidFill>
              <a:latin typeface="Courier New"/>
              <a:ea typeface="Courier New"/>
              <a:cs typeface="Courier New"/>
              <a:sym typeface="Courier New"/>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88"/>
        <p:cNvGrpSpPr/>
        <p:nvPr/>
      </p:nvGrpSpPr>
      <p:grpSpPr>
        <a:xfrm>
          <a:off x="0" y="0"/>
          <a:ext cx="0" cy="0"/>
          <a:chOff x="0" y="0"/>
          <a:chExt cx="0" cy="0"/>
        </a:xfrm>
      </p:grpSpPr>
      <p:sp>
        <p:nvSpPr>
          <p:cNvPr id="89" name="Google Shape;89;p16"/>
          <p:cNvSpPr/>
          <p:nvPr/>
        </p:nvSpPr>
        <p:spPr>
          <a:xfrm>
            <a:off x="200" y="5900"/>
            <a:ext cx="12192000" cy="6858000"/>
          </a:xfrm>
          <a:prstGeom prst="rect">
            <a:avLst/>
          </a:prstGeom>
          <a:solidFill>
            <a:schemeClr val="lt2"/>
          </a:solidFill>
          <a:ln>
            <a:noFill/>
          </a:ln>
        </p:spPr>
        <p:txBody>
          <a:bodyPr spcFirstLastPara="1" wrap="square" lIns="0" tIns="0" rIns="0" bIns="0" anchor="ctr" anchorCtr="0">
            <a:noAutofit/>
          </a:bodyPr>
          <a:lstStyle/>
          <a:p>
            <a:pPr algn="ctr" defTabSz="1219170">
              <a:buClr>
                <a:srgbClr val="000000"/>
              </a:buClr>
            </a:pPr>
            <a:endParaRPr sz="1867" kern="0">
              <a:solidFill>
                <a:srgbClr val="000000"/>
              </a:solidFill>
              <a:latin typeface="Arial"/>
              <a:cs typeface="Arial"/>
              <a:sym typeface="Arial"/>
            </a:endParaRPr>
          </a:p>
        </p:txBody>
      </p:sp>
      <p:sp>
        <p:nvSpPr>
          <p:cNvPr id="90" name="Google Shape;90;p16"/>
          <p:cNvSpPr txBox="1"/>
          <p:nvPr/>
        </p:nvSpPr>
        <p:spPr>
          <a:xfrm>
            <a:off x="855400" y="609600"/>
            <a:ext cx="10726800" cy="5195600"/>
          </a:xfrm>
          <a:prstGeom prst="rect">
            <a:avLst/>
          </a:prstGeom>
          <a:noFill/>
          <a:ln>
            <a:noFill/>
          </a:ln>
        </p:spPr>
        <p:txBody>
          <a:bodyPr spcFirstLastPara="1" wrap="square" lIns="0" tIns="0" rIns="609600" bIns="0" anchor="t" anchorCtr="0">
            <a:noAutofit/>
          </a:bodyPr>
          <a:lstStyle/>
          <a:p>
            <a:pPr defTabSz="1219170">
              <a:lnSpc>
                <a:spcPct val="115000"/>
              </a:lnSpc>
              <a:buClr>
                <a:srgbClr val="000000"/>
              </a:buClr>
            </a:pPr>
            <a:r>
              <a:rPr lang="en" sz="2267" b="1" kern="0">
                <a:solidFill>
                  <a:srgbClr val="4E4E4E"/>
                </a:solidFill>
                <a:latin typeface="Inter"/>
                <a:ea typeface="Inter"/>
                <a:cs typeface="Inter"/>
                <a:sym typeface="Inter"/>
              </a:rPr>
              <a:t>DPhil</a:t>
            </a:r>
            <a:r>
              <a:rPr lang="en" sz="2267" kern="0">
                <a:solidFill>
                  <a:srgbClr val="4E4E4E"/>
                </a:solidFill>
                <a:latin typeface="Inter"/>
                <a:ea typeface="Inter"/>
                <a:cs typeface="Inter"/>
                <a:sym typeface="Inter"/>
              </a:rPr>
              <a:t>: SUSY searches and hadronic jet physics on ATLAS </a:t>
            </a:r>
            <a:endParaRPr sz="2267" kern="0">
              <a:solidFill>
                <a:srgbClr val="4E4E4E"/>
              </a:solidFill>
              <a:latin typeface="Inter"/>
              <a:ea typeface="Inter"/>
              <a:cs typeface="Inter"/>
              <a:sym typeface="Inter"/>
            </a:endParaRPr>
          </a:p>
          <a:p>
            <a:pPr indent="609585" defTabSz="1219170">
              <a:lnSpc>
                <a:spcPct val="115000"/>
              </a:lnSpc>
              <a:buClr>
                <a:srgbClr val="000000"/>
              </a:buClr>
            </a:pPr>
            <a:r>
              <a:rPr lang="en" sz="2267" kern="0">
                <a:solidFill>
                  <a:srgbClr val="4E4E4E"/>
                </a:solidFill>
                <a:latin typeface="Inter"/>
                <a:ea typeface="Inter"/>
                <a:cs typeface="Inter"/>
                <a:sym typeface="Inter"/>
              </a:rPr>
              <a:t>→ Got interested in thinking about statistics more deeply</a:t>
            </a:r>
            <a:endParaRPr sz="2267" kern="0">
              <a:solidFill>
                <a:srgbClr val="4E4E4E"/>
              </a:solidFill>
              <a:latin typeface="Inter"/>
              <a:ea typeface="Inter"/>
              <a:cs typeface="Inter"/>
              <a:sym typeface="Inter"/>
            </a:endParaRPr>
          </a:p>
          <a:p>
            <a:pPr indent="609585" defTabSz="1219170">
              <a:lnSpc>
                <a:spcPct val="115000"/>
              </a:lnSpc>
              <a:buClr>
                <a:srgbClr val="000000"/>
              </a:buClr>
            </a:pPr>
            <a:r>
              <a:rPr lang="en" sz="2267" kern="0">
                <a:solidFill>
                  <a:srgbClr val="4E4E4E"/>
                </a:solidFill>
                <a:latin typeface="Inter"/>
                <a:ea typeface="Inter"/>
                <a:cs typeface="Inter"/>
                <a:sym typeface="Inter"/>
              </a:rPr>
              <a:t>-&gt; Introduced to the ideas of machine learning</a:t>
            </a:r>
            <a:endParaRPr sz="2267" kern="0">
              <a:solidFill>
                <a:srgbClr val="4E4E4E"/>
              </a:solidFill>
              <a:latin typeface="Inter"/>
              <a:ea typeface="Inter"/>
              <a:cs typeface="Inter"/>
              <a:sym typeface="Inter"/>
            </a:endParaRPr>
          </a:p>
          <a:p>
            <a:pPr indent="609585" defTabSz="1219170">
              <a:lnSpc>
                <a:spcPct val="115000"/>
              </a:lnSpc>
              <a:buClr>
                <a:srgbClr val="000000"/>
              </a:buClr>
            </a:pPr>
            <a:r>
              <a:rPr lang="en" sz="2267" kern="0">
                <a:solidFill>
                  <a:srgbClr val="4E4E4E"/>
                </a:solidFill>
                <a:latin typeface="Inter"/>
                <a:ea typeface="Inter"/>
                <a:cs typeface="Inter"/>
                <a:sym typeface="Inter"/>
              </a:rPr>
              <a:t>-&gt; Knew nothing about finance, biology etc</a:t>
            </a:r>
            <a:endParaRPr sz="2267" kern="0">
              <a:solidFill>
                <a:srgbClr val="4E4E4E"/>
              </a:solidFill>
              <a:latin typeface="Inter"/>
              <a:ea typeface="Inter"/>
              <a:cs typeface="Inter"/>
              <a:sym typeface="Inter"/>
            </a:endParaRPr>
          </a:p>
          <a:p>
            <a:pPr indent="609585" defTabSz="1219170">
              <a:lnSpc>
                <a:spcPct val="115000"/>
              </a:lnSpc>
              <a:buClr>
                <a:srgbClr val="000000"/>
              </a:buClr>
            </a:pPr>
            <a:endParaRPr sz="2267" kern="0">
              <a:solidFill>
                <a:srgbClr val="4E4E4E"/>
              </a:solidFill>
              <a:latin typeface="Inter"/>
              <a:ea typeface="Inter"/>
              <a:cs typeface="Inter"/>
              <a:sym typeface="Inter"/>
            </a:endParaRPr>
          </a:p>
          <a:p>
            <a:pPr defTabSz="1219170">
              <a:lnSpc>
                <a:spcPct val="115000"/>
              </a:lnSpc>
              <a:buClr>
                <a:srgbClr val="000000"/>
              </a:buClr>
            </a:pPr>
            <a:r>
              <a:rPr lang="en" sz="2267" b="1" kern="0">
                <a:solidFill>
                  <a:srgbClr val="4E4E4E"/>
                </a:solidFill>
                <a:latin typeface="Inter"/>
                <a:ea typeface="Inter"/>
                <a:cs typeface="Inter"/>
                <a:sym typeface="Inter"/>
              </a:rPr>
              <a:t>PostDoc</a:t>
            </a:r>
            <a:r>
              <a:rPr lang="en" sz="2267" kern="0">
                <a:solidFill>
                  <a:srgbClr val="4E4E4E"/>
                </a:solidFill>
                <a:latin typeface="Inter"/>
                <a:ea typeface="Inter"/>
                <a:cs typeface="Inter"/>
                <a:sym typeface="Inter"/>
              </a:rPr>
              <a:t>: Knew I wanted to apply statistics to new problems</a:t>
            </a:r>
            <a:endParaRPr sz="2267" kern="0">
              <a:solidFill>
                <a:srgbClr val="4E4E4E"/>
              </a:solidFill>
              <a:latin typeface="Inter"/>
              <a:ea typeface="Inter"/>
              <a:cs typeface="Inter"/>
              <a:sym typeface="Inter"/>
            </a:endParaRPr>
          </a:p>
          <a:p>
            <a:pPr defTabSz="1219170">
              <a:lnSpc>
                <a:spcPct val="115000"/>
              </a:lnSpc>
              <a:buClr>
                <a:srgbClr val="000000"/>
              </a:buClr>
            </a:pPr>
            <a:r>
              <a:rPr lang="en" sz="2267" kern="0">
                <a:solidFill>
                  <a:srgbClr val="4E4E4E"/>
                </a:solidFill>
                <a:latin typeface="Inter"/>
                <a:ea typeface="Inter"/>
                <a:cs typeface="Inter"/>
                <a:sym typeface="Inter"/>
              </a:rPr>
              <a:t>	-&gt; Became interested in economics &amp; the markets</a:t>
            </a:r>
            <a:endParaRPr sz="2267" kern="0">
              <a:solidFill>
                <a:srgbClr val="4E4E4E"/>
              </a:solidFill>
              <a:latin typeface="Inter"/>
              <a:ea typeface="Inter"/>
              <a:cs typeface="Inter"/>
              <a:sym typeface="Inter"/>
            </a:endParaRPr>
          </a:p>
          <a:p>
            <a:pPr defTabSz="1219170">
              <a:lnSpc>
                <a:spcPct val="115000"/>
              </a:lnSpc>
              <a:buClr>
                <a:srgbClr val="000000"/>
              </a:buClr>
            </a:pPr>
            <a:endParaRPr sz="2267" kern="0">
              <a:solidFill>
                <a:srgbClr val="4E4E4E"/>
              </a:solidFill>
              <a:latin typeface="Inter"/>
              <a:ea typeface="Inter"/>
              <a:cs typeface="Inter"/>
              <a:sym typeface="Inter"/>
            </a:endParaRPr>
          </a:p>
          <a:p>
            <a:pPr defTabSz="1219170">
              <a:lnSpc>
                <a:spcPct val="115000"/>
              </a:lnSpc>
              <a:buClr>
                <a:srgbClr val="000000"/>
              </a:buClr>
            </a:pPr>
            <a:r>
              <a:rPr lang="en" sz="2267" b="1" kern="0">
                <a:solidFill>
                  <a:srgbClr val="4E4E4E"/>
                </a:solidFill>
                <a:latin typeface="Inter"/>
                <a:ea typeface="Inter"/>
                <a:cs typeface="Inter"/>
                <a:sym typeface="Inter"/>
              </a:rPr>
              <a:t>Quantitative researcher</a:t>
            </a:r>
            <a:r>
              <a:rPr lang="en" sz="2267" kern="0">
                <a:solidFill>
                  <a:srgbClr val="4E4E4E"/>
                </a:solidFill>
                <a:latin typeface="Inter"/>
                <a:ea typeface="Inter"/>
                <a:cs typeface="Inter"/>
                <a:sym typeface="Inter"/>
              </a:rPr>
              <a:t> at Winton Capital</a:t>
            </a:r>
            <a:endParaRPr sz="2267" kern="0">
              <a:solidFill>
                <a:srgbClr val="4E4E4E"/>
              </a:solidFill>
              <a:latin typeface="Inter"/>
              <a:ea typeface="Inter"/>
              <a:cs typeface="Inter"/>
              <a:sym typeface="Inter"/>
            </a:endParaRPr>
          </a:p>
          <a:p>
            <a:pPr defTabSz="1219170">
              <a:lnSpc>
                <a:spcPct val="115000"/>
              </a:lnSpc>
              <a:buClr>
                <a:srgbClr val="000000"/>
              </a:buClr>
            </a:pPr>
            <a:r>
              <a:rPr lang="en" sz="2267" kern="0">
                <a:solidFill>
                  <a:srgbClr val="4E4E4E"/>
                </a:solidFill>
                <a:latin typeface="Inter"/>
                <a:ea typeface="Inter"/>
                <a:cs typeface="Inter"/>
                <a:sym typeface="Inter"/>
              </a:rPr>
              <a:t>	→ Large hedge fund, scientifically-driven</a:t>
            </a:r>
            <a:endParaRPr sz="2267" kern="0">
              <a:solidFill>
                <a:srgbClr val="4E4E4E"/>
              </a:solidFill>
              <a:latin typeface="Inter"/>
              <a:ea typeface="Inter"/>
              <a:cs typeface="Inter"/>
              <a:sym typeface="Inter"/>
            </a:endParaRPr>
          </a:p>
          <a:p>
            <a:pPr defTabSz="1219170">
              <a:lnSpc>
                <a:spcPct val="115000"/>
              </a:lnSpc>
              <a:buClr>
                <a:srgbClr val="000000"/>
              </a:buClr>
            </a:pPr>
            <a:r>
              <a:rPr lang="en" sz="2267" kern="0">
                <a:solidFill>
                  <a:srgbClr val="4E4E4E"/>
                </a:solidFill>
                <a:latin typeface="Inter"/>
                <a:ea typeface="Inter"/>
                <a:cs typeface="Inter"/>
                <a:sym typeface="Inter"/>
              </a:rPr>
              <a:t>	-&gt; Statistics to forecast trends in commodities, currencies, rates, equities over days/weeks/months</a:t>
            </a:r>
            <a:endParaRPr sz="2267" kern="0">
              <a:solidFill>
                <a:srgbClr val="4E4E4E"/>
              </a:solidFill>
              <a:latin typeface="Inter"/>
              <a:ea typeface="Inter"/>
              <a:cs typeface="Inter"/>
              <a:sym typeface="Inter"/>
            </a:endParaRPr>
          </a:p>
          <a:p>
            <a:pPr defTabSz="1219170">
              <a:lnSpc>
                <a:spcPct val="115000"/>
              </a:lnSpc>
              <a:buClr>
                <a:srgbClr val="000000"/>
              </a:buClr>
            </a:pPr>
            <a:r>
              <a:rPr lang="en" sz="2267" kern="0">
                <a:solidFill>
                  <a:srgbClr val="4E4E4E"/>
                </a:solidFill>
                <a:latin typeface="Inter"/>
                <a:ea typeface="Inter"/>
                <a:cs typeface="Inter"/>
                <a:sym typeface="Inter"/>
              </a:rPr>
              <a:t>	→ Wanted to explore one other topic before “deciding” …</a:t>
            </a:r>
            <a:endParaRPr sz="2267" kern="0">
              <a:solidFill>
                <a:srgbClr val="4E4E4E"/>
              </a:solidFill>
              <a:latin typeface="Inter"/>
              <a:ea typeface="Inter"/>
              <a:cs typeface="Inter"/>
              <a:sym typeface="Inter"/>
            </a:endParaRPr>
          </a:p>
          <a:p>
            <a:pPr defTabSz="1219170">
              <a:lnSpc>
                <a:spcPct val="115000"/>
              </a:lnSpc>
              <a:buClr>
                <a:srgbClr val="000000"/>
              </a:buClr>
            </a:pPr>
            <a:r>
              <a:rPr lang="en" sz="2400" kern="0">
                <a:solidFill>
                  <a:srgbClr val="4E4E4E"/>
                </a:solidFill>
                <a:latin typeface="Inter"/>
                <a:ea typeface="Inter"/>
                <a:cs typeface="Inter"/>
                <a:sym typeface="Inter"/>
              </a:rPr>
              <a:t> </a:t>
            </a:r>
            <a:endParaRPr sz="2400" kern="0">
              <a:solidFill>
                <a:srgbClr val="4E4E4E"/>
              </a:solidFill>
              <a:latin typeface="Inter"/>
              <a:ea typeface="Inter"/>
              <a:cs typeface="Inter"/>
              <a:sym typeface="Inter"/>
            </a:endParaRPr>
          </a:p>
          <a:p>
            <a:pPr defTabSz="1219170">
              <a:lnSpc>
                <a:spcPct val="115000"/>
              </a:lnSpc>
              <a:buClr>
                <a:srgbClr val="000000"/>
              </a:buClr>
            </a:pPr>
            <a:endParaRPr sz="1333" kern="0">
              <a:solidFill>
                <a:srgbClr val="4E4E4E"/>
              </a:solidFill>
              <a:latin typeface="Inter"/>
              <a:ea typeface="Inter"/>
              <a:cs typeface="Inter"/>
              <a:sym typeface="Inter"/>
            </a:endParaRPr>
          </a:p>
          <a:p>
            <a:pPr defTabSz="1219170">
              <a:lnSpc>
                <a:spcPct val="115000"/>
              </a:lnSpc>
              <a:buClr>
                <a:srgbClr val="000000"/>
              </a:buClr>
            </a:pPr>
            <a:endParaRPr sz="1333" kern="0">
              <a:solidFill>
                <a:srgbClr val="4E4E4E"/>
              </a:solidFill>
              <a:latin typeface="Inter"/>
              <a:ea typeface="Inter"/>
              <a:cs typeface="Inter"/>
              <a:sym typeface="Inter"/>
            </a:endParaRPr>
          </a:p>
          <a:p>
            <a:pPr defTabSz="1219170">
              <a:lnSpc>
                <a:spcPct val="115000"/>
              </a:lnSpc>
              <a:buClr>
                <a:srgbClr val="000000"/>
              </a:buClr>
            </a:pPr>
            <a:endParaRPr sz="1333" kern="0">
              <a:solidFill>
                <a:srgbClr val="4E4E4E"/>
              </a:solidFill>
              <a:latin typeface="Inter"/>
              <a:ea typeface="Inter"/>
              <a:cs typeface="Inter"/>
              <a:sym typeface="Inter"/>
            </a:endParaRPr>
          </a:p>
          <a:p>
            <a:pPr defTabSz="1219170">
              <a:lnSpc>
                <a:spcPct val="115000"/>
              </a:lnSpc>
              <a:buClr>
                <a:srgbClr val="000000"/>
              </a:buClr>
            </a:pPr>
            <a:endParaRPr sz="1333" kern="0">
              <a:solidFill>
                <a:srgbClr val="4E4E4E"/>
              </a:solidFill>
              <a:latin typeface="Inter"/>
              <a:ea typeface="Inter"/>
              <a:cs typeface="Inter"/>
              <a:sym typeface="Inter"/>
            </a:endParaRPr>
          </a:p>
          <a:p>
            <a:pPr defTabSz="1219170">
              <a:lnSpc>
                <a:spcPct val="115000"/>
              </a:lnSpc>
              <a:buClr>
                <a:srgbClr val="000000"/>
              </a:buClr>
            </a:pPr>
            <a:endParaRPr sz="1333" kern="0">
              <a:solidFill>
                <a:srgbClr val="4E4E4E"/>
              </a:solidFill>
              <a:latin typeface="Inter"/>
              <a:ea typeface="Inter"/>
              <a:cs typeface="Inter"/>
              <a:sym typeface="Inter"/>
            </a:endParaRPr>
          </a:p>
          <a:p>
            <a:pPr defTabSz="1219170">
              <a:lnSpc>
                <a:spcPct val="115000"/>
              </a:lnSpc>
              <a:buClr>
                <a:srgbClr val="000000"/>
              </a:buClr>
            </a:pPr>
            <a:endParaRPr sz="1333" kern="0">
              <a:solidFill>
                <a:srgbClr val="4E4E4E"/>
              </a:solidFill>
              <a:latin typeface="Inter"/>
              <a:ea typeface="Inter"/>
              <a:cs typeface="Inter"/>
              <a:sym typeface="Inter"/>
            </a:endParaRPr>
          </a:p>
          <a:p>
            <a:pPr defTabSz="1219170">
              <a:lnSpc>
                <a:spcPct val="115000"/>
              </a:lnSpc>
              <a:buClr>
                <a:srgbClr val="000000"/>
              </a:buClr>
            </a:pPr>
            <a:endParaRPr sz="1333" kern="0">
              <a:solidFill>
                <a:srgbClr val="4E4E4E"/>
              </a:solidFill>
              <a:latin typeface="Inter"/>
              <a:ea typeface="Inter"/>
              <a:cs typeface="Inter"/>
              <a:sym typeface="Inter"/>
            </a:endParaRPr>
          </a:p>
          <a:p>
            <a:pPr defTabSz="1219170">
              <a:lnSpc>
                <a:spcPct val="115000"/>
              </a:lnSpc>
              <a:buClr>
                <a:srgbClr val="000000"/>
              </a:buClr>
            </a:pPr>
            <a:endParaRPr sz="1333" kern="0">
              <a:solidFill>
                <a:srgbClr val="4E4E4E"/>
              </a:solidFill>
              <a:latin typeface="Inter"/>
              <a:ea typeface="Inter"/>
              <a:cs typeface="Inter"/>
              <a:sym typeface="Inter"/>
            </a:endParaRPr>
          </a:p>
          <a:p>
            <a:pPr defTabSz="1219170">
              <a:lnSpc>
                <a:spcPct val="115000"/>
              </a:lnSpc>
              <a:buClr>
                <a:srgbClr val="000000"/>
              </a:buClr>
            </a:pPr>
            <a:endParaRPr sz="1333" kern="0">
              <a:solidFill>
                <a:srgbClr val="4E4E4E"/>
              </a:solidFill>
              <a:latin typeface="Inter"/>
              <a:ea typeface="Inter"/>
              <a:cs typeface="Inter"/>
              <a:sym typeface="Inter"/>
            </a:endParaRPr>
          </a:p>
          <a:p>
            <a:pPr defTabSz="1219170">
              <a:lnSpc>
                <a:spcPct val="115000"/>
              </a:lnSpc>
              <a:buClr>
                <a:srgbClr val="000000"/>
              </a:buClr>
            </a:pPr>
            <a:endParaRPr sz="1333" kern="0">
              <a:solidFill>
                <a:srgbClr val="4E4E4E"/>
              </a:solidFill>
              <a:latin typeface="Inter"/>
              <a:ea typeface="Inter"/>
              <a:cs typeface="Inter"/>
              <a:sym typeface="Inter"/>
            </a:endParaRPr>
          </a:p>
          <a:p>
            <a:pPr defTabSz="1219170">
              <a:lnSpc>
                <a:spcPct val="115000"/>
              </a:lnSpc>
              <a:buClr>
                <a:srgbClr val="000000"/>
              </a:buClr>
            </a:pPr>
            <a:endParaRPr sz="1333" kern="0">
              <a:solidFill>
                <a:srgbClr val="4E4E4E"/>
              </a:solidFill>
              <a:latin typeface="Inter"/>
              <a:ea typeface="Inter"/>
              <a:cs typeface="Inter"/>
              <a:sym typeface="Inter"/>
            </a:endParaRPr>
          </a:p>
          <a:p>
            <a:pPr defTabSz="1219170">
              <a:lnSpc>
                <a:spcPct val="115000"/>
              </a:lnSpc>
              <a:buClr>
                <a:srgbClr val="000000"/>
              </a:buClr>
            </a:pPr>
            <a:endParaRPr sz="1333" kern="0">
              <a:solidFill>
                <a:srgbClr val="4E4E4E"/>
              </a:solidFill>
              <a:latin typeface="Inter"/>
              <a:ea typeface="Inter"/>
              <a:cs typeface="Inter"/>
              <a:sym typeface="Inter"/>
            </a:endParaRPr>
          </a:p>
        </p:txBody>
      </p:sp>
      <p:pic>
        <p:nvPicPr>
          <p:cNvPr id="91" name="Google Shape;91;p16"/>
          <p:cNvPicPr preferRelativeResize="0"/>
          <p:nvPr/>
        </p:nvPicPr>
        <p:blipFill>
          <a:blip r:embed="rId3">
            <a:alphaModFix/>
          </a:blip>
          <a:stretch>
            <a:fillRect/>
          </a:stretch>
        </p:blipFill>
        <p:spPr>
          <a:xfrm>
            <a:off x="609600" y="6059425"/>
            <a:ext cx="1060707" cy="243079"/>
          </a:xfrm>
          <a:prstGeom prst="rect">
            <a:avLst/>
          </a:prstGeom>
          <a:noFill/>
          <a:ln>
            <a:noFill/>
          </a:ln>
        </p:spPr>
      </p:pic>
      <p:sp>
        <p:nvSpPr>
          <p:cNvPr id="92" name="Google Shape;92;p16"/>
          <p:cNvSpPr txBox="1"/>
          <p:nvPr/>
        </p:nvSpPr>
        <p:spPr>
          <a:xfrm>
            <a:off x="3011000" y="121600"/>
            <a:ext cx="6415600" cy="370000"/>
          </a:xfrm>
          <a:prstGeom prst="rect">
            <a:avLst/>
          </a:prstGeom>
          <a:noFill/>
          <a:ln>
            <a:noFill/>
          </a:ln>
        </p:spPr>
        <p:txBody>
          <a:bodyPr spcFirstLastPara="1" wrap="square" lIns="0" tIns="0" rIns="0" bIns="0" anchor="t" anchorCtr="0">
            <a:noAutofit/>
          </a:bodyPr>
          <a:lstStyle/>
          <a:p>
            <a:pPr algn="ctr" defTabSz="1219170">
              <a:lnSpc>
                <a:spcPct val="80000"/>
              </a:lnSpc>
              <a:buClr>
                <a:srgbClr val="000000"/>
              </a:buClr>
            </a:pPr>
            <a:r>
              <a:rPr lang="en" sz="2667" i="1" kern="0">
                <a:solidFill>
                  <a:srgbClr val="1F1F1F"/>
                </a:solidFill>
                <a:latin typeface="Inter Tight SemiBold"/>
                <a:ea typeface="Inter Tight SemiBold"/>
                <a:cs typeface="Inter Tight SemiBold"/>
                <a:sym typeface="Inter Tight SemiBold"/>
              </a:rPr>
              <a:t>How I got there</a:t>
            </a:r>
            <a:r>
              <a:rPr lang="en" sz="1867" i="1" kern="0">
                <a:solidFill>
                  <a:srgbClr val="1F1F1F"/>
                </a:solidFill>
                <a:latin typeface="Inter Tight SemiBold"/>
                <a:ea typeface="Inter Tight SemiBold"/>
                <a:cs typeface="Inter Tight SemiBold"/>
                <a:sym typeface="Inter Tight SemiBold"/>
              </a:rPr>
              <a:t> </a:t>
            </a:r>
            <a:endParaRPr sz="1867" i="1" kern="0">
              <a:solidFill>
                <a:srgbClr val="1F1F1F"/>
              </a:solidFill>
              <a:latin typeface="Inter Tight SemiBold"/>
              <a:ea typeface="Inter Tight SemiBold"/>
              <a:cs typeface="Inter Tight SemiBold"/>
              <a:sym typeface="Inter Tight SemiBold"/>
            </a:endParaRPr>
          </a:p>
        </p:txBody>
      </p:sp>
      <p:sp>
        <p:nvSpPr>
          <p:cNvPr id="93" name="Google Shape;93;p16"/>
          <p:cNvSpPr txBox="1"/>
          <p:nvPr/>
        </p:nvSpPr>
        <p:spPr>
          <a:xfrm>
            <a:off x="8223367" y="1461200"/>
            <a:ext cx="3202800" cy="1202400"/>
          </a:xfrm>
          <a:prstGeom prst="rect">
            <a:avLst/>
          </a:prstGeom>
          <a:noFill/>
          <a:ln>
            <a:noFill/>
          </a:ln>
        </p:spPr>
        <p:txBody>
          <a:bodyPr spcFirstLastPara="1" wrap="square" lIns="0" tIns="0" rIns="0" bIns="0" anchor="t" anchorCtr="0">
            <a:noAutofit/>
          </a:bodyPr>
          <a:lstStyle/>
          <a:p>
            <a:pPr defTabSz="1219170">
              <a:lnSpc>
                <a:spcPct val="80000"/>
              </a:lnSpc>
              <a:buClr>
                <a:srgbClr val="000000"/>
              </a:buClr>
            </a:pPr>
            <a:endParaRPr sz="3467" b="1" kern="0">
              <a:solidFill>
                <a:srgbClr val="1F1F1F"/>
              </a:solidFill>
              <a:latin typeface="Inter Tight"/>
              <a:ea typeface="Inter Tight"/>
              <a:cs typeface="Inter Tight"/>
              <a:sym typeface="Inter Tight"/>
            </a:endParaRPr>
          </a:p>
        </p:txBody>
      </p:sp>
      <p:sp>
        <p:nvSpPr>
          <p:cNvPr id="94" name="Google Shape;94;p16"/>
          <p:cNvSpPr txBox="1"/>
          <p:nvPr/>
        </p:nvSpPr>
        <p:spPr>
          <a:xfrm>
            <a:off x="8465600" y="2581167"/>
            <a:ext cx="3672000" cy="707846"/>
          </a:xfrm>
          <a:prstGeom prst="rect">
            <a:avLst/>
          </a:prstGeom>
          <a:noFill/>
          <a:ln>
            <a:noFill/>
          </a:ln>
        </p:spPr>
        <p:txBody>
          <a:bodyPr spcFirstLastPara="1" wrap="square" lIns="121900" tIns="121900" rIns="121900" bIns="121900" anchor="t" anchorCtr="0">
            <a:spAutoFit/>
          </a:bodyPr>
          <a:lstStyle/>
          <a:p>
            <a:pPr defTabSz="1219170">
              <a:lnSpc>
                <a:spcPct val="150000"/>
              </a:lnSpc>
              <a:buClr>
                <a:srgbClr val="000000"/>
              </a:buClr>
            </a:pPr>
            <a:endParaRPr sz="2000" kern="0">
              <a:solidFill>
                <a:srgbClr val="000000"/>
              </a:solidFill>
              <a:latin typeface="Arial"/>
              <a:cs typeface="Arial"/>
              <a:sym typeface="Arial"/>
            </a:endParaRPr>
          </a:p>
        </p:txBody>
      </p:sp>
      <p:sp>
        <p:nvSpPr>
          <p:cNvPr id="95" name="Google Shape;95;p16"/>
          <p:cNvSpPr txBox="1"/>
          <p:nvPr/>
        </p:nvSpPr>
        <p:spPr>
          <a:xfrm>
            <a:off x="8465600" y="3497834"/>
            <a:ext cx="3536400" cy="707846"/>
          </a:xfrm>
          <a:prstGeom prst="rect">
            <a:avLst/>
          </a:prstGeom>
          <a:noFill/>
          <a:ln>
            <a:noFill/>
          </a:ln>
        </p:spPr>
        <p:txBody>
          <a:bodyPr spcFirstLastPara="1" wrap="square" lIns="121900" tIns="121900" rIns="121900" bIns="121900" anchor="t" anchorCtr="0">
            <a:spAutoFit/>
          </a:bodyPr>
          <a:lstStyle/>
          <a:p>
            <a:pPr defTabSz="1219170">
              <a:lnSpc>
                <a:spcPct val="150000"/>
              </a:lnSpc>
              <a:buClr>
                <a:srgbClr val="000000"/>
              </a:buClr>
            </a:pPr>
            <a:endParaRPr sz="2000" kern="0">
              <a:solidFill>
                <a:srgbClr val="000000"/>
              </a:solidFill>
              <a:latin typeface="Arial"/>
              <a:cs typeface="Arial"/>
              <a:sym typeface="Arial"/>
            </a:endParaRPr>
          </a:p>
        </p:txBody>
      </p:sp>
      <p:sp>
        <p:nvSpPr>
          <p:cNvPr id="96" name="Google Shape;96;p16"/>
          <p:cNvSpPr txBox="1"/>
          <p:nvPr/>
        </p:nvSpPr>
        <p:spPr>
          <a:xfrm>
            <a:off x="7727400" y="4283734"/>
            <a:ext cx="3536400" cy="492530"/>
          </a:xfrm>
          <a:prstGeom prst="rect">
            <a:avLst/>
          </a:prstGeom>
          <a:noFill/>
          <a:ln>
            <a:noFill/>
          </a:ln>
        </p:spPr>
        <p:txBody>
          <a:bodyPr spcFirstLastPara="1" wrap="square" lIns="121900" tIns="121900" rIns="121900" bIns="121900" anchor="t" anchorCtr="0">
            <a:spAutoFit/>
          </a:bodyPr>
          <a:lstStyle/>
          <a:p>
            <a:pPr defTabSz="1219170">
              <a:lnSpc>
                <a:spcPct val="150000"/>
              </a:lnSpc>
              <a:buClr>
                <a:srgbClr val="000000"/>
              </a:buClr>
            </a:pPr>
            <a:endParaRPr sz="1067" b="1" kern="0">
              <a:solidFill>
                <a:srgbClr val="CC0000"/>
              </a:solidFill>
              <a:latin typeface="Courier New"/>
              <a:ea typeface="Courier New"/>
              <a:cs typeface="Courier New"/>
              <a:sym typeface="Courier New"/>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100"/>
        <p:cNvGrpSpPr/>
        <p:nvPr/>
      </p:nvGrpSpPr>
      <p:grpSpPr>
        <a:xfrm>
          <a:off x="0" y="0"/>
          <a:ext cx="0" cy="0"/>
          <a:chOff x="0" y="0"/>
          <a:chExt cx="0" cy="0"/>
        </a:xfrm>
      </p:grpSpPr>
      <p:sp>
        <p:nvSpPr>
          <p:cNvPr id="101" name="Google Shape;101;p17"/>
          <p:cNvSpPr/>
          <p:nvPr/>
        </p:nvSpPr>
        <p:spPr>
          <a:xfrm>
            <a:off x="200" y="0"/>
            <a:ext cx="12192000" cy="6965600"/>
          </a:xfrm>
          <a:prstGeom prst="rect">
            <a:avLst/>
          </a:prstGeom>
          <a:solidFill>
            <a:schemeClr val="lt2"/>
          </a:solidFill>
          <a:ln>
            <a:noFill/>
          </a:ln>
        </p:spPr>
        <p:txBody>
          <a:bodyPr spcFirstLastPara="1" wrap="square" lIns="0" tIns="0" rIns="0" bIns="0" anchor="ctr" anchorCtr="0">
            <a:noAutofit/>
          </a:bodyPr>
          <a:lstStyle/>
          <a:p>
            <a:pPr algn="ctr" defTabSz="1219170">
              <a:buClr>
                <a:srgbClr val="000000"/>
              </a:buClr>
            </a:pPr>
            <a:endParaRPr sz="1867" kern="0">
              <a:solidFill>
                <a:srgbClr val="000000"/>
              </a:solidFill>
              <a:latin typeface="Arial"/>
              <a:cs typeface="Arial"/>
              <a:sym typeface="Arial"/>
            </a:endParaRPr>
          </a:p>
        </p:txBody>
      </p:sp>
      <p:sp>
        <p:nvSpPr>
          <p:cNvPr id="102" name="Google Shape;102;p17"/>
          <p:cNvSpPr txBox="1"/>
          <p:nvPr/>
        </p:nvSpPr>
        <p:spPr>
          <a:xfrm>
            <a:off x="855400" y="683333"/>
            <a:ext cx="10726800" cy="4582000"/>
          </a:xfrm>
          <a:prstGeom prst="rect">
            <a:avLst/>
          </a:prstGeom>
          <a:noFill/>
          <a:ln>
            <a:noFill/>
          </a:ln>
        </p:spPr>
        <p:txBody>
          <a:bodyPr spcFirstLastPara="1" wrap="square" lIns="0" tIns="0" rIns="609600" bIns="0" anchor="t" anchorCtr="0">
            <a:noAutofit/>
          </a:bodyPr>
          <a:lstStyle/>
          <a:p>
            <a:pPr defTabSz="1219170">
              <a:lnSpc>
                <a:spcPct val="115000"/>
              </a:lnSpc>
              <a:buClr>
                <a:srgbClr val="000000"/>
              </a:buClr>
            </a:pPr>
            <a:r>
              <a:rPr lang="en" sz="2133" b="1" kern="0">
                <a:solidFill>
                  <a:srgbClr val="4E4E4E"/>
                </a:solidFill>
                <a:latin typeface="Inter"/>
                <a:ea typeface="Inter"/>
                <a:cs typeface="Inter"/>
                <a:sym typeface="Inter"/>
              </a:rPr>
              <a:t>PostDoc take two</a:t>
            </a:r>
            <a:r>
              <a:rPr lang="en" sz="2133" kern="0">
                <a:solidFill>
                  <a:srgbClr val="4E4E4E"/>
                </a:solidFill>
                <a:latin typeface="Inter"/>
                <a:ea typeface="Inter"/>
                <a:cs typeface="Inter"/>
                <a:sym typeface="Inter"/>
              </a:rPr>
              <a:t>: Computational cancer biology/research fellowship </a:t>
            </a:r>
            <a:endParaRPr sz="2133" kern="0">
              <a:solidFill>
                <a:srgbClr val="4E4E4E"/>
              </a:solidFill>
              <a:latin typeface="Inter"/>
              <a:ea typeface="Inter"/>
              <a:cs typeface="Inter"/>
              <a:sym typeface="Inter"/>
            </a:endParaRPr>
          </a:p>
          <a:p>
            <a:pPr indent="609585" defTabSz="1219170">
              <a:lnSpc>
                <a:spcPct val="115000"/>
              </a:lnSpc>
              <a:buClr>
                <a:srgbClr val="000000"/>
              </a:buClr>
            </a:pPr>
            <a:r>
              <a:rPr lang="en" sz="2133" kern="0">
                <a:solidFill>
                  <a:srgbClr val="4E4E4E"/>
                </a:solidFill>
                <a:latin typeface="Inter"/>
                <a:ea typeface="Inter"/>
                <a:cs typeface="Inter"/>
                <a:sym typeface="Inter"/>
              </a:rPr>
              <a:t>→ Statistical techniques applied in finance, now for cancer growth</a:t>
            </a:r>
            <a:endParaRPr sz="2133" kern="0">
              <a:solidFill>
                <a:srgbClr val="4E4E4E"/>
              </a:solidFill>
              <a:latin typeface="Inter"/>
              <a:ea typeface="Inter"/>
              <a:cs typeface="Inter"/>
              <a:sym typeface="Inter"/>
            </a:endParaRPr>
          </a:p>
          <a:p>
            <a:pPr indent="609585" defTabSz="1219170">
              <a:lnSpc>
                <a:spcPct val="115000"/>
              </a:lnSpc>
              <a:buClr>
                <a:srgbClr val="000000"/>
              </a:buClr>
            </a:pPr>
            <a:r>
              <a:rPr lang="en" sz="2133" kern="0">
                <a:solidFill>
                  <a:srgbClr val="4E4E4E"/>
                </a:solidFill>
                <a:latin typeface="Inter"/>
                <a:ea typeface="Inter"/>
                <a:cs typeface="Inter"/>
                <a:sym typeface="Inter"/>
              </a:rPr>
              <a:t>-&gt; Maths models of gene regulation to understand how the immune system responds to lung cancer</a:t>
            </a:r>
            <a:endParaRPr sz="2133" kern="0">
              <a:solidFill>
                <a:srgbClr val="4E4E4E"/>
              </a:solidFill>
              <a:latin typeface="Inter"/>
              <a:ea typeface="Inter"/>
              <a:cs typeface="Inter"/>
              <a:sym typeface="Inter"/>
            </a:endParaRPr>
          </a:p>
          <a:p>
            <a:pPr indent="609585" defTabSz="1219170">
              <a:lnSpc>
                <a:spcPct val="115000"/>
              </a:lnSpc>
              <a:buClr>
                <a:srgbClr val="000000"/>
              </a:buClr>
            </a:pPr>
            <a:r>
              <a:rPr lang="en" sz="2133" kern="0">
                <a:solidFill>
                  <a:srgbClr val="4E4E4E"/>
                </a:solidFill>
                <a:latin typeface="Inter"/>
                <a:ea typeface="Inter"/>
                <a:cs typeface="Inter"/>
                <a:sym typeface="Inter"/>
              </a:rPr>
              <a:t>-&gt; Decided ultimately problems in economics appealed most to me</a:t>
            </a:r>
            <a:endParaRPr sz="2133" kern="0">
              <a:solidFill>
                <a:srgbClr val="4E4E4E"/>
              </a:solidFill>
              <a:latin typeface="Inter"/>
              <a:ea typeface="Inter"/>
              <a:cs typeface="Inter"/>
              <a:sym typeface="Inter"/>
            </a:endParaRPr>
          </a:p>
          <a:p>
            <a:pPr indent="609585" defTabSz="1219170">
              <a:lnSpc>
                <a:spcPct val="115000"/>
              </a:lnSpc>
              <a:buClr>
                <a:srgbClr val="000000"/>
              </a:buClr>
            </a:pPr>
            <a:endParaRPr sz="2133" kern="0">
              <a:solidFill>
                <a:srgbClr val="4E4E4E"/>
              </a:solidFill>
              <a:latin typeface="Inter"/>
              <a:ea typeface="Inter"/>
              <a:cs typeface="Inter"/>
              <a:sym typeface="Inter"/>
            </a:endParaRPr>
          </a:p>
          <a:p>
            <a:pPr defTabSz="1219170">
              <a:lnSpc>
                <a:spcPct val="115000"/>
              </a:lnSpc>
              <a:buClr>
                <a:srgbClr val="000000"/>
              </a:buClr>
            </a:pPr>
            <a:endParaRPr sz="2267" kern="0">
              <a:solidFill>
                <a:srgbClr val="4E4E4E"/>
              </a:solidFill>
              <a:latin typeface="Inter"/>
              <a:ea typeface="Inter"/>
              <a:cs typeface="Inter"/>
              <a:sym typeface="Inter"/>
            </a:endParaRPr>
          </a:p>
          <a:p>
            <a:pPr defTabSz="1219170">
              <a:lnSpc>
                <a:spcPct val="115000"/>
              </a:lnSpc>
              <a:buClr>
                <a:srgbClr val="000000"/>
              </a:buClr>
            </a:pPr>
            <a:r>
              <a:rPr lang="en" sz="2267" kern="0">
                <a:solidFill>
                  <a:srgbClr val="4E4E4E"/>
                </a:solidFill>
                <a:latin typeface="Inter"/>
                <a:ea typeface="Inter"/>
                <a:cs typeface="Inter"/>
                <a:sym typeface="Inter"/>
              </a:rPr>
              <a:t> </a:t>
            </a:r>
            <a:endParaRPr sz="2267" kern="0">
              <a:solidFill>
                <a:srgbClr val="4E4E4E"/>
              </a:solidFill>
              <a:latin typeface="Inter"/>
              <a:ea typeface="Inter"/>
              <a:cs typeface="Inter"/>
              <a:sym typeface="Inter"/>
            </a:endParaRPr>
          </a:p>
          <a:p>
            <a:pPr defTabSz="1219170">
              <a:lnSpc>
                <a:spcPct val="115000"/>
              </a:lnSpc>
              <a:buClr>
                <a:srgbClr val="000000"/>
              </a:buClr>
            </a:pPr>
            <a:endParaRPr sz="2267" kern="0">
              <a:solidFill>
                <a:srgbClr val="4E4E4E"/>
              </a:solidFill>
              <a:latin typeface="Inter"/>
              <a:ea typeface="Inter"/>
              <a:cs typeface="Inter"/>
              <a:sym typeface="Inter"/>
            </a:endParaRPr>
          </a:p>
          <a:p>
            <a:pPr defTabSz="1219170">
              <a:lnSpc>
                <a:spcPct val="115000"/>
              </a:lnSpc>
              <a:buClr>
                <a:srgbClr val="000000"/>
              </a:buClr>
            </a:pPr>
            <a:endParaRPr sz="2267" kern="0">
              <a:solidFill>
                <a:srgbClr val="4E4E4E"/>
              </a:solidFill>
              <a:latin typeface="Inter"/>
              <a:ea typeface="Inter"/>
              <a:cs typeface="Inter"/>
              <a:sym typeface="Inter"/>
            </a:endParaRPr>
          </a:p>
          <a:p>
            <a:pPr defTabSz="1219170">
              <a:lnSpc>
                <a:spcPct val="115000"/>
              </a:lnSpc>
              <a:buClr>
                <a:srgbClr val="000000"/>
              </a:buClr>
            </a:pPr>
            <a:endParaRPr sz="2267" kern="0">
              <a:solidFill>
                <a:srgbClr val="4E4E4E"/>
              </a:solidFill>
              <a:latin typeface="Inter"/>
              <a:ea typeface="Inter"/>
              <a:cs typeface="Inter"/>
              <a:sym typeface="Inter"/>
            </a:endParaRPr>
          </a:p>
          <a:p>
            <a:pPr defTabSz="1219170">
              <a:lnSpc>
                <a:spcPct val="115000"/>
              </a:lnSpc>
              <a:buClr>
                <a:srgbClr val="000000"/>
              </a:buClr>
            </a:pPr>
            <a:endParaRPr sz="1333" kern="0">
              <a:solidFill>
                <a:srgbClr val="4E4E4E"/>
              </a:solidFill>
              <a:latin typeface="Inter"/>
              <a:ea typeface="Inter"/>
              <a:cs typeface="Inter"/>
              <a:sym typeface="Inter"/>
            </a:endParaRPr>
          </a:p>
          <a:p>
            <a:pPr defTabSz="1219170">
              <a:lnSpc>
                <a:spcPct val="115000"/>
              </a:lnSpc>
              <a:buClr>
                <a:srgbClr val="000000"/>
              </a:buClr>
            </a:pPr>
            <a:endParaRPr sz="1333" kern="0">
              <a:solidFill>
                <a:srgbClr val="4E4E4E"/>
              </a:solidFill>
              <a:latin typeface="Inter"/>
              <a:ea typeface="Inter"/>
              <a:cs typeface="Inter"/>
              <a:sym typeface="Inter"/>
            </a:endParaRPr>
          </a:p>
          <a:p>
            <a:pPr defTabSz="1219170">
              <a:lnSpc>
                <a:spcPct val="115000"/>
              </a:lnSpc>
              <a:buClr>
                <a:srgbClr val="000000"/>
              </a:buClr>
            </a:pPr>
            <a:endParaRPr sz="1333" kern="0">
              <a:solidFill>
                <a:srgbClr val="4E4E4E"/>
              </a:solidFill>
              <a:latin typeface="Inter"/>
              <a:ea typeface="Inter"/>
              <a:cs typeface="Inter"/>
              <a:sym typeface="Inter"/>
            </a:endParaRPr>
          </a:p>
          <a:p>
            <a:pPr defTabSz="1219170">
              <a:lnSpc>
                <a:spcPct val="115000"/>
              </a:lnSpc>
              <a:buClr>
                <a:srgbClr val="000000"/>
              </a:buClr>
            </a:pPr>
            <a:endParaRPr sz="1333" kern="0">
              <a:solidFill>
                <a:srgbClr val="4E4E4E"/>
              </a:solidFill>
              <a:latin typeface="Inter"/>
              <a:ea typeface="Inter"/>
              <a:cs typeface="Inter"/>
              <a:sym typeface="Inter"/>
            </a:endParaRPr>
          </a:p>
          <a:p>
            <a:pPr defTabSz="1219170">
              <a:lnSpc>
                <a:spcPct val="115000"/>
              </a:lnSpc>
              <a:buClr>
                <a:srgbClr val="000000"/>
              </a:buClr>
            </a:pPr>
            <a:endParaRPr sz="1333" kern="0">
              <a:solidFill>
                <a:srgbClr val="4E4E4E"/>
              </a:solidFill>
              <a:latin typeface="Inter"/>
              <a:ea typeface="Inter"/>
              <a:cs typeface="Inter"/>
              <a:sym typeface="Inter"/>
            </a:endParaRPr>
          </a:p>
          <a:p>
            <a:pPr defTabSz="1219170">
              <a:lnSpc>
                <a:spcPct val="115000"/>
              </a:lnSpc>
              <a:buClr>
                <a:srgbClr val="000000"/>
              </a:buClr>
            </a:pPr>
            <a:endParaRPr sz="1333" kern="0">
              <a:solidFill>
                <a:srgbClr val="4E4E4E"/>
              </a:solidFill>
              <a:latin typeface="Inter"/>
              <a:ea typeface="Inter"/>
              <a:cs typeface="Inter"/>
              <a:sym typeface="Inter"/>
            </a:endParaRPr>
          </a:p>
          <a:p>
            <a:pPr defTabSz="1219170">
              <a:lnSpc>
                <a:spcPct val="115000"/>
              </a:lnSpc>
              <a:buClr>
                <a:srgbClr val="000000"/>
              </a:buClr>
            </a:pPr>
            <a:endParaRPr sz="1333" kern="0">
              <a:solidFill>
                <a:srgbClr val="4E4E4E"/>
              </a:solidFill>
              <a:latin typeface="Inter"/>
              <a:ea typeface="Inter"/>
              <a:cs typeface="Inter"/>
              <a:sym typeface="Inter"/>
            </a:endParaRPr>
          </a:p>
          <a:p>
            <a:pPr defTabSz="1219170">
              <a:lnSpc>
                <a:spcPct val="115000"/>
              </a:lnSpc>
              <a:buClr>
                <a:srgbClr val="000000"/>
              </a:buClr>
            </a:pPr>
            <a:endParaRPr sz="1333" kern="0">
              <a:solidFill>
                <a:srgbClr val="4E4E4E"/>
              </a:solidFill>
              <a:latin typeface="Inter"/>
              <a:ea typeface="Inter"/>
              <a:cs typeface="Inter"/>
              <a:sym typeface="Inter"/>
            </a:endParaRPr>
          </a:p>
          <a:p>
            <a:pPr defTabSz="1219170">
              <a:lnSpc>
                <a:spcPct val="115000"/>
              </a:lnSpc>
              <a:buClr>
                <a:srgbClr val="000000"/>
              </a:buClr>
            </a:pPr>
            <a:endParaRPr sz="1333" kern="0">
              <a:solidFill>
                <a:srgbClr val="4E4E4E"/>
              </a:solidFill>
              <a:latin typeface="Inter"/>
              <a:ea typeface="Inter"/>
              <a:cs typeface="Inter"/>
              <a:sym typeface="Inter"/>
            </a:endParaRPr>
          </a:p>
        </p:txBody>
      </p:sp>
      <p:pic>
        <p:nvPicPr>
          <p:cNvPr id="103" name="Google Shape;103;p17"/>
          <p:cNvPicPr preferRelativeResize="0"/>
          <p:nvPr/>
        </p:nvPicPr>
        <p:blipFill>
          <a:blip r:embed="rId3">
            <a:alphaModFix/>
          </a:blip>
          <a:stretch>
            <a:fillRect/>
          </a:stretch>
        </p:blipFill>
        <p:spPr>
          <a:xfrm>
            <a:off x="609600" y="6059425"/>
            <a:ext cx="1060707" cy="243079"/>
          </a:xfrm>
          <a:prstGeom prst="rect">
            <a:avLst/>
          </a:prstGeom>
          <a:noFill/>
          <a:ln>
            <a:noFill/>
          </a:ln>
        </p:spPr>
      </p:pic>
      <p:sp>
        <p:nvSpPr>
          <p:cNvPr id="104" name="Google Shape;104;p17"/>
          <p:cNvSpPr txBox="1"/>
          <p:nvPr/>
        </p:nvSpPr>
        <p:spPr>
          <a:xfrm>
            <a:off x="3011000" y="121600"/>
            <a:ext cx="6415600" cy="370000"/>
          </a:xfrm>
          <a:prstGeom prst="rect">
            <a:avLst/>
          </a:prstGeom>
          <a:noFill/>
          <a:ln>
            <a:noFill/>
          </a:ln>
        </p:spPr>
        <p:txBody>
          <a:bodyPr spcFirstLastPara="1" wrap="square" lIns="0" tIns="0" rIns="0" bIns="0" anchor="t" anchorCtr="0">
            <a:noAutofit/>
          </a:bodyPr>
          <a:lstStyle/>
          <a:p>
            <a:pPr algn="ctr" defTabSz="1219170">
              <a:lnSpc>
                <a:spcPct val="80000"/>
              </a:lnSpc>
              <a:buClr>
                <a:srgbClr val="000000"/>
              </a:buClr>
            </a:pPr>
            <a:r>
              <a:rPr lang="en" sz="2667" i="1" kern="0">
                <a:solidFill>
                  <a:srgbClr val="1F1F1F"/>
                </a:solidFill>
                <a:latin typeface="Inter Tight SemiBold"/>
                <a:ea typeface="Inter Tight SemiBold"/>
                <a:cs typeface="Inter Tight SemiBold"/>
                <a:sym typeface="Inter Tight SemiBold"/>
              </a:rPr>
              <a:t>How I got there</a:t>
            </a:r>
            <a:r>
              <a:rPr lang="en" sz="1867" i="1" kern="0">
                <a:solidFill>
                  <a:srgbClr val="1F1F1F"/>
                </a:solidFill>
                <a:latin typeface="Inter Tight SemiBold"/>
                <a:ea typeface="Inter Tight SemiBold"/>
                <a:cs typeface="Inter Tight SemiBold"/>
                <a:sym typeface="Inter Tight SemiBold"/>
              </a:rPr>
              <a:t> </a:t>
            </a:r>
            <a:endParaRPr sz="1867" i="1" kern="0">
              <a:solidFill>
                <a:srgbClr val="1F1F1F"/>
              </a:solidFill>
              <a:latin typeface="Inter Tight SemiBold"/>
              <a:ea typeface="Inter Tight SemiBold"/>
              <a:cs typeface="Inter Tight SemiBold"/>
              <a:sym typeface="Inter Tight SemiBold"/>
            </a:endParaRPr>
          </a:p>
        </p:txBody>
      </p:sp>
      <p:sp>
        <p:nvSpPr>
          <p:cNvPr id="105" name="Google Shape;105;p17"/>
          <p:cNvSpPr txBox="1"/>
          <p:nvPr/>
        </p:nvSpPr>
        <p:spPr>
          <a:xfrm>
            <a:off x="8223367" y="1461200"/>
            <a:ext cx="3202800" cy="1202400"/>
          </a:xfrm>
          <a:prstGeom prst="rect">
            <a:avLst/>
          </a:prstGeom>
          <a:noFill/>
          <a:ln>
            <a:noFill/>
          </a:ln>
        </p:spPr>
        <p:txBody>
          <a:bodyPr spcFirstLastPara="1" wrap="square" lIns="0" tIns="0" rIns="0" bIns="0" anchor="t" anchorCtr="0">
            <a:noAutofit/>
          </a:bodyPr>
          <a:lstStyle/>
          <a:p>
            <a:pPr defTabSz="1219170">
              <a:lnSpc>
                <a:spcPct val="80000"/>
              </a:lnSpc>
              <a:buClr>
                <a:srgbClr val="000000"/>
              </a:buClr>
            </a:pPr>
            <a:endParaRPr sz="3467" b="1" kern="0">
              <a:solidFill>
                <a:srgbClr val="1F1F1F"/>
              </a:solidFill>
              <a:latin typeface="Inter Tight"/>
              <a:ea typeface="Inter Tight"/>
              <a:cs typeface="Inter Tight"/>
              <a:sym typeface="Inter Tight"/>
            </a:endParaRPr>
          </a:p>
        </p:txBody>
      </p:sp>
      <p:sp>
        <p:nvSpPr>
          <p:cNvPr id="106" name="Google Shape;106;p17"/>
          <p:cNvSpPr txBox="1"/>
          <p:nvPr/>
        </p:nvSpPr>
        <p:spPr>
          <a:xfrm>
            <a:off x="8465600" y="2581167"/>
            <a:ext cx="3672000" cy="707846"/>
          </a:xfrm>
          <a:prstGeom prst="rect">
            <a:avLst/>
          </a:prstGeom>
          <a:noFill/>
          <a:ln>
            <a:noFill/>
          </a:ln>
        </p:spPr>
        <p:txBody>
          <a:bodyPr spcFirstLastPara="1" wrap="square" lIns="121900" tIns="121900" rIns="121900" bIns="121900" anchor="t" anchorCtr="0">
            <a:spAutoFit/>
          </a:bodyPr>
          <a:lstStyle/>
          <a:p>
            <a:pPr defTabSz="1219170">
              <a:lnSpc>
                <a:spcPct val="150000"/>
              </a:lnSpc>
              <a:buClr>
                <a:srgbClr val="000000"/>
              </a:buClr>
            </a:pPr>
            <a:endParaRPr sz="2000" kern="0">
              <a:solidFill>
                <a:srgbClr val="000000"/>
              </a:solidFill>
              <a:latin typeface="Arial"/>
              <a:cs typeface="Arial"/>
              <a:sym typeface="Arial"/>
            </a:endParaRPr>
          </a:p>
        </p:txBody>
      </p:sp>
      <p:sp>
        <p:nvSpPr>
          <p:cNvPr id="107" name="Google Shape;107;p17"/>
          <p:cNvSpPr txBox="1"/>
          <p:nvPr/>
        </p:nvSpPr>
        <p:spPr>
          <a:xfrm>
            <a:off x="8465600" y="3497834"/>
            <a:ext cx="3536400" cy="707846"/>
          </a:xfrm>
          <a:prstGeom prst="rect">
            <a:avLst/>
          </a:prstGeom>
          <a:noFill/>
          <a:ln>
            <a:noFill/>
          </a:ln>
        </p:spPr>
        <p:txBody>
          <a:bodyPr spcFirstLastPara="1" wrap="square" lIns="121900" tIns="121900" rIns="121900" bIns="121900" anchor="t" anchorCtr="0">
            <a:spAutoFit/>
          </a:bodyPr>
          <a:lstStyle/>
          <a:p>
            <a:pPr defTabSz="1219170">
              <a:lnSpc>
                <a:spcPct val="150000"/>
              </a:lnSpc>
              <a:buClr>
                <a:srgbClr val="000000"/>
              </a:buClr>
            </a:pPr>
            <a:endParaRPr sz="2000" kern="0">
              <a:solidFill>
                <a:srgbClr val="000000"/>
              </a:solidFill>
              <a:latin typeface="Arial"/>
              <a:cs typeface="Arial"/>
              <a:sym typeface="Arial"/>
            </a:endParaRPr>
          </a:p>
        </p:txBody>
      </p:sp>
      <p:sp>
        <p:nvSpPr>
          <p:cNvPr id="108" name="Google Shape;108;p17"/>
          <p:cNvSpPr txBox="1"/>
          <p:nvPr/>
        </p:nvSpPr>
        <p:spPr>
          <a:xfrm>
            <a:off x="7727400" y="4283734"/>
            <a:ext cx="3536400" cy="492530"/>
          </a:xfrm>
          <a:prstGeom prst="rect">
            <a:avLst/>
          </a:prstGeom>
          <a:noFill/>
          <a:ln>
            <a:noFill/>
          </a:ln>
        </p:spPr>
        <p:txBody>
          <a:bodyPr spcFirstLastPara="1" wrap="square" lIns="121900" tIns="121900" rIns="121900" bIns="121900" anchor="t" anchorCtr="0">
            <a:spAutoFit/>
          </a:bodyPr>
          <a:lstStyle/>
          <a:p>
            <a:pPr defTabSz="1219170">
              <a:lnSpc>
                <a:spcPct val="150000"/>
              </a:lnSpc>
              <a:buClr>
                <a:srgbClr val="000000"/>
              </a:buClr>
            </a:pPr>
            <a:endParaRPr sz="1067" b="1" kern="0">
              <a:solidFill>
                <a:srgbClr val="CC0000"/>
              </a:solidFill>
              <a:latin typeface="Courier New"/>
              <a:ea typeface="Courier New"/>
              <a:cs typeface="Courier New"/>
              <a:sym typeface="Courier New"/>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112"/>
        <p:cNvGrpSpPr/>
        <p:nvPr/>
      </p:nvGrpSpPr>
      <p:grpSpPr>
        <a:xfrm>
          <a:off x="0" y="0"/>
          <a:ext cx="0" cy="0"/>
          <a:chOff x="0" y="0"/>
          <a:chExt cx="0" cy="0"/>
        </a:xfrm>
      </p:grpSpPr>
      <p:sp>
        <p:nvSpPr>
          <p:cNvPr id="113" name="Google Shape;113;p18"/>
          <p:cNvSpPr/>
          <p:nvPr/>
        </p:nvSpPr>
        <p:spPr>
          <a:xfrm>
            <a:off x="200" y="5900"/>
            <a:ext cx="12192000" cy="6858000"/>
          </a:xfrm>
          <a:prstGeom prst="rect">
            <a:avLst/>
          </a:prstGeom>
          <a:solidFill>
            <a:schemeClr val="lt2"/>
          </a:solidFill>
          <a:ln>
            <a:noFill/>
          </a:ln>
        </p:spPr>
        <p:txBody>
          <a:bodyPr spcFirstLastPara="1" wrap="square" lIns="0" tIns="0" rIns="0" bIns="0" anchor="ctr" anchorCtr="0">
            <a:noAutofit/>
          </a:bodyPr>
          <a:lstStyle/>
          <a:p>
            <a:pPr algn="ctr" defTabSz="1219170">
              <a:buClr>
                <a:srgbClr val="000000"/>
              </a:buClr>
            </a:pPr>
            <a:endParaRPr sz="1867" kern="0">
              <a:solidFill>
                <a:srgbClr val="000000"/>
              </a:solidFill>
              <a:latin typeface="Arial"/>
              <a:cs typeface="Arial"/>
              <a:sym typeface="Arial"/>
            </a:endParaRPr>
          </a:p>
        </p:txBody>
      </p:sp>
      <p:sp>
        <p:nvSpPr>
          <p:cNvPr id="114" name="Google Shape;114;p18"/>
          <p:cNvSpPr txBox="1"/>
          <p:nvPr/>
        </p:nvSpPr>
        <p:spPr>
          <a:xfrm>
            <a:off x="855400" y="683333"/>
            <a:ext cx="10726800" cy="4582000"/>
          </a:xfrm>
          <a:prstGeom prst="rect">
            <a:avLst/>
          </a:prstGeom>
          <a:noFill/>
          <a:ln>
            <a:noFill/>
          </a:ln>
        </p:spPr>
        <p:txBody>
          <a:bodyPr spcFirstLastPara="1" wrap="square" lIns="0" tIns="0" rIns="609600" bIns="0" anchor="t" anchorCtr="0">
            <a:noAutofit/>
          </a:bodyPr>
          <a:lstStyle/>
          <a:p>
            <a:pPr defTabSz="1219170">
              <a:lnSpc>
                <a:spcPct val="115000"/>
              </a:lnSpc>
              <a:buClr>
                <a:srgbClr val="000000"/>
              </a:buClr>
            </a:pPr>
            <a:r>
              <a:rPr lang="en" sz="2133" b="1" kern="0">
                <a:solidFill>
                  <a:srgbClr val="4E4E4E"/>
                </a:solidFill>
                <a:latin typeface="Inter"/>
                <a:ea typeface="Inter"/>
                <a:cs typeface="Inter"/>
                <a:sym typeface="Inter"/>
              </a:rPr>
              <a:t>PostDoc take two</a:t>
            </a:r>
            <a:r>
              <a:rPr lang="en" sz="2133" kern="0">
                <a:solidFill>
                  <a:srgbClr val="4E4E4E"/>
                </a:solidFill>
                <a:latin typeface="Inter"/>
                <a:ea typeface="Inter"/>
                <a:cs typeface="Inter"/>
                <a:sym typeface="Inter"/>
              </a:rPr>
              <a:t>: Computational cancer biology/research fellowship </a:t>
            </a:r>
            <a:endParaRPr sz="2133" kern="0">
              <a:solidFill>
                <a:srgbClr val="4E4E4E"/>
              </a:solidFill>
              <a:latin typeface="Inter"/>
              <a:ea typeface="Inter"/>
              <a:cs typeface="Inter"/>
              <a:sym typeface="Inter"/>
            </a:endParaRPr>
          </a:p>
          <a:p>
            <a:pPr indent="609585" defTabSz="1219170">
              <a:lnSpc>
                <a:spcPct val="115000"/>
              </a:lnSpc>
              <a:buClr>
                <a:srgbClr val="000000"/>
              </a:buClr>
            </a:pPr>
            <a:r>
              <a:rPr lang="en" sz="2133" kern="0">
                <a:solidFill>
                  <a:srgbClr val="4E4E4E"/>
                </a:solidFill>
                <a:latin typeface="Inter"/>
                <a:ea typeface="Inter"/>
                <a:cs typeface="Inter"/>
                <a:sym typeface="Inter"/>
              </a:rPr>
              <a:t>→ Statistical techniques applied in finance, now for cancer growth</a:t>
            </a:r>
            <a:endParaRPr sz="2133" kern="0">
              <a:solidFill>
                <a:srgbClr val="4E4E4E"/>
              </a:solidFill>
              <a:latin typeface="Inter"/>
              <a:ea typeface="Inter"/>
              <a:cs typeface="Inter"/>
              <a:sym typeface="Inter"/>
            </a:endParaRPr>
          </a:p>
          <a:p>
            <a:pPr indent="609585" defTabSz="1219170">
              <a:lnSpc>
                <a:spcPct val="115000"/>
              </a:lnSpc>
              <a:buClr>
                <a:srgbClr val="000000"/>
              </a:buClr>
            </a:pPr>
            <a:r>
              <a:rPr lang="en" sz="2133" kern="0">
                <a:solidFill>
                  <a:srgbClr val="4E4E4E"/>
                </a:solidFill>
                <a:latin typeface="Inter"/>
                <a:ea typeface="Inter"/>
                <a:cs typeface="Inter"/>
                <a:sym typeface="Inter"/>
              </a:rPr>
              <a:t>-&gt; Maths models of gene regulation to understand how the immune system responds to lung cancer</a:t>
            </a:r>
            <a:endParaRPr sz="2133" kern="0">
              <a:solidFill>
                <a:srgbClr val="4E4E4E"/>
              </a:solidFill>
              <a:latin typeface="Inter"/>
              <a:ea typeface="Inter"/>
              <a:cs typeface="Inter"/>
              <a:sym typeface="Inter"/>
            </a:endParaRPr>
          </a:p>
          <a:p>
            <a:pPr indent="609585" defTabSz="1219170">
              <a:lnSpc>
                <a:spcPct val="115000"/>
              </a:lnSpc>
              <a:buClr>
                <a:srgbClr val="000000"/>
              </a:buClr>
            </a:pPr>
            <a:r>
              <a:rPr lang="en" sz="2133" kern="0">
                <a:solidFill>
                  <a:srgbClr val="4E4E4E"/>
                </a:solidFill>
                <a:latin typeface="Inter"/>
                <a:ea typeface="Inter"/>
                <a:cs typeface="Inter"/>
                <a:sym typeface="Inter"/>
              </a:rPr>
              <a:t>-&gt; Decided ultimately problems in economics appealed most to me</a:t>
            </a:r>
            <a:endParaRPr sz="2133" kern="0">
              <a:solidFill>
                <a:srgbClr val="4E4E4E"/>
              </a:solidFill>
              <a:latin typeface="Inter"/>
              <a:ea typeface="Inter"/>
              <a:cs typeface="Inter"/>
              <a:sym typeface="Inter"/>
            </a:endParaRPr>
          </a:p>
          <a:p>
            <a:pPr indent="609585" defTabSz="1219170">
              <a:lnSpc>
                <a:spcPct val="115000"/>
              </a:lnSpc>
              <a:buClr>
                <a:srgbClr val="000000"/>
              </a:buClr>
            </a:pPr>
            <a:endParaRPr sz="2133" kern="0">
              <a:solidFill>
                <a:srgbClr val="4E4E4E"/>
              </a:solidFill>
              <a:latin typeface="Inter"/>
              <a:ea typeface="Inter"/>
              <a:cs typeface="Inter"/>
              <a:sym typeface="Inter"/>
            </a:endParaRPr>
          </a:p>
          <a:p>
            <a:pPr defTabSz="1219170">
              <a:lnSpc>
                <a:spcPct val="115000"/>
              </a:lnSpc>
              <a:buClr>
                <a:srgbClr val="000000"/>
              </a:buClr>
            </a:pPr>
            <a:endParaRPr sz="2133" kern="0">
              <a:solidFill>
                <a:srgbClr val="4E4E4E"/>
              </a:solidFill>
              <a:latin typeface="Inter"/>
              <a:ea typeface="Inter"/>
              <a:cs typeface="Inter"/>
              <a:sym typeface="Inter"/>
            </a:endParaRPr>
          </a:p>
          <a:p>
            <a:pPr defTabSz="1219170">
              <a:lnSpc>
                <a:spcPct val="115000"/>
              </a:lnSpc>
              <a:buClr>
                <a:srgbClr val="000000"/>
              </a:buClr>
            </a:pPr>
            <a:r>
              <a:rPr lang="en" sz="2133" b="1" kern="0">
                <a:solidFill>
                  <a:srgbClr val="4E4E4E"/>
                </a:solidFill>
                <a:latin typeface="Inter"/>
                <a:ea typeface="Inter"/>
                <a:cs typeface="Inter"/>
                <a:sym typeface="Inter"/>
              </a:rPr>
              <a:t>Quantitative researcher again!</a:t>
            </a:r>
            <a:r>
              <a:rPr lang="en" sz="2133" kern="0">
                <a:solidFill>
                  <a:srgbClr val="4E4E4E"/>
                </a:solidFill>
                <a:latin typeface="Inter"/>
                <a:ea typeface="Inter"/>
                <a:cs typeface="Inter"/>
                <a:sym typeface="Inter"/>
              </a:rPr>
              <a:t> </a:t>
            </a:r>
            <a:endParaRPr sz="2133" kern="0">
              <a:solidFill>
                <a:srgbClr val="4E4E4E"/>
              </a:solidFill>
              <a:latin typeface="Inter"/>
              <a:ea typeface="Inter"/>
              <a:cs typeface="Inter"/>
              <a:sym typeface="Inter"/>
            </a:endParaRPr>
          </a:p>
          <a:p>
            <a:pPr defTabSz="1219170">
              <a:lnSpc>
                <a:spcPct val="115000"/>
              </a:lnSpc>
              <a:buClr>
                <a:srgbClr val="000000"/>
              </a:buClr>
            </a:pPr>
            <a:r>
              <a:rPr lang="en" sz="2133" kern="0">
                <a:solidFill>
                  <a:srgbClr val="4E4E4E"/>
                </a:solidFill>
                <a:latin typeface="Inter"/>
                <a:ea typeface="Inter"/>
                <a:cs typeface="Inter"/>
                <a:sym typeface="Inter"/>
              </a:rPr>
              <a:t>	→ Voltz Labs: small trading firm, got to experience how a research team is built. Statistics in fixed income and cryptocurrency markets</a:t>
            </a:r>
            <a:endParaRPr sz="2133" kern="0">
              <a:solidFill>
                <a:srgbClr val="4E4E4E"/>
              </a:solidFill>
              <a:latin typeface="Inter"/>
              <a:ea typeface="Inter"/>
              <a:cs typeface="Inter"/>
              <a:sym typeface="Inter"/>
            </a:endParaRPr>
          </a:p>
          <a:p>
            <a:pPr defTabSz="1219170">
              <a:lnSpc>
                <a:spcPct val="115000"/>
              </a:lnSpc>
              <a:buClr>
                <a:srgbClr val="000000"/>
              </a:buClr>
            </a:pPr>
            <a:r>
              <a:rPr lang="en" sz="2133" kern="0">
                <a:solidFill>
                  <a:srgbClr val="4E4E4E"/>
                </a:solidFill>
                <a:latin typeface="Inter"/>
                <a:ea typeface="Inter"/>
                <a:cs typeface="Inter"/>
                <a:sym typeface="Inter"/>
              </a:rPr>
              <a:t>	→ </a:t>
            </a:r>
            <a:r>
              <a:rPr lang="en" sz="2133" b="1" kern="0">
                <a:solidFill>
                  <a:srgbClr val="4E4E4E"/>
                </a:solidFill>
                <a:latin typeface="Inter"/>
                <a:ea typeface="Inter"/>
                <a:cs typeface="Inter"/>
                <a:sym typeface="Inter"/>
              </a:rPr>
              <a:t>Keyrock: algo trading firm</a:t>
            </a:r>
            <a:r>
              <a:rPr lang="en" sz="2133" kern="0">
                <a:solidFill>
                  <a:srgbClr val="4E4E4E"/>
                </a:solidFill>
                <a:latin typeface="Inter"/>
                <a:ea typeface="Inter"/>
                <a:cs typeface="Inter"/>
                <a:sym typeface="Inter"/>
              </a:rPr>
              <a:t>, a fascinating mix of statistical research and computer science to comprehend and trade the markets. Now leading a research team there. </a:t>
            </a:r>
            <a:r>
              <a:rPr lang="en" sz="2267" kern="0">
                <a:solidFill>
                  <a:srgbClr val="4E4E4E"/>
                </a:solidFill>
                <a:latin typeface="Inter"/>
                <a:ea typeface="Inter"/>
                <a:cs typeface="Inter"/>
                <a:sym typeface="Inter"/>
              </a:rPr>
              <a:t> </a:t>
            </a:r>
            <a:endParaRPr sz="2267" kern="0">
              <a:solidFill>
                <a:srgbClr val="4E4E4E"/>
              </a:solidFill>
              <a:latin typeface="Inter"/>
              <a:ea typeface="Inter"/>
              <a:cs typeface="Inter"/>
              <a:sym typeface="Inter"/>
            </a:endParaRPr>
          </a:p>
          <a:p>
            <a:pPr defTabSz="1219170">
              <a:lnSpc>
                <a:spcPct val="115000"/>
              </a:lnSpc>
              <a:buClr>
                <a:srgbClr val="000000"/>
              </a:buClr>
            </a:pPr>
            <a:r>
              <a:rPr lang="en" sz="2267" kern="0">
                <a:solidFill>
                  <a:srgbClr val="4E4E4E"/>
                </a:solidFill>
                <a:latin typeface="Inter"/>
                <a:ea typeface="Inter"/>
                <a:cs typeface="Inter"/>
                <a:sym typeface="Inter"/>
              </a:rPr>
              <a:t> </a:t>
            </a:r>
            <a:endParaRPr sz="2267" kern="0">
              <a:solidFill>
                <a:srgbClr val="4E4E4E"/>
              </a:solidFill>
              <a:latin typeface="Inter"/>
              <a:ea typeface="Inter"/>
              <a:cs typeface="Inter"/>
              <a:sym typeface="Inter"/>
            </a:endParaRPr>
          </a:p>
          <a:p>
            <a:pPr defTabSz="1219170">
              <a:lnSpc>
                <a:spcPct val="115000"/>
              </a:lnSpc>
              <a:buClr>
                <a:srgbClr val="000000"/>
              </a:buClr>
            </a:pPr>
            <a:endParaRPr sz="2267" kern="0">
              <a:solidFill>
                <a:srgbClr val="4E4E4E"/>
              </a:solidFill>
              <a:latin typeface="Inter"/>
              <a:ea typeface="Inter"/>
              <a:cs typeface="Inter"/>
              <a:sym typeface="Inter"/>
            </a:endParaRPr>
          </a:p>
          <a:p>
            <a:pPr defTabSz="1219170">
              <a:lnSpc>
                <a:spcPct val="115000"/>
              </a:lnSpc>
              <a:buClr>
                <a:srgbClr val="000000"/>
              </a:buClr>
            </a:pPr>
            <a:endParaRPr sz="2267" kern="0">
              <a:solidFill>
                <a:srgbClr val="4E4E4E"/>
              </a:solidFill>
              <a:latin typeface="Inter"/>
              <a:ea typeface="Inter"/>
              <a:cs typeface="Inter"/>
              <a:sym typeface="Inter"/>
            </a:endParaRPr>
          </a:p>
          <a:p>
            <a:pPr defTabSz="1219170">
              <a:lnSpc>
                <a:spcPct val="115000"/>
              </a:lnSpc>
              <a:buClr>
                <a:srgbClr val="000000"/>
              </a:buClr>
            </a:pPr>
            <a:endParaRPr sz="2267" kern="0">
              <a:solidFill>
                <a:srgbClr val="4E4E4E"/>
              </a:solidFill>
              <a:latin typeface="Inter"/>
              <a:ea typeface="Inter"/>
              <a:cs typeface="Inter"/>
              <a:sym typeface="Inter"/>
            </a:endParaRPr>
          </a:p>
          <a:p>
            <a:pPr defTabSz="1219170">
              <a:lnSpc>
                <a:spcPct val="115000"/>
              </a:lnSpc>
              <a:buClr>
                <a:srgbClr val="000000"/>
              </a:buClr>
            </a:pPr>
            <a:endParaRPr sz="1333" kern="0">
              <a:solidFill>
                <a:srgbClr val="4E4E4E"/>
              </a:solidFill>
              <a:latin typeface="Inter"/>
              <a:ea typeface="Inter"/>
              <a:cs typeface="Inter"/>
              <a:sym typeface="Inter"/>
            </a:endParaRPr>
          </a:p>
          <a:p>
            <a:pPr defTabSz="1219170">
              <a:lnSpc>
                <a:spcPct val="115000"/>
              </a:lnSpc>
              <a:buClr>
                <a:srgbClr val="000000"/>
              </a:buClr>
            </a:pPr>
            <a:endParaRPr sz="1333" kern="0">
              <a:solidFill>
                <a:srgbClr val="4E4E4E"/>
              </a:solidFill>
              <a:latin typeface="Inter"/>
              <a:ea typeface="Inter"/>
              <a:cs typeface="Inter"/>
              <a:sym typeface="Inter"/>
            </a:endParaRPr>
          </a:p>
          <a:p>
            <a:pPr defTabSz="1219170">
              <a:lnSpc>
                <a:spcPct val="115000"/>
              </a:lnSpc>
              <a:buClr>
                <a:srgbClr val="000000"/>
              </a:buClr>
            </a:pPr>
            <a:endParaRPr sz="1333" kern="0">
              <a:solidFill>
                <a:srgbClr val="4E4E4E"/>
              </a:solidFill>
              <a:latin typeface="Inter"/>
              <a:ea typeface="Inter"/>
              <a:cs typeface="Inter"/>
              <a:sym typeface="Inter"/>
            </a:endParaRPr>
          </a:p>
          <a:p>
            <a:pPr defTabSz="1219170">
              <a:lnSpc>
                <a:spcPct val="115000"/>
              </a:lnSpc>
              <a:buClr>
                <a:srgbClr val="000000"/>
              </a:buClr>
            </a:pPr>
            <a:endParaRPr sz="1333" kern="0">
              <a:solidFill>
                <a:srgbClr val="4E4E4E"/>
              </a:solidFill>
              <a:latin typeface="Inter"/>
              <a:ea typeface="Inter"/>
              <a:cs typeface="Inter"/>
              <a:sym typeface="Inter"/>
            </a:endParaRPr>
          </a:p>
          <a:p>
            <a:pPr defTabSz="1219170">
              <a:lnSpc>
                <a:spcPct val="115000"/>
              </a:lnSpc>
              <a:buClr>
                <a:srgbClr val="000000"/>
              </a:buClr>
            </a:pPr>
            <a:endParaRPr sz="1333" kern="0">
              <a:solidFill>
                <a:srgbClr val="4E4E4E"/>
              </a:solidFill>
              <a:latin typeface="Inter"/>
              <a:ea typeface="Inter"/>
              <a:cs typeface="Inter"/>
              <a:sym typeface="Inter"/>
            </a:endParaRPr>
          </a:p>
          <a:p>
            <a:pPr defTabSz="1219170">
              <a:lnSpc>
                <a:spcPct val="115000"/>
              </a:lnSpc>
              <a:buClr>
                <a:srgbClr val="000000"/>
              </a:buClr>
            </a:pPr>
            <a:endParaRPr sz="1333" kern="0">
              <a:solidFill>
                <a:srgbClr val="4E4E4E"/>
              </a:solidFill>
              <a:latin typeface="Inter"/>
              <a:ea typeface="Inter"/>
              <a:cs typeface="Inter"/>
              <a:sym typeface="Inter"/>
            </a:endParaRPr>
          </a:p>
          <a:p>
            <a:pPr defTabSz="1219170">
              <a:lnSpc>
                <a:spcPct val="115000"/>
              </a:lnSpc>
              <a:buClr>
                <a:srgbClr val="000000"/>
              </a:buClr>
            </a:pPr>
            <a:endParaRPr sz="1333" kern="0">
              <a:solidFill>
                <a:srgbClr val="4E4E4E"/>
              </a:solidFill>
              <a:latin typeface="Inter"/>
              <a:ea typeface="Inter"/>
              <a:cs typeface="Inter"/>
              <a:sym typeface="Inter"/>
            </a:endParaRPr>
          </a:p>
          <a:p>
            <a:pPr defTabSz="1219170">
              <a:lnSpc>
                <a:spcPct val="115000"/>
              </a:lnSpc>
              <a:buClr>
                <a:srgbClr val="000000"/>
              </a:buClr>
            </a:pPr>
            <a:endParaRPr sz="1333" kern="0">
              <a:solidFill>
                <a:srgbClr val="4E4E4E"/>
              </a:solidFill>
              <a:latin typeface="Inter"/>
              <a:ea typeface="Inter"/>
              <a:cs typeface="Inter"/>
              <a:sym typeface="Inter"/>
            </a:endParaRPr>
          </a:p>
          <a:p>
            <a:pPr defTabSz="1219170">
              <a:lnSpc>
                <a:spcPct val="115000"/>
              </a:lnSpc>
              <a:buClr>
                <a:srgbClr val="000000"/>
              </a:buClr>
            </a:pPr>
            <a:endParaRPr sz="1333" kern="0">
              <a:solidFill>
                <a:srgbClr val="4E4E4E"/>
              </a:solidFill>
              <a:latin typeface="Inter"/>
              <a:ea typeface="Inter"/>
              <a:cs typeface="Inter"/>
              <a:sym typeface="Inter"/>
            </a:endParaRPr>
          </a:p>
        </p:txBody>
      </p:sp>
      <p:pic>
        <p:nvPicPr>
          <p:cNvPr id="115" name="Google Shape;115;p18"/>
          <p:cNvPicPr preferRelativeResize="0"/>
          <p:nvPr/>
        </p:nvPicPr>
        <p:blipFill>
          <a:blip r:embed="rId3">
            <a:alphaModFix/>
          </a:blip>
          <a:stretch>
            <a:fillRect/>
          </a:stretch>
        </p:blipFill>
        <p:spPr>
          <a:xfrm>
            <a:off x="609600" y="6059425"/>
            <a:ext cx="1060707" cy="243079"/>
          </a:xfrm>
          <a:prstGeom prst="rect">
            <a:avLst/>
          </a:prstGeom>
          <a:noFill/>
          <a:ln>
            <a:noFill/>
          </a:ln>
        </p:spPr>
      </p:pic>
      <p:sp>
        <p:nvSpPr>
          <p:cNvPr id="116" name="Google Shape;116;p18"/>
          <p:cNvSpPr txBox="1"/>
          <p:nvPr/>
        </p:nvSpPr>
        <p:spPr>
          <a:xfrm>
            <a:off x="3011000" y="121600"/>
            <a:ext cx="6415600" cy="370000"/>
          </a:xfrm>
          <a:prstGeom prst="rect">
            <a:avLst/>
          </a:prstGeom>
          <a:noFill/>
          <a:ln>
            <a:noFill/>
          </a:ln>
        </p:spPr>
        <p:txBody>
          <a:bodyPr spcFirstLastPara="1" wrap="square" lIns="0" tIns="0" rIns="0" bIns="0" anchor="t" anchorCtr="0">
            <a:noAutofit/>
          </a:bodyPr>
          <a:lstStyle/>
          <a:p>
            <a:pPr algn="ctr" defTabSz="1219170">
              <a:lnSpc>
                <a:spcPct val="80000"/>
              </a:lnSpc>
              <a:buClr>
                <a:srgbClr val="000000"/>
              </a:buClr>
            </a:pPr>
            <a:r>
              <a:rPr lang="en" sz="2667" i="1" kern="0">
                <a:solidFill>
                  <a:srgbClr val="1F1F1F"/>
                </a:solidFill>
                <a:latin typeface="Inter Tight SemiBold"/>
                <a:ea typeface="Inter Tight SemiBold"/>
                <a:cs typeface="Inter Tight SemiBold"/>
                <a:sym typeface="Inter Tight SemiBold"/>
              </a:rPr>
              <a:t>How I got there</a:t>
            </a:r>
            <a:r>
              <a:rPr lang="en" sz="1867" i="1" kern="0">
                <a:solidFill>
                  <a:srgbClr val="1F1F1F"/>
                </a:solidFill>
                <a:latin typeface="Inter Tight SemiBold"/>
                <a:ea typeface="Inter Tight SemiBold"/>
                <a:cs typeface="Inter Tight SemiBold"/>
                <a:sym typeface="Inter Tight SemiBold"/>
              </a:rPr>
              <a:t> </a:t>
            </a:r>
            <a:endParaRPr sz="1867" i="1" kern="0">
              <a:solidFill>
                <a:srgbClr val="1F1F1F"/>
              </a:solidFill>
              <a:latin typeface="Inter Tight SemiBold"/>
              <a:ea typeface="Inter Tight SemiBold"/>
              <a:cs typeface="Inter Tight SemiBold"/>
              <a:sym typeface="Inter Tight SemiBold"/>
            </a:endParaRPr>
          </a:p>
        </p:txBody>
      </p:sp>
      <p:sp>
        <p:nvSpPr>
          <p:cNvPr id="117" name="Google Shape;117;p18"/>
          <p:cNvSpPr txBox="1"/>
          <p:nvPr/>
        </p:nvSpPr>
        <p:spPr>
          <a:xfrm>
            <a:off x="8223367" y="1461200"/>
            <a:ext cx="3202800" cy="1202400"/>
          </a:xfrm>
          <a:prstGeom prst="rect">
            <a:avLst/>
          </a:prstGeom>
          <a:noFill/>
          <a:ln>
            <a:noFill/>
          </a:ln>
        </p:spPr>
        <p:txBody>
          <a:bodyPr spcFirstLastPara="1" wrap="square" lIns="0" tIns="0" rIns="0" bIns="0" anchor="t" anchorCtr="0">
            <a:noAutofit/>
          </a:bodyPr>
          <a:lstStyle/>
          <a:p>
            <a:pPr defTabSz="1219170">
              <a:lnSpc>
                <a:spcPct val="80000"/>
              </a:lnSpc>
              <a:buClr>
                <a:srgbClr val="000000"/>
              </a:buClr>
            </a:pPr>
            <a:endParaRPr sz="3467" b="1" kern="0">
              <a:solidFill>
                <a:srgbClr val="1F1F1F"/>
              </a:solidFill>
              <a:latin typeface="Inter Tight"/>
              <a:ea typeface="Inter Tight"/>
              <a:cs typeface="Inter Tight"/>
              <a:sym typeface="Inter Tight"/>
            </a:endParaRPr>
          </a:p>
        </p:txBody>
      </p:sp>
      <p:sp>
        <p:nvSpPr>
          <p:cNvPr id="118" name="Google Shape;118;p18"/>
          <p:cNvSpPr txBox="1"/>
          <p:nvPr/>
        </p:nvSpPr>
        <p:spPr>
          <a:xfrm>
            <a:off x="8465600" y="2581167"/>
            <a:ext cx="3672000" cy="707846"/>
          </a:xfrm>
          <a:prstGeom prst="rect">
            <a:avLst/>
          </a:prstGeom>
          <a:noFill/>
          <a:ln>
            <a:noFill/>
          </a:ln>
        </p:spPr>
        <p:txBody>
          <a:bodyPr spcFirstLastPara="1" wrap="square" lIns="121900" tIns="121900" rIns="121900" bIns="121900" anchor="t" anchorCtr="0">
            <a:spAutoFit/>
          </a:bodyPr>
          <a:lstStyle/>
          <a:p>
            <a:pPr defTabSz="1219170">
              <a:lnSpc>
                <a:spcPct val="150000"/>
              </a:lnSpc>
              <a:buClr>
                <a:srgbClr val="000000"/>
              </a:buClr>
            </a:pPr>
            <a:endParaRPr sz="2000" kern="0">
              <a:solidFill>
                <a:srgbClr val="000000"/>
              </a:solidFill>
              <a:latin typeface="Arial"/>
              <a:cs typeface="Arial"/>
              <a:sym typeface="Arial"/>
            </a:endParaRPr>
          </a:p>
        </p:txBody>
      </p:sp>
      <p:sp>
        <p:nvSpPr>
          <p:cNvPr id="119" name="Google Shape;119;p18"/>
          <p:cNvSpPr txBox="1"/>
          <p:nvPr/>
        </p:nvSpPr>
        <p:spPr>
          <a:xfrm>
            <a:off x="8465600" y="3497834"/>
            <a:ext cx="3536400" cy="707846"/>
          </a:xfrm>
          <a:prstGeom prst="rect">
            <a:avLst/>
          </a:prstGeom>
          <a:noFill/>
          <a:ln>
            <a:noFill/>
          </a:ln>
        </p:spPr>
        <p:txBody>
          <a:bodyPr spcFirstLastPara="1" wrap="square" lIns="121900" tIns="121900" rIns="121900" bIns="121900" anchor="t" anchorCtr="0">
            <a:spAutoFit/>
          </a:bodyPr>
          <a:lstStyle/>
          <a:p>
            <a:pPr defTabSz="1219170">
              <a:lnSpc>
                <a:spcPct val="150000"/>
              </a:lnSpc>
              <a:buClr>
                <a:srgbClr val="000000"/>
              </a:buClr>
            </a:pPr>
            <a:endParaRPr sz="2000" kern="0">
              <a:solidFill>
                <a:srgbClr val="000000"/>
              </a:solidFill>
              <a:latin typeface="Arial"/>
              <a:cs typeface="Arial"/>
              <a:sym typeface="Arial"/>
            </a:endParaRPr>
          </a:p>
        </p:txBody>
      </p:sp>
      <p:sp>
        <p:nvSpPr>
          <p:cNvPr id="120" name="Google Shape;120;p18"/>
          <p:cNvSpPr txBox="1"/>
          <p:nvPr/>
        </p:nvSpPr>
        <p:spPr>
          <a:xfrm>
            <a:off x="7727400" y="4283734"/>
            <a:ext cx="3536400" cy="492530"/>
          </a:xfrm>
          <a:prstGeom prst="rect">
            <a:avLst/>
          </a:prstGeom>
          <a:noFill/>
          <a:ln>
            <a:noFill/>
          </a:ln>
        </p:spPr>
        <p:txBody>
          <a:bodyPr spcFirstLastPara="1" wrap="square" lIns="121900" tIns="121900" rIns="121900" bIns="121900" anchor="t" anchorCtr="0">
            <a:spAutoFit/>
          </a:bodyPr>
          <a:lstStyle/>
          <a:p>
            <a:pPr defTabSz="1219170">
              <a:lnSpc>
                <a:spcPct val="150000"/>
              </a:lnSpc>
              <a:buClr>
                <a:srgbClr val="000000"/>
              </a:buClr>
            </a:pPr>
            <a:endParaRPr sz="1067" b="1" kern="0">
              <a:solidFill>
                <a:srgbClr val="CC0000"/>
              </a:solidFill>
              <a:latin typeface="Courier New"/>
              <a:ea typeface="Courier New"/>
              <a:cs typeface="Courier New"/>
              <a:sym typeface="Courier New"/>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73" imgH="476" progId="TCLayout.ActiveDocument.1">
                  <p:embed/>
                </p:oleObj>
              </mc:Choice>
              <mc:Fallback>
                <p:oleObj name="think-cell Folie" r:id="rId5" imgW="473" imgH="476" progId="TCLayout.ActiveDocument.1">
                  <p:embed/>
                  <p:pic>
                    <p:nvPicPr>
                      <p:cNvPr id="6" name="Objek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dirty="0">
              <a:ln>
                <a:noFill/>
              </a:ln>
              <a:solidFill>
                <a:srgbClr val="FFFFFF"/>
              </a:solidFill>
              <a:effectLst/>
              <a:uLnTx/>
              <a:uFillTx/>
              <a:latin typeface="Calibri Light" panose="020F0302020204030204" pitchFamily="34" charset="0"/>
              <a:ea typeface="+mn-ea"/>
              <a:cs typeface="+mn-cs"/>
              <a:sym typeface="Calibri Light" panose="020F0302020204030204" pitchFamily="34" charset="0"/>
            </a:endParaRPr>
          </a:p>
        </p:txBody>
      </p:sp>
      <p:sp>
        <p:nvSpPr>
          <p:cNvPr id="4" name="Titel 3"/>
          <p:cNvSpPr>
            <a:spLocks noGrp="1"/>
          </p:cNvSpPr>
          <p:nvPr>
            <p:ph type="ctrTitle"/>
          </p:nvPr>
        </p:nvSpPr>
        <p:spPr>
          <a:xfrm>
            <a:off x="436880" y="257612"/>
            <a:ext cx="10671721" cy="851370"/>
          </a:xfrm>
        </p:spPr>
        <p:txBody>
          <a:bodyPr vert="horz"/>
          <a:lstStyle/>
          <a:p>
            <a:r>
              <a:rPr lang="en-US" sz="4000" dirty="0"/>
              <a:t>Work opportunities for scientists in industry</a:t>
            </a:r>
          </a:p>
        </p:txBody>
      </p:sp>
      <p:sp>
        <p:nvSpPr>
          <p:cNvPr id="5" name="Untertitel 4"/>
          <p:cNvSpPr>
            <a:spLocks noGrp="1"/>
          </p:cNvSpPr>
          <p:nvPr>
            <p:ph type="subTitle" idx="1"/>
          </p:nvPr>
        </p:nvSpPr>
        <p:spPr/>
        <p:txBody>
          <a:bodyPr/>
          <a:lstStyle/>
          <a:p>
            <a:r>
              <a:rPr lang="en-US" dirty="0"/>
              <a:t>Elmos Semiconductor SE</a:t>
            </a:r>
          </a:p>
        </p:txBody>
      </p:sp>
    </p:spTree>
    <p:extLst>
      <p:ext uri="{BB962C8B-B14F-4D97-AF65-F5344CB8AC3E}">
        <p14:creationId xmlns:p14="http://schemas.microsoft.com/office/powerpoint/2010/main" val="81034211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73" imgH="476" progId="TCLayout.ActiveDocument.1">
                  <p:embed/>
                </p:oleObj>
              </mc:Choice>
              <mc:Fallback>
                <p:oleObj name="think-cell Folie" r:id="rId5" imgW="473" imgH="476" progId="TCLayout.ActiveDocument.1">
                  <p:embed/>
                  <p:pic>
                    <p:nvPicPr>
                      <p:cNvPr id="7" name="Objek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Light" panose="020F0302020204030204" pitchFamily="34" charset="0"/>
              <a:ea typeface="+mn-ea"/>
              <a:cs typeface="+mn-cs"/>
              <a:sym typeface="Calibri Light" panose="020F0302020204030204" pitchFamily="34" charset="0"/>
            </a:endParaRPr>
          </a:p>
        </p:txBody>
      </p:sp>
      <p:sp>
        <p:nvSpPr>
          <p:cNvPr id="81" name="Inhaltsplatzhalter 10"/>
          <p:cNvSpPr txBox="1">
            <a:spLocks/>
          </p:cNvSpPr>
          <p:nvPr/>
        </p:nvSpPr>
        <p:spPr>
          <a:xfrm>
            <a:off x="7174806" y="4650188"/>
            <a:ext cx="3335298" cy="1799030"/>
          </a:xfrm>
          <a:prstGeom prst="rect">
            <a:avLst/>
          </a:prstGeom>
        </p:spPr>
        <p:txBody>
          <a:bodyPr vert="horz" lIns="91440" tIns="45720" rIns="91440" bIns="45720" rtlCol="0" anchor="ctr">
            <a:noAutofit/>
          </a:bodyPr>
          <a:lstStyle>
            <a:lvl1pPr marL="228600" indent="-228600" algn="l" defTabSz="914400" rtl="0" eaLnBrk="1" latinLnBrk="0" hangingPunct="1">
              <a:lnSpc>
                <a:spcPct val="90000"/>
              </a:lnSpc>
              <a:spcBef>
                <a:spcPts val="1000"/>
              </a:spcBef>
              <a:buClr>
                <a:schemeClr val="accent1"/>
              </a:buClr>
              <a:buSzPct val="90000"/>
              <a:buFont typeface="Wingdings" panose="05000000000000000000" pitchFamily="2" charset="2"/>
              <a:buChar char="§"/>
              <a:defRPr sz="2000" kern="1200" baseline="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Symbol" panose="05050102010706020507" pitchFamily="18" charset="2"/>
              <a:buChar char="-"/>
              <a:defRPr sz="2000" kern="1200">
                <a:solidFill>
                  <a:schemeClr val="tx1"/>
                </a:solidFill>
                <a:latin typeface="+mj-lt"/>
                <a:ea typeface="+mn-ea"/>
                <a:cs typeface="+mn-cs"/>
              </a:defRPr>
            </a:lvl2pPr>
            <a:lvl3pPr marL="1143000" indent="-228600" algn="l" defTabSz="914400" rtl="0" eaLnBrk="1" latinLnBrk="0" hangingPunct="1">
              <a:lnSpc>
                <a:spcPct val="90000"/>
              </a:lnSpc>
              <a:spcBef>
                <a:spcPts val="500"/>
              </a:spcBef>
              <a:buFont typeface="Calibri" panose="020F0502020204030204" pitchFamily="34" charset="0"/>
              <a:buChar char="»"/>
              <a:defRPr sz="2000" kern="1200">
                <a:solidFill>
                  <a:schemeClr val="tx1"/>
                </a:solidFill>
                <a:latin typeface="+mj-lt"/>
                <a:ea typeface="+mn-ea"/>
                <a:cs typeface="+mn-cs"/>
              </a:defRPr>
            </a:lvl3pPr>
            <a:lvl4pPr marL="1600200" indent="-228600" algn="l" defTabSz="914400" rtl="0" eaLnBrk="1" latinLnBrk="0" hangingPunct="1">
              <a:lnSpc>
                <a:spcPct val="90000"/>
              </a:lnSpc>
              <a:spcBef>
                <a:spcPts val="500"/>
              </a:spcBef>
              <a:buFont typeface="Calibri" panose="020F0502020204030204" pitchFamily="34" charset="0"/>
              <a:buChar char="›"/>
              <a:defRPr sz="2000" kern="1200" baseline="0">
                <a:solidFill>
                  <a:schemeClr val="tx1"/>
                </a:solidFill>
                <a:latin typeface="+mj-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000" kern="1200" baseline="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50000"/>
              </a:lnSpc>
              <a:spcBef>
                <a:spcPts val="1000"/>
              </a:spcBef>
              <a:spcAft>
                <a:spcPts val="0"/>
              </a:spcAft>
              <a:buClr>
                <a:srgbClr val="A9003D"/>
              </a:buClr>
              <a:buSzPct val="90000"/>
              <a:buFont typeface="Wingdings" panose="05000000000000000000" pitchFamily="2" charset="2"/>
              <a:buNone/>
              <a:tabLst/>
              <a:defRPr/>
            </a:pPr>
            <a:endParaRPr kumimoji="0" lang="de-DE" sz="5400" b="0" i="0" u="none" strike="noStrike" kern="1200" cap="all" spc="0" normalizeH="0" baseline="0" noProof="0" dirty="0">
              <a:ln>
                <a:noFill/>
              </a:ln>
              <a:solidFill>
                <a:srgbClr val="497094"/>
              </a:solidFill>
              <a:effectLst/>
              <a:uLnTx/>
              <a:uFillTx/>
              <a:latin typeface="Calibri Light" panose="020F0302020204030204"/>
              <a:ea typeface="+mn-ea"/>
              <a:cs typeface="+mn-cs"/>
            </a:endParaRPr>
          </a:p>
        </p:txBody>
      </p:sp>
      <p:sp>
        <p:nvSpPr>
          <p:cNvPr id="4" name="Titel 3"/>
          <p:cNvSpPr>
            <a:spLocks noGrp="1"/>
          </p:cNvSpPr>
          <p:nvPr>
            <p:ph type="title"/>
          </p:nvPr>
        </p:nvSpPr>
        <p:spPr/>
        <p:txBody>
          <a:bodyPr vert="horz"/>
          <a:lstStyle/>
          <a:p>
            <a:r>
              <a:rPr lang="de-DE" dirty="0"/>
              <a:t>About me</a:t>
            </a:r>
          </a:p>
        </p:txBody>
      </p:sp>
      <p:sp>
        <p:nvSpPr>
          <p:cNvPr id="2" name="Foliennummernplatzhalter 1"/>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388A9D-AD37-461A-B994-DC3D6C9CD850}" type="slidenum">
              <a:rPr kumimoji="0" lang="de-DE" sz="1200" b="0" i="0" u="none" strike="noStrike" kern="1200" cap="none" spc="0" normalizeH="0" baseline="0" noProof="0" smtClean="0">
                <a:ln>
                  <a:noFill/>
                </a:ln>
                <a:solidFill>
                  <a:srgbClr val="000000">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de-DE" sz="1200" b="0" i="0" u="none" strike="noStrike" kern="1200" cap="none" spc="0" normalizeH="0" baseline="0" noProof="0" dirty="0">
              <a:ln>
                <a:noFill/>
              </a:ln>
              <a:solidFill>
                <a:srgbClr val="000000">
                  <a:tint val="75000"/>
                </a:srgbClr>
              </a:solidFill>
              <a:effectLst/>
              <a:uLnTx/>
              <a:uFillTx/>
              <a:latin typeface="Calibri" panose="020F0502020204030204"/>
              <a:ea typeface="+mn-ea"/>
              <a:cs typeface="+mn-cs"/>
            </a:endParaRPr>
          </a:p>
        </p:txBody>
      </p:sp>
      <p:sp>
        <p:nvSpPr>
          <p:cNvPr id="20" name="Inhaltsplatzhalter 26"/>
          <p:cNvSpPr txBox="1">
            <a:spLocks/>
          </p:cNvSpPr>
          <p:nvPr/>
        </p:nvSpPr>
        <p:spPr>
          <a:xfrm>
            <a:off x="338178" y="3319866"/>
            <a:ext cx="5478422" cy="1168618"/>
          </a:xfrm>
          <a:prstGeom prst="rect">
            <a:avLst/>
          </a:prstGeom>
        </p:spPr>
        <p:txBody>
          <a:bodyPr vert="horz" lIns="91440" tIns="45720" rIns="91440" bIns="45720" rtlCol="0">
            <a:noAutofit/>
          </a:bodyPr>
          <a:lstStyle>
            <a:lvl1pPr marL="228600" indent="-228600" algn="l" defTabSz="914400" rtl="0" eaLnBrk="1" latinLnBrk="0" hangingPunct="1">
              <a:lnSpc>
                <a:spcPct val="100000"/>
              </a:lnSpc>
              <a:spcBef>
                <a:spcPts val="1000"/>
              </a:spcBef>
              <a:buClr>
                <a:schemeClr val="accent1"/>
              </a:buClr>
              <a:buSzPct val="90000"/>
              <a:buFont typeface="Wingdings" panose="05000000000000000000" pitchFamily="2" charset="2"/>
              <a:buChar char="§"/>
              <a:defRPr sz="2000" kern="1200" baseline="0">
                <a:solidFill>
                  <a:schemeClr val="tx1"/>
                </a:solidFill>
                <a:latin typeface="+mj-lt"/>
                <a:ea typeface="+mn-ea"/>
                <a:cs typeface="+mn-cs"/>
              </a:defRPr>
            </a:lvl1pPr>
            <a:lvl2pPr marL="542925" indent="-276225" algn="l" defTabSz="914400" rtl="0" eaLnBrk="1" latinLnBrk="0" hangingPunct="1">
              <a:lnSpc>
                <a:spcPct val="100000"/>
              </a:lnSpc>
              <a:spcBef>
                <a:spcPts val="500"/>
              </a:spcBef>
              <a:buFont typeface="Symbol" panose="05050102010706020507" pitchFamily="18" charset="2"/>
              <a:buChar char="-"/>
              <a:defRPr sz="2000" kern="1200">
                <a:solidFill>
                  <a:schemeClr val="tx1"/>
                </a:solidFill>
                <a:latin typeface="+mj-lt"/>
                <a:ea typeface="+mn-ea"/>
                <a:cs typeface="+mn-cs"/>
              </a:defRPr>
            </a:lvl2pPr>
            <a:lvl3pPr marL="714375" indent="-266700" algn="l" defTabSz="914400" rtl="0" eaLnBrk="1" latinLnBrk="0" hangingPunct="1">
              <a:lnSpc>
                <a:spcPct val="100000"/>
              </a:lnSpc>
              <a:spcBef>
                <a:spcPts val="500"/>
              </a:spcBef>
              <a:buFont typeface="Calibri" panose="020F0502020204030204" pitchFamily="34" charset="0"/>
              <a:buChar char="»"/>
              <a:defRPr sz="2000" kern="1200">
                <a:solidFill>
                  <a:schemeClr val="tx1"/>
                </a:solidFill>
                <a:latin typeface="+mj-lt"/>
                <a:ea typeface="+mn-ea"/>
                <a:cs typeface="+mn-cs"/>
              </a:defRPr>
            </a:lvl3pPr>
            <a:lvl4pPr marL="990600" indent="-276225" algn="l" defTabSz="914400" rtl="0" eaLnBrk="1" latinLnBrk="0" hangingPunct="1">
              <a:lnSpc>
                <a:spcPct val="100000"/>
              </a:lnSpc>
              <a:spcBef>
                <a:spcPts val="500"/>
              </a:spcBef>
              <a:buFont typeface="Calibri" panose="020F0502020204030204" pitchFamily="34" charset="0"/>
              <a:buChar char="›"/>
              <a:defRPr sz="2000" kern="1200" baseline="0">
                <a:solidFill>
                  <a:schemeClr val="tx1"/>
                </a:solidFill>
                <a:latin typeface="+mj-lt"/>
                <a:ea typeface="+mn-ea"/>
                <a:cs typeface="+mn-cs"/>
              </a:defRPr>
            </a:lvl4pPr>
            <a:lvl5pPr marL="1257300" indent="-266700" algn="l" defTabSz="914400" rtl="0" eaLnBrk="1" latinLnBrk="0" hangingPunct="1">
              <a:lnSpc>
                <a:spcPct val="100000"/>
              </a:lnSpc>
              <a:spcBef>
                <a:spcPts val="500"/>
              </a:spcBef>
              <a:buFont typeface="Arial" panose="020B0604020202020204" pitchFamily="34" charset="0"/>
              <a:buChar char="•"/>
              <a:defRPr sz="2000" kern="1200" baseline="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A9003D"/>
              </a:buClr>
              <a:buSzPct val="90000"/>
              <a:buFont typeface="Wingdings" panose="05000000000000000000" pitchFamily="2" charset="2"/>
              <a:buNone/>
              <a:tabLst/>
              <a:defRPr/>
            </a:pPr>
            <a:r>
              <a:rPr kumimoji="0" lang="en-US" sz="1800" b="1" i="0" u="none" strike="noStrike" kern="1200" cap="none" spc="0" normalizeH="0" baseline="0" noProof="0" dirty="0">
                <a:ln>
                  <a:noFill/>
                </a:ln>
                <a:solidFill>
                  <a:srgbClr val="152D43"/>
                </a:solidFill>
                <a:effectLst/>
                <a:uLnTx/>
                <a:uFillTx/>
                <a:latin typeface="Calibri Light" panose="020F0302020204030204"/>
                <a:ea typeface="+mn-ea"/>
                <a:cs typeface="+mn-cs"/>
              </a:rPr>
              <a:t>From science…</a:t>
            </a:r>
          </a:p>
          <a:p>
            <a:pPr marL="0" marR="0" lvl="0" indent="0" algn="l" defTabSz="914400" rtl="0" eaLnBrk="1" fontAlgn="auto" latinLnBrk="0" hangingPunct="1">
              <a:lnSpc>
                <a:spcPct val="100000"/>
              </a:lnSpc>
              <a:spcBef>
                <a:spcPts val="1000"/>
              </a:spcBef>
              <a:spcAft>
                <a:spcPts val="0"/>
              </a:spcAft>
              <a:buClr>
                <a:srgbClr val="A9003D"/>
              </a:buClr>
              <a:buSzPct val="90000"/>
              <a:buFont typeface="Wingdings" panose="05000000000000000000" pitchFamily="2" charset="2"/>
              <a:buNone/>
              <a:tabLst/>
              <a:defRPr/>
            </a:pPr>
            <a:endParaRPr kumimoji="0" lang="en-US" sz="1800" b="1" i="0" u="none" strike="noStrike" kern="1200" cap="none" spc="0" normalizeH="0" baseline="0" noProof="0" dirty="0">
              <a:ln>
                <a:noFill/>
              </a:ln>
              <a:solidFill>
                <a:srgbClr val="152D43"/>
              </a:solidFill>
              <a:effectLst/>
              <a:uLnTx/>
              <a:uFillTx/>
              <a:latin typeface="Calibri Light" panose="020F0302020204030204"/>
              <a:ea typeface="+mn-ea"/>
              <a:cs typeface="+mn-cs"/>
            </a:endParaRPr>
          </a:p>
          <a:p>
            <a:pPr marL="0" marR="0" lvl="0" indent="0" algn="l" defTabSz="914400" rtl="0" eaLnBrk="1" fontAlgn="auto" latinLnBrk="0" hangingPunct="1">
              <a:lnSpc>
                <a:spcPct val="100000"/>
              </a:lnSpc>
              <a:spcBef>
                <a:spcPts val="1000"/>
              </a:spcBef>
              <a:spcAft>
                <a:spcPts val="0"/>
              </a:spcAft>
              <a:buClr>
                <a:srgbClr val="A9003D"/>
              </a:buClr>
              <a:buSzPct val="90000"/>
              <a:buFont typeface="Wingdings" panose="05000000000000000000" pitchFamily="2" charset="2"/>
              <a:buNone/>
              <a:tabLst/>
              <a:defRPr/>
            </a:pPr>
            <a:endParaRPr kumimoji="0" lang="en-US" sz="1800" b="1" i="0" u="none" strike="noStrike" kern="1200" cap="none" spc="0" normalizeH="0" baseline="0" noProof="0" dirty="0">
              <a:ln>
                <a:noFill/>
              </a:ln>
              <a:solidFill>
                <a:srgbClr val="152D43"/>
              </a:solidFill>
              <a:effectLst/>
              <a:uLnTx/>
              <a:uFillTx/>
              <a:latin typeface="Calibri Light" panose="020F0302020204030204"/>
              <a:ea typeface="+mn-ea"/>
              <a:cs typeface="+mn-cs"/>
            </a:endParaRPr>
          </a:p>
          <a:p>
            <a:pPr marL="174625" marR="0" lvl="0" indent="-174625" algn="l" defTabSz="914400" rtl="0" eaLnBrk="1" fontAlgn="auto" latinLnBrk="0" hangingPunct="1">
              <a:lnSpc>
                <a:spcPct val="100000"/>
              </a:lnSpc>
              <a:spcBef>
                <a:spcPts val="1000"/>
              </a:spcBef>
              <a:spcAft>
                <a:spcPts val="0"/>
              </a:spcAft>
              <a:buClr>
                <a:srgbClr val="A9003D"/>
              </a:buClr>
              <a:buSzPct val="90000"/>
              <a:buFont typeface="Wingdings" panose="05000000000000000000" pitchFamily="2" charset="2"/>
              <a:buChar char="§"/>
              <a:tabLst/>
              <a:defRPr/>
            </a:pPr>
            <a:r>
              <a:rPr kumimoji="0" lang="en-US" sz="1400" b="0" i="0" u="none" strike="noStrike" kern="1200" cap="none" spc="0" normalizeH="0" baseline="0" noProof="0" dirty="0">
                <a:ln>
                  <a:noFill/>
                </a:ln>
                <a:solidFill>
                  <a:srgbClr val="152D43"/>
                </a:solidFill>
                <a:effectLst/>
                <a:uLnTx/>
                <a:uFillTx/>
                <a:latin typeface="Calibri Light" panose="020F0302020204030204"/>
                <a:ea typeface="+mn-ea"/>
                <a:cs typeface="+mn-cs"/>
              </a:rPr>
              <a:t>PhD at CERN in cooperation with the Technical University of Dortmund</a:t>
            </a:r>
            <a:br>
              <a:rPr kumimoji="0" lang="en-US" sz="1400" b="0" i="0" u="none" strike="noStrike" kern="1200" cap="none" spc="0" normalizeH="0" baseline="0" noProof="0" dirty="0">
                <a:ln>
                  <a:noFill/>
                </a:ln>
                <a:solidFill>
                  <a:srgbClr val="152D43"/>
                </a:solidFill>
                <a:effectLst/>
                <a:uLnTx/>
                <a:uFillTx/>
                <a:latin typeface="Calibri Light" panose="020F0302020204030204"/>
                <a:ea typeface="+mn-ea"/>
                <a:cs typeface="+mn-cs"/>
              </a:rPr>
            </a:br>
            <a:r>
              <a:rPr kumimoji="0" lang="en-US" sz="1400" b="0" i="0" u="none" strike="noStrike" kern="1200" cap="none" spc="0" normalizeH="0" baseline="0" noProof="0" dirty="0">
                <a:ln>
                  <a:noFill/>
                </a:ln>
                <a:solidFill>
                  <a:srgbClr val="152D43"/>
                </a:solidFill>
                <a:effectLst/>
                <a:uLnTx/>
                <a:uFillTx/>
                <a:latin typeface="Calibri Light" panose="020F0302020204030204"/>
                <a:ea typeface="+mn-ea"/>
                <a:cs typeface="+mn-cs"/>
              </a:rPr>
              <a:t>“Commissioning of the ATLAS Insertable B-Layer and first operation experience”</a:t>
            </a:r>
          </a:p>
          <a:p>
            <a:pPr marL="174625" marR="0" lvl="0" indent="-174625" algn="l" defTabSz="914400" rtl="0" eaLnBrk="1" fontAlgn="auto" latinLnBrk="0" hangingPunct="1">
              <a:lnSpc>
                <a:spcPct val="100000"/>
              </a:lnSpc>
              <a:spcBef>
                <a:spcPts val="1000"/>
              </a:spcBef>
              <a:spcAft>
                <a:spcPts val="0"/>
              </a:spcAft>
              <a:buClr>
                <a:srgbClr val="A9003D"/>
              </a:buClr>
              <a:buSzPct val="90000"/>
              <a:buFont typeface="Wingdings" panose="05000000000000000000" pitchFamily="2" charset="2"/>
              <a:buChar char="§"/>
              <a:tabLst/>
              <a:defRPr/>
            </a:pPr>
            <a:r>
              <a:rPr kumimoji="0" lang="en-US" sz="1400" b="0" i="0" u="none" strike="noStrike" kern="1200" cap="none" spc="0" normalizeH="0" baseline="0" noProof="0" dirty="0">
                <a:ln>
                  <a:noFill/>
                </a:ln>
                <a:solidFill>
                  <a:srgbClr val="152D43"/>
                </a:solidFill>
                <a:effectLst/>
                <a:uLnTx/>
                <a:uFillTx/>
                <a:latin typeface="Calibri Light" panose="020F0302020204030204"/>
                <a:ea typeface="+mn-ea"/>
                <a:cs typeface="+mn-cs"/>
              </a:rPr>
              <a:t>Shift leader for the ATLAS experiment, coordinating the daily operation of the detector</a:t>
            </a:r>
          </a:p>
          <a:p>
            <a:pPr marL="228600" marR="0" lvl="0" indent="-228600" algn="l" defTabSz="914400" rtl="0" eaLnBrk="1" fontAlgn="auto" latinLnBrk="0" hangingPunct="1">
              <a:lnSpc>
                <a:spcPct val="100000"/>
              </a:lnSpc>
              <a:spcBef>
                <a:spcPts val="1000"/>
              </a:spcBef>
              <a:spcAft>
                <a:spcPts val="0"/>
              </a:spcAft>
              <a:buClr>
                <a:srgbClr val="A9003D"/>
              </a:buClr>
              <a:buSzPct val="90000"/>
              <a:buFont typeface="Wingdings" panose="05000000000000000000" pitchFamily="2" charset="2"/>
              <a:buChar char="§"/>
              <a:tabLst/>
              <a:defRPr/>
            </a:pPr>
            <a:r>
              <a:rPr kumimoji="0" lang="en-US" sz="1400" b="0" i="0" u="none" strike="noStrike" kern="1200" cap="none" spc="0" normalizeH="0" baseline="0" noProof="0" dirty="0">
                <a:ln>
                  <a:noFill/>
                </a:ln>
                <a:solidFill>
                  <a:srgbClr val="152D43"/>
                </a:solidFill>
                <a:effectLst/>
                <a:uLnTx/>
                <a:uFillTx/>
                <a:latin typeface="Calibri Light" panose="020F0302020204030204"/>
                <a:ea typeface="+mn-ea"/>
                <a:cs typeface="+mn-cs"/>
              </a:rPr>
              <a:t>Post-Doctoral Fellow &amp; Senior Research Associate at the University of Toronto</a:t>
            </a:r>
          </a:p>
        </p:txBody>
      </p:sp>
      <p:sp>
        <p:nvSpPr>
          <p:cNvPr id="21" name="Inhaltsplatzhalter 26"/>
          <p:cNvSpPr txBox="1">
            <a:spLocks/>
          </p:cNvSpPr>
          <p:nvPr/>
        </p:nvSpPr>
        <p:spPr>
          <a:xfrm>
            <a:off x="6355159" y="1310947"/>
            <a:ext cx="5430441" cy="3177538"/>
          </a:xfrm>
          <a:prstGeom prst="rect">
            <a:avLst/>
          </a:prstGeom>
        </p:spPr>
        <p:txBody>
          <a:bodyPr vert="horz" lIns="91440" tIns="45720" rIns="91440" bIns="45720" rtlCol="0">
            <a:noAutofit/>
          </a:bodyPr>
          <a:lstStyle>
            <a:lvl1pPr marL="228600" indent="-228600" algn="l" defTabSz="914400" rtl="0" eaLnBrk="1" latinLnBrk="0" hangingPunct="1">
              <a:lnSpc>
                <a:spcPct val="100000"/>
              </a:lnSpc>
              <a:spcBef>
                <a:spcPts val="1000"/>
              </a:spcBef>
              <a:buClr>
                <a:schemeClr val="accent1"/>
              </a:buClr>
              <a:buSzPct val="90000"/>
              <a:buFont typeface="Wingdings" panose="05000000000000000000" pitchFamily="2" charset="2"/>
              <a:buChar char="§"/>
              <a:defRPr sz="2000" kern="1200" baseline="0">
                <a:solidFill>
                  <a:schemeClr val="tx1"/>
                </a:solidFill>
                <a:latin typeface="+mj-lt"/>
                <a:ea typeface="+mn-ea"/>
                <a:cs typeface="+mn-cs"/>
              </a:defRPr>
            </a:lvl1pPr>
            <a:lvl2pPr marL="542925" indent="-276225" algn="l" defTabSz="914400" rtl="0" eaLnBrk="1" latinLnBrk="0" hangingPunct="1">
              <a:lnSpc>
                <a:spcPct val="100000"/>
              </a:lnSpc>
              <a:spcBef>
                <a:spcPts val="500"/>
              </a:spcBef>
              <a:buFont typeface="Symbol" panose="05050102010706020507" pitchFamily="18" charset="2"/>
              <a:buChar char="-"/>
              <a:defRPr sz="2000" kern="1200">
                <a:solidFill>
                  <a:schemeClr val="tx1"/>
                </a:solidFill>
                <a:latin typeface="+mj-lt"/>
                <a:ea typeface="+mn-ea"/>
                <a:cs typeface="+mn-cs"/>
              </a:defRPr>
            </a:lvl2pPr>
            <a:lvl3pPr marL="714375" indent="-266700" algn="l" defTabSz="914400" rtl="0" eaLnBrk="1" latinLnBrk="0" hangingPunct="1">
              <a:lnSpc>
                <a:spcPct val="100000"/>
              </a:lnSpc>
              <a:spcBef>
                <a:spcPts val="500"/>
              </a:spcBef>
              <a:buFont typeface="Calibri" panose="020F0502020204030204" pitchFamily="34" charset="0"/>
              <a:buChar char="»"/>
              <a:defRPr sz="2000" kern="1200">
                <a:solidFill>
                  <a:schemeClr val="tx1"/>
                </a:solidFill>
                <a:latin typeface="+mj-lt"/>
                <a:ea typeface="+mn-ea"/>
                <a:cs typeface="+mn-cs"/>
              </a:defRPr>
            </a:lvl3pPr>
            <a:lvl4pPr marL="990600" indent="-276225" algn="l" defTabSz="914400" rtl="0" eaLnBrk="1" latinLnBrk="0" hangingPunct="1">
              <a:lnSpc>
                <a:spcPct val="100000"/>
              </a:lnSpc>
              <a:spcBef>
                <a:spcPts val="500"/>
              </a:spcBef>
              <a:buFont typeface="Calibri" panose="020F0502020204030204" pitchFamily="34" charset="0"/>
              <a:buChar char="›"/>
              <a:defRPr sz="2000" kern="1200" baseline="0">
                <a:solidFill>
                  <a:schemeClr val="tx1"/>
                </a:solidFill>
                <a:latin typeface="+mj-lt"/>
                <a:ea typeface="+mn-ea"/>
                <a:cs typeface="+mn-cs"/>
              </a:defRPr>
            </a:lvl4pPr>
            <a:lvl5pPr marL="1257300" indent="-266700" algn="l" defTabSz="914400" rtl="0" eaLnBrk="1" latinLnBrk="0" hangingPunct="1">
              <a:lnSpc>
                <a:spcPct val="100000"/>
              </a:lnSpc>
              <a:spcBef>
                <a:spcPts val="500"/>
              </a:spcBef>
              <a:buFont typeface="Arial" panose="020B0604020202020204" pitchFamily="34" charset="0"/>
              <a:buChar char="•"/>
              <a:defRPr sz="2000" kern="1200" baseline="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A9003D"/>
              </a:buClr>
              <a:buSzPct val="90000"/>
              <a:buFont typeface="Wingdings" panose="05000000000000000000" pitchFamily="2" charset="2"/>
              <a:buNone/>
              <a:tabLst/>
              <a:defRPr/>
            </a:pPr>
            <a:r>
              <a:rPr kumimoji="0" lang="en-US" sz="1800" b="1" i="0" u="none" strike="noStrike" kern="1200" cap="none" spc="0" normalizeH="0" baseline="0" noProof="0" dirty="0">
                <a:ln>
                  <a:noFill/>
                </a:ln>
                <a:solidFill>
                  <a:srgbClr val="152D43"/>
                </a:solidFill>
                <a:effectLst/>
                <a:uLnTx/>
                <a:uFillTx/>
                <a:latin typeface="Calibri Light" panose="020F0302020204030204"/>
                <a:ea typeface="+mn-ea"/>
                <a:cs typeface="+mn-cs"/>
              </a:rPr>
              <a:t>…to industry</a:t>
            </a:r>
          </a:p>
          <a:p>
            <a:pPr marL="174625" marR="0" lvl="0" indent="-174625" algn="l" defTabSz="914400" rtl="0" eaLnBrk="1" fontAlgn="auto" latinLnBrk="0" hangingPunct="1">
              <a:lnSpc>
                <a:spcPct val="100000"/>
              </a:lnSpc>
              <a:spcBef>
                <a:spcPts val="1000"/>
              </a:spcBef>
              <a:spcAft>
                <a:spcPts val="0"/>
              </a:spcAft>
              <a:buClr>
                <a:srgbClr val="A9003D"/>
              </a:buClr>
              <a:buSzPct val="90000"/>
              <a:buFont typeface="Wingdings" panose="05000000000000000000" pitchFamily="2" charset="2"/>
              <a:buChar char="§"/>
              <a:tabLst/>
              <a:defRPr/>
            </a:pPr>
            <a:r>
              <a:rPr kumimoji="0" lang="en-US" sz="1400" b="0" i="0" u="none" strike="noStrike" kern="1200" cap="none" spc="0" normalizeH="0" baseline="0" noProof="0" dirty="0">
                <a:ln>
                  <a:noFill/>
                </a:ln>
                <a:solidFill>
                  <a:srgbClr val="152D43"/>
                </a:solidFill>
                <a:effectLst/>
                <a:uLnTx/>
                <a:uFillTx/>
                <a:latin typeface="Calibri Light" panose="020F0302020204030204"/>
                <a:ea typeface="+mn-ea"/>
                <a:cs typeface="+mn-cs"/>
              </a:rPr>
              <a:t>Certified Project Management Professional® </a:t>
            </a:r>
          </a:p>
          <a:p>
            <a:pPr marL="174625" marR="0" lvl="0" indent="-174625" algn="l" defTabSz="914400" rtl="0" eaLnBrk="1" fontAlgn="auto" latinLnBrk="0" hangingPunct="1">
              <a:lnSpc>
                <a:spcPct val="100000"/>
              </a:lnSpc>
              <a:spcBef>
                <a:spcPts val="1000"/>
              </a:spcBef>
              <a:spcAft>
                <a:spcPts val="0"/>
              </a:spcAft>
              <a:buClr>
                <a:srgbClr val="A9003D"/>
              </a:buClr>
              <a:buSzPct val="90000"/>
              <a:buFont typeface="Wingdings" panose="05000000000000000000" pitchFamily="2" charset="2"/>
              <a:buChar char="§"/>
              <a:tabLst/>
              <a:defRPr/>
            </a:pPr>
            <a:r>
              <a:rPr kumimoji="0" lang="en-US" sz="1400" b="0" i="0" u="none" strike="noStrike" kern="1200" cap="none" spc="0" normalizeH="0" baseline="0" noProof="0" dirty="0">
                <a:ln>
                  <a:noFill/>
                </a:ln>
                <a:solidFill>
                  <a:srgbClr val="152D43"/>
                </a:solidFill>
                <a:effectLst/>
                <a:uLnTx/>
                <a:uFillTx/>
                <a:latin typeface="Calibri Light" panose="020F0302020204030204"/>
                <a:ea typeface="+mn-ea"/>
                <a:cs typeface="+mn-cs"/>
              </a:rPr>
              <a:t>Working as project manager in a company that develops, produces and tests integrated circuits mainly used in the automotive industry</a:t>
            </a:r>
          </a:p>
          <a:p>
            <a:pPr marL="174625" marR="0" lvl="0" indent="-174625" algn="l" defTabSz="914400" rtl="0" eaLnBrk="1" fontAlgn="auto" latinLnBrk="0" hangingPunct="1">
              <a:lnSpc>
                <a:spcPct val="100000"/>
              </a:lnSpc>
              <a:spcBef>
                <a:spcPts val="1000"/>
              </a:spcBef>
              <a:spcAft>
                <a:spcPts val="0"/>
              </a:spcAft>
              <a:buClr>
                <a:srgbClr val="A9003D"/>
              </a:buClr>
              <a:buSzPct val="90000"/>
              <a:buFont typeface="Wingdings" panose="05000000000000000000" pitchFamily="2" charset="2"/>
              <a:buChar char="§"/>
              <a:tabLst/>
              <a:defRPr/>
            </a:pPr>
            <a:r>
              <a:rPr kumimoji="0" lang="en-US" sz="1400" b="0" i="0" u="none" strike="noStrike" kern="1200" cap="none" spc="0" normalizeH="0" baseline="0" noProof="0" dirty="0">
                <a:ln>
                  <a:noFill/>
                </a:ln>
                <a:solidFill>
                  <a:srgbClr val="152D43"/>
                </a:solidFill>
                <a:effectLst/>
                <a:uLnTx/>
                <a:uFillTx/>
                <a:latin typeface="Calibri Light" panose="020F0302020204030204"/>
                <a:ea typeface="+mn-ea"/>
                <a:cs typeface="+mn-cs"/>
              </a:rPr>
              <a:t>Leading a diverse team of engineers, designers, quality testers, logistic experts and many more</a:t>
            </a:r>
          </a:p>
          <a:p>
            <a:pPr marL="174625" marR="0" lvl="0" indent="-174625" algn="l" defTabSz="914400" rtl="0" eaLnBrk="1" fontAlgn="auto" latinLnBrk="0" hangingPunct="1">
              <a:lnSpc>
                <a:spcPct val="100000"/>
              </a:lnSpc>
              <a:spcBef>
                <a:spcPts val="1000"/>
              </a:spcBef>
              <a:spcAft>
                <a:spcPts val="0"/>
              </a:spcAft>
              <a:buClr>
                <a:srgbClr val="A9003D"/>
              </a:buClr>
              <a:buSzPct val="90000"/>
              <a:buFont typeface="Wingdings" panose="05000000000000000000" pitchFamily="2" charset="2"/>
              <a:buChar char="§"/>
              <a:tabLst/>
              <a:defRPr/>
            </a:pPr>
            <a:r>
              <a:rPr kumimoji="0" lang="en-US" sz="1400" b="0" i="0" u="none" strike="noStrike" kern="1200" cap="none" spc="0" normalizeH="0" baseline="0" noProof="0" dirty="0">
                <a:ln>
                  <a:noFill/>
                </a:ln>
                <a:solidFill>
                  <a:srgbClr val="152D43"/>
                </a:solidFill>
                <a:effectLst/>
                <a:uLnTx/>
                <a:uFillTx/>
                <a:latin typeface="Calibri Light" panose="020F0302020204030204"/>
                <a:ea typeface="+mn-ea"/>
                <a:cs typeface="+mn-cs"/>
              </a:rPr>
              <a:t>Bridging the communication between technical teams and customers</a:t>
            </a:r>
          </a:p>
          <a:p>
            <a:pPr marL="174625" marR="0" lvl="0" indent="-174625" algn="l" defTabSz="914400" rtl="0" eaLnBrk="1" fontAlgn="auto" latinLnBrk="0" hangingPunct="1">
              <a:lnSpc>
                <a:spcPct val="100000"/>
              </a:lnSpc>
              <a:spcBef>
                <a:spcPts val="1000"/>
              </a:spcBef>
              <a:spcAft>
                <a:spcPts val="0"/>
              </a:spcAft>
              <a:buClr>
                <a:srgbClr val="A9003D"/>
              </a:buClr>
              <a:buSzPct val="90000"/>
              <a:buFont typeface="Wingdings" panose="05000000000000000000" pitchFamily="2" charset="2"/>
              <a:buChar char="§"/>
              <a:tabLst/>
              <a:defRPr/>
            </a:pPr>
            <a:r>
              <a:rPr kumimoji="0" lang="en-US" sz="1400" b="0" i="0" u="none" strike="noStrike" kern="1200" cap="none" spc="0" normalizeH="0" baseline="0" noProof="0" dirty="0">
                <a:ln>
                  <a:noFill/>
                </a:ln>
                <a:solidFill>
                  <a:srgbClr val="152D43"/>
                </a:solidFill>
                <a:effectLst/>
                <a:uLnTx/>
                <a:uFillTx/>
                <a:latin typeface="Calibri Light" panose="020F0302020204030204"/>
                <a:ea typeface="+mn-ea"/>
                <a:cs typeface="+mn-cs"/>
              </a:rPr>
              <a:t>Head of PMO Service group, improving processes and tool landscape for project management work </a:t>
            </a:r>
          </a:p>
        </p:txBody>
      </p:sp>
      <p:pic>
        <p:nvPicPr>
          <p:cNvPr id="5" name="Grafik 4"/>
          <p:cNvPicPr>
            <a:picLocks noChangeAspect="1"/>
          </p:cNvPicPr>
          <p:nvPr/>
        </p:nvPicPr>
        <p:blipFill>
          <a:blip r:embed="rId7"/>
          <a:stretch>
            <a:fillRect/>
          </a:stretch>
        </p:blipFill>
        <p:spPr>
          <a:xfrm>
            <a:off x="6440923" y="4128456"/>
            <a:ext cx="4533309" cy="2552450"/>
          </a:xfrm>
          <a:prstGeom prst="rect">
            <a:avLst/>
          </a:prstGeom>
        </p:spPr>
      </p:pic>
      <p:pic>
        <p:nvPicPr>
          <p:cNvPr id="16" name="Grafik 15"/>
          <p:cNvPicPr>
            <a:picLocks noChangeAspect="1"/>
          </p:cNvPicPr>
          <p:nvPr/>
        </p:nvPicPr>
        <p:blipFill>
          <a:blip r:embed="rId8"/>
          <a:stretch>
            <a:fillRect/>
          </a:stretch>
        </p:blipFill>
        <p:spPr>
          <a:xfrm>
            <a:off x="427754" y="1177324"/>
            <a:ext cx="2449470" cy="1959575"/>
          </a:xfrm>
          <a:prstGeom prst="rect">
            <a:avLst/>
          </a:prstGeom>
        </p:spPr>
      </p:pic>
      <p:pic>
        <p:nvPicPr>
          <p:cNvPr id="23" name="Grafik 22"/>
          <p:cNvPicPr>
            <a:picLocks noChangeAspect="1"/>
          </p:cNvPicPr>
          <p:nvPr/>
        </p:nvPicPr>
        <p:blipFill>
          <a:blip r:embed="rId9"/>
          <a:stretch>
            <a:fillRect/>
          </a:stretch>
        </p:blipFill>
        <p:spPr>
          <a:xfrm>
            <a:off x="2958465" y="1176165"/>
            <a:ext cx="2942940" cy="1960734"/>
          </a:xfrm>
          <a:prstGeom prst="rect">
            <a:avLst/>
          </a:prstGeom>
        </p:spPr>
      </p:pic>
      <p:pic>
        <p:nvPicPr>
          <p:cNvPr id="24" name="Grafik 23"/>
          <p:cNvPicPr>
            <a:picLocks noChangeAspect="1"/>
          </p:cNvPicPr>
          <p:nvPr/>
        </p:nvPicPr>
        <p:blipFill>
          <a:blip r:embed="rId10"/>
          <a:stretch>
            <a:fillRect/>
          </a:stretch>
        </p:blipFill>
        <p:spPr>
          <a:xfrm>
            <a:off x="3365160" y="3633153"/>
            <a:ext cx="2533109" cy="557284"/>
          </a:xfrm>
          <a:prstGeom prst="rect">
            <a:avLst/>
          </a:prstGeom>
        </p:spPr>
      </p:pic>
      <p:pic>
        <p:nvPicPr>
          <p:cNvPr id="25" name="Grafik 24"/>
          <p:cNvPicPr>
            <a:picLocks noChangeAspect="1"/>
          </p:cNvPicPr>
          <p:nvPr/>
        </p:nvPicPr>
        <p:blipFill>
          <a:blip r:embed="rId11"/>
          <a:stretch>
            <a:fillRect/>
          </a:stretch>
        </p:blipFill>
        <p:spPr>
          <a:xfrm>
            <a:off x="191340" y="3801408"/>
            <a:ext cx="1948283" cy="363991"/>
          </a:xfrm>
          <a:prstGeom prst="rect">
            <a:avLst/>
          </a:prstGeom>
        </p:spPr>
      </p:pic>
      <p:pic>
        <p:nvPicPr>
          <p:cNvPr id="28" name="Grafik 27"/>
          <p:cNvPicPr>
            <a:picLocks noChangeAspect="1"/>
          </p:cNvPicPr>
          <p:nvPr/>
        </p:nvPicPr>
        <p:blipFill>
          <a:blip r:embed="rId12"/>
          <a:stretch>
            <a:fillRect/>
          </a:stretch>
        </p:blipFill>
        <p:spPr>
          <a:xfrm>
            <a:off x="2317688" y="3630531"/>
            <a:ext cx="843372" cy="856865"/>
          </a:xfrm>
          <a:prstGeom prst="rect">
            <a:avLst/>
          </a:prstGeom>
        </p:spPr>
      </p:pic>
      <p:pic>
        <p:nvPicPr>
          <p:cNvPr id="14" name="Grafik 13"/>
          <p:cNvPicPr>
            <a:picLocks noChangeAspect="1"/>
          </p:cNvPicPr>
          <p:nvPr/>
        </p:nvPicPr>
        <p:blipFill>
          <a:blip r:embed="rId13"/>
          <a:stretch>
            <a:fillRect/>
          </a:stretch>
        </p:blipFill>
        <p:spPr>
          <a:xfrm>
            <a:off x="9917180" y="4128455"/>
            <a:ext cx="1830467" cy="2559315"/>
          </a:xfrm>
          <a:prstGeom prst="rect">
            <a:avLst/>
          </a:prstGeom>
        </p:spPr>
      </p:pic>
      <p:pic>
        <p:nvPicPr>
          <p:cNvPr id="30" name="Grafik 29"/>
          <p:cNvPicPr>
            <a:picLocks noChangeAspect="1"/>
          </p:cNvPicPr>
          <p:nvPr/>
        </p:nvPicPr>
        <p:blipFill>
          <a:blip r:embed="rId14"/>
          <a:stretch>
            <a:fillRect/>
          </a:stretch>
        </p:blipFill>
        <p:spPr>
          <a:xfrm>
            <a:off x="10369082" y="4189435"/>
            <a:ext cx="926661" cy="926661"/>
          </a:xfrm>
          <a:prstGeom prst="rect">
            <a:avLst/>
          </a:prstGeom>
        </p:spPr>
      </p:pic>
      <p:cxnSp>
        <p:nvCxnSpPr>
          <p:cNvPr id="17" name="Gerader Verbinder 16"/>
          <p:cNvCxnSpPr/>
          <p:nvPr/>
        </p:nvCxnSpPr>
        <p:spPr>
          <a:xfrm>
            <a:off x="9917180" y="4731468"/>
            <a:ext cx="1830467" cy="0"/>
          </a:xfrm>
          <a:prstGeom prst="line">
            <a:avLst/>
          </a:prstGeom>
          <a:ln w="28575">
            <a:solidFill>
              <a:srgbClr val="DBE5ED"/>
            </a:solidFill>
          </a:ln>
        </p:spPr>
        <p:style>
          <a:lnRef idx="1">
            <a:schemeClr val="accent1"/>
          </a:lnRef>
          <a:fillRef idx="0">
            <a:schemeClr val="accent1"/>
          </a:fillRef>
          <a:effectRef idx="0">
            <a:schemeClr val="accent1"/>
          </a:effectRef>
          <a:fontRef idx="minor">
            <a:schemeClr val="tx1"/>
          </a:fontRef>
        </p:style>
      </p:cxnSp>
      <p:sp>
        <p:nvSpPr>
          <p:cNvPr id="19" name="Fußzeilenplatzhalter 3"/>
          <p:cNvSpPr>
            <a:spLocks noGrp="1"/>
          </p:cNvSpPr>
          <p:nvPr>
            <p:ph type="ftr" sz="quarter" idx="10"/>
          </p:nvPr>
        </p:nvSpPr>
        <p:spPr>
          <a:xfrm>
            <a:off x="-2" y="6449218"/>
            <a:ext cx="11387471" cy="408782"/>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tint val="75000"/>
                  </a:srgbClr>
                </a:solidFill>
                <a:effectLst/>
                <a:uLnTx/>
                <a:uFillTx/>
                <a:latin typeface="Calibri" panose="020F0502020204030204"/>
                <a:ea typeface="+mn-ea"/>
                <a:cs typeface="+mn-cs"/>
              </a:rPr>
              <a:t>Copyright ©2023/2024 Elmos Semiconductor SE </a:t>
            </a:r>
          </a:p>
        </p:txBody>
      </p:sp>
    </p:spTree>
    <p:extLst>
      <p:ext uri="{BB962C8B-B14F-4D97-AF65-F5344CB8AC3E}">
        <p14:creationId xmlns:p14="http://schemas.microsoft.com/office/powerpoint/2010/main" val="163160406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5" name="Objekt 4" hidden="1"/>
                      <p:cNvPicPr/>
                      <p:nvPr/>
                    </p:nvPicPr>
                    <p:blipFill>
                      <a:blip r:embed="rId6"/>
                      <a:stretch>
                        <a:fillRect/>
                      </a:stretch>
                    </p:blipFill>
                    <p:spPr>
                      <a:xfrm>
                        <a:off x="1525589" y="1589"/>
                        <a:ext cx="1587" cy="1587"/>
                      </a:xfrm>
                      <a:prstGeom prst="rect">
                        <a:avLst/>
                      </a:prstGeom>
                    </p:spPr>
                  </p:pic>
                </p:oleObj>
              </mc:Fallback>
            </mc:AlternateContent>
          </a:graphicData>
        </a:graphic>
      </p:graphicFrame>
      <p:sp>
        <p:nvSpPr>
          <p:cNvPr id="10" name="Rechteck 9" hidden="1"/>
          <p:cNvSpPr/>
          <p:nvPr>
            <p:custDataLst>
              <p:tags r:id="rId2"/>
            </p:custDataLst>
          </p:nvPr>
        </p:nvSpPr>
        <p:spPr>
          <a:xfrm>
            <a:off x="1524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457200" rtl="0" eaLnBrk="1" fontAlgn="auto" latinLnBrk="0" hangingPunct="1">
              <a:lnSpc>
                <a:spcPts val="22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2" name="Titel 1"/>
          <p:cNvSpPr>
            <a:spLocks noGrp="1"/>
          </p:cNvSpPr>
          <p:nvPr>
            <p:ph type="title"/>
          </p:nvPr>
        </p:nvSpPr>
        <p:spPr/>
        <p:txBody>
          <a:bodyPr vert="horz"/>
          <a:lstStyle/>
          <a:p>
            <a:r>
              <a:rPr lang="en-US" dirty="0"/>
              <a:t>Project Management is more than planning…</a:t>
            </a:r>
          </a:p>
        </p:txBody>
      </p:sp>
      <p:sp>
        <p:nvSpPr>
          <p:cNvPr id="4" name="Foliennummernplatzhalter 3"/>
          <p:cNvSpPr>
            <a:spLocks noGrp="1"/>
          </p:cNvSpPr>
          <p:nvPr>
            <p:ph type="sldNum" sz="quarter" idx="4294967295"/>
          </p:nvPr>
        </p:nvSpPr>
        <p:spPr>
          <a:xfrm>
            <a:off x="11482388" y="6448425"/>
            <a:ext cx="709612" cy="401638"/>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A97D6A5-620B-4A72-96E6-46CF9DB80298}" type="slidenum">
              <a:rPr kumimoji="0" lang="en-US" sz="1200" b="0" i="0" u="none" strike="noStrike" kern="1200" cap="none" spc="0" normalizeH="0" baseline="0" noProof="0">
                <a:ln>
                  <a:noFill/>
                </a:ln>
                <a:solidFill>
                  <a:srgbClr val="000000">
                    <a:tint val="75000"/>
                  </a:srgb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srgbClr val="000000">
                  <a:tint val="75000"/>
                </a:srgbClr>
              </a:solidFill>
              <a:effectLst/>
              <a:uLnTx/>
              <a:uFillTx/>
              <a:latin typeface="Calibri"/>
              <a:ea typeface="+mn-ea"/>
              <a:cs typeface="+mn-cs"/>
            </a:endParaRPr>
          </a:p>
        </p:txBody>
      </p:sp>
      <p:sp>
        <p:nvSpPr>
          <p:cNvPr id="141" name="Fußzeilenplatzhalter 3"/>
          <p:cNvSpPr>
            <a:spLocks noGrp="1"/>
          </p:cNvSpPr>
          <p:nvPr>
            <p:ph type="ftr" sz="quarter" idx="4294967295"/>
          </p:nvPr>
        </p:nvSpPr>
        <p:spPr>
          <a:xfrm>
            <a:off x="0" y="6448425"/>
            <a:ext cx="11387138" cy="40957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tint val="75000"/>
                  </a:srgbClr>
                </a:solidFill>
                <a:effectLst/>
                <a:uLnTx/>
                <a:uFillTx/>
                <a:latin typeface="Calibri" panose="020F0502020204030204"/>
                <a:ea typeface="+mn-ea"/>
                <a:cs typeface="+mn-cs"/>
              </a:rPr>
              <a:t>Copyright ©2023/2024 Elmos Semiconductor SE </a:t>
            </a:r>
          </a:p>
        </p:txBody>
      </p:sp>
      <p:pic>
        <p:nvPicPr>
          <p:cNvPr id="14" name="Grafik 13"/>
          <p:cNvPicPr>
            <a:picLocks noChangeAspect="1"/>
          </p:cNvPicPr>
          <p:nvPr/>
        </p:nvPicPr>
        <p:blipFill>
          <a:blip r:embed="rId7"/>
          <a:stretch>
            <a:fillRect/>
          </a:stretch>
        </p:blipFill>
        <p:spPr>
          <a:xfrm>
            <a:off x="321732" y="1171947"/>
            <a:ext cx="5271985" cy="3213297"/>
          </a:xfrm>
          <a:prstGeom prst="rect">
            <a:avLst/>
          </a:prstGeom>
        </p:spPr>
      </p:pic>
      <p:sp>
        <p:nvSpPr>
          <p:cNvPr id="142" name="Inhaltsplatzhalter 13"/>
          <p:cNvSpPr>
            <a:spLocks noGrp="1"/>
          </p:cNvSpPr>
          <p:nvPr>
            <p:ph idx="12"/>
          </p:nvPr>
        </p:nvSpPr>
        <p:spPr>
          <a:xfrm>
            <a:off x="5804697" y="1119864"/>
            <a:ext cx="5473301" cy="1982219"/>
          </a:xfrm>
        </p:spPr>
        <p:txBody>
          <a:bodyPr/>
          <a:lstStyle/>
          <a:p>
            <a:pPr marL="0" indent="0">
              <a:buNone/>
            </a:pPr>
            <a:r>
              <a:rPr lang="en-US" dirty="0"/>
              <a:t>A project manager: </a:t>
            </a:r>
          </a:p>
          <a:p>
            <a:r>
              <a:rPr lang="en-US" dirty="0"/>
              <a:t>Shapes a development project from the start</a:t>
            </a:r>
          </a:p>
          <a:p>
            <a:r>
              <a:rPr lang="en-US" dirty="0"/>
              <a:t>Gives direction to the team &amp; leads it </a:t>
            </a:r>
          </a:p>
          <a:p>
            <a:r>
              <a:rPr lang="en-US" dirty="0"/>
              <a:t>Keeps track of important KPIs </a:t>
            </a:r>
            <a:r>
              <a:rPr lang="en-US" sz="1200" dirty="0"/>
              <a:t>(</a:t>
            </a:r>
            <a:r>
              <a:rPr lang="en-US" sz="1200" b="1" dirty="0"/>
              <a:t>K</a:t>
            </a:r>
            <a:r>
              <a:rPr lang="en-US" sz="1200" dirty="0"/>
              <a:t>ey </a:t>
            </a:r>
            <a:r>
              <a:rPr lang="en-US" sz="1200" b="1" dirty="0"/>
              <a:t>P</a:t>
            </a:r>
            <a:r>
              <a:rPr lang="en-US" sz="1200" dirty="0"/>
              <a:t>erformance </a:t>
            </a:r>
            <a:r>
              <a:rPr lang="en-US" sz="1200" b="1" dirty="0"/>
              <a:t>I</a:t>
            </a:r>
            <a:r>
              <a:rPr lang="en-US" sz="1200" dirty="0"/>
              <a:t>ndicators)</a:t>
            </a:r>
            <a:r>
              <a:rPr lang="en-US" dirty="0"/>
              <a:t> and ensures the project stays on track</a:t>
            </a:r>
          </a:p>
        </p:txBody>
      </p:sp>
      <p:pic>
        <p:nvPicPr>
          <p:cNvPr id="160" name="Grafik 159"/>
          <p:cNvPicPr>
            <a:picLocks noChangeAspect="1"/>
          </p:cNvPicPr>
          <p:nvPr/>
        </p:nvPicPr>
        <p:blipFill>
          <a:blip r:embed="rId8"/>
          <a:stretch>
            <a:fillRect/>
          </a:stretch>
        </p:blipFill>
        <p:spPr>
          <a:xfrm>
            <a:off x="854753" y="4547328"/>
            <a:ext cx="3562765" cy="1600225"/>
          </a:xfrm>
          <a:prstGeom prst="rect">
            <a:avLst/>
          </a:prstGeom>
          <a:ln>
            <a:solidFill>
              <a:srgbClr val="C00000"/>
            </a:solidFill>
          </a:ln>
        </p:spPr>
      </p:pic>
      <p:pic>
        <p:nvPicPr>
          <p:cNvPr id="161" name="Inhaltsplatzhalter 8"/>
          <p:cNvPicPr>
            <a:picLocks noGrp="1" noChangeAspect="1"/>
          </p:cNvPicPr>
          <p:nvPr>
            <p:ph idx="1"/>
          </p:nvPr>
        </p:nvPicPr>
        <p:blipFill>
          <a:blip r:embed="rId9"/>
          <a:stretch>
            <a:fillRect/>
          </a:stretch>
        </p:blipFill>
        <p:spPr>
          <a:xfrm>
            <a:off x="7623240" y="4836879"/>
            <a:ext cx="4145248" cy="1797913"/>
          </a:xfrm>
          <a:prstGeom prst="rect">
            <a:avLst/>
          </a:prstGeom>
          <a:ln>
            <a:solidFill>
              <a:schemeClr val="accent1"/>
            </a:solidFill>
          </a:ln>
        </p:spPr>
      </p:pic>
      <p:pic>
        <p:nvPicPr>
          <p:cNvPr id="179" name="Grafik 178"/>
          <p:cNvPicPr>
            <a:picLocks noChangeAspect="1"/>
          </p:cNvPicPr>
          <p:nvPr/>
        </p:nvPicPr>
        <p:blipFill>
          <a:blip r:embed="rId10"/>
          <a:stretch>
            <a:fillRect/>
          </a:stretch>
        </p:blipFill>
        <p:spPr>
          <a:xfrm>
            <a:off x="4171627" y="4790282"/>
            <a:ext cx="1689780" cy="1987476"/>
          </a:xfrm>
          <a:prstGeom prst="rect">
            <a:avLst/>
          </a:prstGeom>
          <a:ln>
            <a:solidFill>
              <a:srgbClr val="C00000"/>
            </a:solidFill>
          </a:ln>
        </p:spPr>
      </p:pic>
      <p:pic>
        <p:nvPicPr>
          <p:cNvPr id="181" name="Grafik 180"/>
          <p:cNvPicPr>
            <a:picLocks noChangeAspect="1"/>
          </p:cNvPicPr>
          <p:nvPr/>
        </p:nvPicPr>
        <p:blipFill rotWithShape="1">
          <a:blip r:embed="rId11"/>
          <a:srcRect l="50722" t="-809" r="25818" b="4344"/>
          <a:stretch/>
        </p:blipFill>
        <p:spPr>
          <a:xfrm>
            <a:off x="6262071" y="4880110"/>
            <a:ext cx="960505" cy="1711453"/>
          </a:xfrm>
          <a:prstGeom prst="rect">
            <a:avLst/>
          </a:prstGeom>
        </p:spPr>
      </p:pic>
      <p:pic>
        <p:nvPicPr>
          <p:cNvPr id="182" name="Grafik 181"/>
          <p:cNvPicPr>
            <a:picLocks noChangeAspect="1"/>
          </p:cNvPicPr>
          <p:nvPr/>
        </p:nvPicPr>
        <p:blipFill>
          <a:blip r:embed="rId12"/>
          <a:stretch>
            <a:fillRect/>
          </a:stretch>
        </p:blipFill>
        <p:spPr>
          <a:xfrm>
            <a:off x="9248488" y="3248166"/>
            <a:ext cx="2520000" cy="1467200"/>
          </a:xfrm>
          <a:prstGeom prst="rect">
            <a:avLst/>
          </a:prstGeom>
          <a:ln>
            <a:solidFill>
              <a:schemeClr val="accent1"/>
            </a:solidFill>
          </a:ln>
        </p:spPr>
      </p:pic>
      <p:pic>
        <p:nvPicPr>
          <p:cNvPr id="183" name="Grafik 182"/>
          <p:cNvPicPr>
            <a:picLocks noChangeAspect="1"/>
          </p:cNvPicPr>
          <p:nvPr/>
        </p:nvPicPr>
        <p:blipFill>
          <a:blip r:embed="rId13"/>
          <a:stretch>
            <a:fillRect/>
          </a:stretch>
        </p:blipFill>
        <p:spPr>
          <a:xfrm>
            <a:off x="6199880" y="3248166"/>
            <a:ext cx="2681849" cy="1467200"/>
          </a:xfrm>
          <a:prstGeom prst="rect">
            <a:avLst/>
          </a:prstGeom>
          <a:ln>
            <a:solidFill>
              <a:schemeClr val="accent1"/>
            </a:solidFill>
          </a:ln>
        </p:spPr>
      </p:pic>
    </p:spTree>
    <p:extLst>
      <p:ext uri="{BB962C8B-B14F-4D97-AF65-F5344CB8AC3E}">
        <p14:creationId xmlns:p14="http://schemas.microsoft.com/office/powerpoint/2010/main" val="4277470334"/>
      </p:ext>
    </p:extLst>
  </p:cSld>
  <p:clrMapOvr>
    <a:masterClrMapping/>
  </p:clrMapOvr>
  <p:transition spd="slow">
    <p:push dir="u"/>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4C161FAD-ACC4-D703-7B5B-437E10990EB9}"/>
              </a:ext>
            </a:extLst>
          </p:cNvPr>
          <p:cNvSpPr>
            <a:spLocks noGrp="1"/>
          </p:cNvSpPr>
          <p:nvPr>
            <p:ph type="title"/>
          </p:nvPr>
        </p:nvSpPr>
        <p:spPr>
          <a:xfrm>
            <a:off x="838200" y="2766218"/>
            <a:ext cx="10515600" cy="1325563"/>
          </a:xfrm>
        </p:spPr>
        <p:txBody>
          <a:bodyPr/>
          <a:lstStyle/>
          <a:p>
            <a:pPr algn="ctr"/>
            <a:r>
              <a:rPr lang="en-GB" dirty="0"/>
              <a:t>Jon Burr</a:t>
            </a:r>
          </a:p>
        </p:txBody>
      </p:sp>
    </p:spTree>
    <p:extLst>
      <p:ext uri="{BB962C8B-B14F-4D97-AF65-F5344CB8AC3E}">
        <p14:creationId xmlns:p14="http://schemas.microsoft.com/office/powerpoint/2010/main" val="135657207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D4DFE36-0A63-DE4F-89A8-5F2F748B0832}"/>
              </a:ext>
            </a:extLst>
          </p:cNvPr>
          <p:cNvPicPr>
            <a:picLocks noChangeAspect="1"/>
          </p:cNvPicPr>
          <p:nvPr/>
        </p:nvPicPr>
        <p:blipFill rotWithShape="1">
          <a:blip r:embed="rId2"/>
          <a:srcRect l="14924" t="9002" r="2594" b="11110"/>
          <a:stretch/>
        </p:blipFill>
        <p:spPr>
          <a:xfrm>
            <a:off x="1" y="1"/>
            <a:ext cx="12192000" cy="6858000"/>
          </a:xfrm>
          <a:prstGeom prst="rect">
            <a:avLst/>
          </a:prstGeom>
        </p:spPr>
      </p:pic>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8928C658-DD3D-5829-7B0B-BB4EEE05611E}"/>
                  </a:ext>
                </a:extLst>
              </p:cNvPr>
              <p:cNvSpPr txBox="1"/>
              <p:nvPr/>
            </p:nvSpPr>
            <p:spPr>
              <a:xfrm>
                <a:off x="397164" y="1782619"/>
                <a:ext cx="2844799" cy="1221040"/>
              </a:xfrm>
              <a:prstGeom prst="rect">
                <a:avLst/>
              </a:prstGeom>
              <a:solidFill>
                <a:schemeClr val="bg1">
                  <a:alpha val="80000"/>
                </a:schemeClr>
              </a:solidFill>
              <a:effectLst>
                <a:softEdge rad="63500"/>
              </a:effectLst>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rPr>
                  <a:t>PhD at Oxford (2014-2018)</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err="1">
                    <a:ln>
                      <a:noFill/>
                    </a:ln>
                    <a:solidFill>
                      <a:prstClr val="black"/>
                    </a:solidFill>
                    <a:effectLst/>
                    <a:uLnTx/>
                    <a:uFillTx/>
                    <a:latin typeface="Aptos" panose="02110004020202020204"/>
                    <a:ea typeface="+mn-ea"/>
                    <a:cs typeface="+mn-cs"/>
                  </a:rPr>
                  <a:t>Multijet</a:t>
                </a:r>
                <a:r>
                  <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rPr>
                  <a:t> SUSY search</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14:m>
                  <m:oMath xmlns:m="http://schemas.openxmlformats.org/officeDocument/2006/math">
                    <m:sSubSup>
                      <m:sSubSupPr>
                        <m:ctrlPr>
                          <a:rPr kumimoji="0" lang="en-GB" sz="18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bSupPr>
                      <m:e>
                        <m:r>
                          <a:rPr kumimoji="0" lang="en-US" sz="18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𝐸</m:t>
                        </m:r>
                      </m:e>
                      <m:sub>
                        <m:r>
                          <m:rPr>
                            <m:sty m:val="p"/>
                          </m:rPr>
                          <a:rPr kumimoji="0" lang="en-US" sz="1800" b="0" i="0"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T</m:t>
                        </m:r>
                      </m:sub>
                      <m:sup>
                        <m:r>
                          <m:rPr>
                            <m:sty m:val="p"/>
                          </m:rPr>
                          <a:rPr kumimoji="0" lang="en-US" sz="1800" b="0" i="0"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miss</m:t>
                        </m:r>
                      </m:sup>
                    </m:sSubSup>
                  </m:oMath>
                </a14:m>
                <a:r>
                  <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rPr>
                  <a:t> trigger software manager</a:t>
                </a:r>
              </a:p>
            </p:txBody>
          </p:sp>
        </mc:Choice>
        <mc:Fallback xmlns="">
          <p:sp>
            <p:nvSpPr>
              <p:cNvPr id="6" name="TextBox 5">
                <a:extLst>
                  <a:ext uri="{FF2B5EF4-FFF2-40B4-BE49-F238E27FC236}">
                    <a16:creationId xmlns:a16="http://schemas.microsoft.com/office/drawing/2014/main" id="{8928C658-DD3D-5829-7B0B-BB4EEE05611E}"/>
                  </a:ext>
                </a:extLst>
              </p:cNvPr>
              <p:cNvSpPr txBox="1">
                <a:spLocks noRot="1" noChangeAspect="1" noMove="1" noResize="1" noEditPoints="1" noAdjustHandles="1" noChangeArrowheads="1" noChangeShapeType="1" noTextEdit="1"/>
              </p:cNvSpPr>
              <p:nvPr/>
            </p:nvSpPr>
            <p:spPr>
              <a:xfrm>
                <a:off x="397164" y="1782619"/>
                <a:ext cx="2844799" cy="1221040"/>
              </a:xfrm>
              <a:prstGeom prst="rect">
                <a:avLst/>
              </a:prstGeom>
              <a:blipFill>
                <a:blip r:embed="rId3"/>
                <a:stretch>
                  <a:fillRect l="-1713" t="-1990" b="-6965"/>
                </a:stretch>
              </a:blipFill>
              <a:effectLst>
                <a:softEdge rad="63500"/>
              </a:effectLst>
            </p:spPr>
            <p:txBody>
              <a:bodyPr/>
              <a:lstStyle/>
              <a:p>
                <a:r>
                  <a:rPr lang="en-GB">
                    <a:noFill/>
                  </a:rPr>
                  <a:t> </a:t>
                </a:r>
              </a:p>
            </p:txBody>
          </p:sp>
        </mc:Fallback>
      </mc:AlternateContent>
    </p:spTree>
    <p:extLst>
      <p:ext uri="{BB962C8B-B14F-4D97-AF65-F5344CB8AC3E}">
        <p14:creationId xmlns:p14="http://schemas.microsoft.com/office/powerpoint/2010/main" val="151631846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D4DFE36-0A63-DE4F-89A8-5F2F748B0832}"/>
              </a:ext>
            </a:extLst>
          </p:cNvPr>
          <p:cNvPicPr>
            <a:picLocks noChangeAspect="1"/>
          </p:cNvPicPr>
          <p:nvPr/>
        </p:nvPicPr>
        <p:blipFill rotWithShape="1">
          <a:blip r:embed="rId2"/>
          <a:srcRect l="14924" t="9002" r="2594" b="11110"/>
          <a:stretch/>
        </p:blipFill>
        <p:spPr>
          <a:xfrm>
            <a:off x="1" y="1"/>
            <a:ext cx="12192000" cy="6858000"/>
          </a:xfrm>
          <a:prstGeom prst="rect">
            <a:avLst/>
          </a:prstGeom>
        </p:spPr>
      </p:pic>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8928C658-DD3D-5829-7B0B-BB4EEE05611E}"/>
                  </a:ext>
                </a:extLst>
              </p:cNvPr>
              <p:cNvSpPr txBox="1"/>
              <p:nvPr/>
            </p:nvSpPr>
            <p:spPr>
              <a:xfrm>
                <a:off x="397164" y="1782619"/>
                <a:ext cx="2844799" cy="1221040"/>
              </a:xfrm>
              <a:prstGeom prst="rect">
                <a:avLst/>
              </a:prstGeom>
              <a:solidFill>
                <a:schemeClr val="bg1">
                  <a:alpha val="80000"/>
                </a:schemeClr>
              </a:solidFill>
              <a:effectLst>
                <a:softEdge rad="63500"/>
              </a:effectLst>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rPr>
                  <a:t>PhD at Oxford (2014-2018)</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err="1">
                    <a:ln>
                      <a:noFill/>
                    </a:ln>
                    <a:solidFill>
                      <a:prstClr val="black"/>
                    </a:solidFill>
                    <a:effectLst/>
                    <a:uLnTx/>
                    <a:uFillTx/>
                    <a:latin typeface="Aptos" panose="02110004020202020204"/>
                    <a:ea typeface="+mn-ea"/>
                    <a:cs typeface="+mn-cs"/>
                  </a:rPr>
                  <a:t>Multijet</a:t>
                </a:r>
                <a:r>
                  <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rPr>
                  <a:t> SUSY search</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14:m>
                  <m:oMath xmlns:m="http://schemas.openxmlformats.org/officeDocument/2006/math">
                    <m:sSubSup>
                      <m:sSubSupPr>
                        <m:ctrlPr>
                          <a:rPr kumimoji="0" lang="en-GB" sz="18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bSupPr>
                      <m:e>
                        <m:r>
                          <a:rPr kumimoji="0" lang="en-US" sz="18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𝐸</m:t>
                        </m:r>
                      </m:e>
                      <m:sub>
                        <m:r>
                          <m:rPr>
                            <m:sty m:val="p"/>
                          </m:rPr>
                          <a:rPr kumimoji="0" lang="en-US" sz="1800" b="0" i="0"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T</m:t>
                        </m:r>
                      </m:sub>
                      <m:sup>
                        <m:r>
                          <m:rPr>
                            <m:sty m:val="p"/>
                          </m:rPr>
                          <a:rPr kumimoji="0" lang="en-US" sz="1800" b="0" i="0"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miss</m:t>
                        </m:r>
                      </m:sup>
                    </m:sSubSup>
                  </m:oMath>
                </a14:m>
                <a:r>
                  <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rPr>
                  <a:t> trigger software manager</a:t>
                </a:r>
              </a:p>
            </p:txBody>
          </p:sp>
        </mc:Choice>
        <mc:Fallback xmlns="">
          <p:sp>
            <p:nvSpPr>
              <p:cNvPr id="6" name="TextBox 5">
                <a:extLst>
                  <a:ext uri="{FF2B5EF4-FFF2-40B4-BE49-F238E27FC236}">
                    <a16:creationId xmlns:a16="http://schemas.microsoft.com/office/drawing/2014/main" id="{8928C658-DD3D-5829-7B0B-BB4EEE05611E}"/>
                  </a:ext>
                </a:extLst>
              </p:cNvPr>
              <p:cNvSpPr txBox="1">
                <a:spLocks noRot="1" noChangeAspect="1" noMove="1" noResize="1" noEditPoints="1" noAdjustHandles="1" noChangeArrowheads="1" noChangeShapeType="1" noTextEdit="1"/>
              </p:cNvSpPr>
              <p:nvPr/>
            </p:nvSpPr>
            <p:spPr>
              <a:xfrm>
                <a:off x="397164" y="1782619"/>
                <a:ext cx="2844799" cy="1221040"/>
              </a:xfrm>
              <a:prstGeom prst="rect">
                <a:avLst/>
              </a:prstGeom>
              <a:blipFill>
                <a:blip r:embed="rId3"/>
                <a:stretch>
                  <a:fillRect l="-1713" t="-1990" b="-6965"/>
                </a:stretch>
              </a:blipFill>
              <a:effectLst>
                <a:softEdge rad="63500"/>
              </a:effectLst>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5290F0B2-393D-DD53-1CD4-7CA6F6399B9E}"/>
                  </a:ext>
                </a:extLst>
              </p:cNvPr>
              <p:cNvSpPr txBox="1"/>
              <p:nvPr/>
            </p:nvSpPr>
            <p:spPr>
              <a:xfrm>
                <a:off x="7827817" y="914075"/>
                <a:ext cx="3431309" cy="1775038"/>
              </a:xfrm>
              <a:prstGeom prst="rect">
                <a:avLst/>
              </a:prstGeom>
              <a:solidFill>
                <a:schemeClr val="bg1">
                  <a:alpha val="80000"/>
                </a:schemeClr>
              </a:solidFill>
              <a:effectLst>
                <a:softEdge rad="63500"/>
              </a:effectLst>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err="1">
                    <a:ln>
                      <a:noFill/>
                    </a:ln>
                    <a:solidFill>
                      <a:prstClr val="black"/>
                    </a:solidFill>
                    <a:effectLst/>
                    <a:uLnTx/>
                    <a:uFillTx/>
                    <a:latin typeface="Aptos" panose="02110004020202020204"/>
                    <a:ea typeface="+mn-ea"/>
                    <a:cs typeface="+mn-cs"/>
                  </a:rPr>
                  <a:t>PostDoc</a:t>
                </a:r>
                <a:r>
                  <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rPr>
                  <a:t> at DESY (2018-2021)</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14:m>
                  <m:oMath xmlns:m="http://schemas.openxmlformats.org/officeDocument/2006/math">
                    <m:sSubSup>
                      <m:sSubSupPr>
                        <m:ctrlPr>
                          <a:rPr kumimoji="0" lang="en-GB" sz="18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bSupPr>
                      <m:e>
                        <m:r>
                          <a:rPr kumimoji="0" lang="en-US" sz="18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𝐸</m:t>
                        </m:r>
                      </m:e>
                      <m:sub>
                        <m:r>
                          <m:rPr>
                            <m:sty m:val="p"/>
                          </m:rPr>
                          <a:rPr kumimoji="0" lang="en-US" sz="1800" b="0" i="0"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T</m:t>
                        </m:r>
                      </m:sub>
                      <m:sup>
                        <m:r>
                          <m:rPr>
                            <m:sty m:val="p"/>
                          </m:rPr>
                          <a:rPr kumimoji="0" lang="en-US" sz="1800" b="0" i="0"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miss</m:t>
                        </m:r>
                      </m:sup>
                    </m:sSubSup>
                  </m:oMath>
                </a14:m>
                <a:r>
                  <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rPr>
                  <a:t> trigger coordinato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rPr>
                  <a:t>Constructed and developed electrical tape testing robot for ATLAS upgrad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rPr>
                  <a:t>2 Higgs + Dark Matter search</a:t>
                </a:r>
              </a:p>
            </p:txBody>
          </p:sp>
        </mc:Choice>
        <mc:Fallback xmlns="">
          <p:sp>
            <p:nvSpPr>
              <p:cNvPr id="7" name="TextBox 6">
                <a:extLst>
                  <a:ext uri="{FF2B5EF4-FFF2-40B4-BE49-F238E27FC236}">
                    <a16:creationId xmlns:a16="http://schemas.microsoft.com/office/drawing/2014/main" id="{5290F0B2-393D-DD53-1CD4-7CA6F6399B9E}"/>
                  </a:ext>
                </a:extLst>
              </p:cNvPr>
              <p:cNvSpPr txBox="1">
                <a:spLocks noRot="1" noChangeAspect="1" noMove="1" noResize="1" noEditPoints="1" noAdjustHandles="1" noChangeArrowheads="1" noChangeShapeType="1" noTextEdit="1"/>
              </p:cNvSpPr>
              <p:nvPr/>
            </p:nvSpPr>
            <p:spPr>
              <a:xfrm>
                <a:off x="7827817" y="914075"/>
                <a:ext cx="3431309" cy="1775038"/>
              </a:xfrm>
              <a:prstGeom prst="rect">
                <a:avLst/>
              </a:prstGeom>
              <a:blipFill>
                <a:blip r:embed="rId4"/>
                <a:stretch>
                  <a:fillRect l="-1421" t="-1718" b="-4811"/>
                </a:stretch>
              </a:blipFill>
              <a:effectLst>
                <a:softEdge rad="63500"/>
              </a:effectLst>
            </p:spPr>
            <p:txBody>
              <a:bodyPr/>
              <a:lstStyle/>
              <a:p>
                <a:r>
                  <a:rPr lang="en-GB">
                    <a:noFill/>
                  </a:rPr>
                  <a:t> </a:t>
                </a:r>
              </a:p>
            </p:txBody>
          </p:sp>
        </mc:Fallback>
      </mc:AlternateContent>
      <p:pic>
        <p:nvPicPr>
          <p:cNvPr id="3" name="Picture 2" descr="A machine with wires and wires&#10;&#10;Description automatically generated">
            <a:extLst>
              <a:ext uri="{FF2B5EF4-FFF2-40B4-BE49-F238E27FC236}">
                <a16:creationId xmlns:a16="http://schemas.microsoft.com/office/drawing/2014/main" id="{DF8905CC-B0EF-EBA8-74B6-49E323DC175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874327" y="2789049"/>
            <a:ext cx="5256697" cy="3941482"/>
          </a:xfrm>
          <a:prstGeom prst="rect">
            <a:avLst/>
          </a:prstGeom>
        </p:spPr>
      </p:pic>
    </p:spTree>
    <p:extLst>
      <p:ext uri="{BB962C8B-B14F-4D97-AF65-F5344CB8AC3E}">
        <p14:creationId xmlns:p14="http://schemas.microsoft.com/office/powerpoint/2010/main" val="357274454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D4DFE36-0A63-DE4F-89A8-5F2F748B0832}"/>
              </a:ext>
            </a:extLst>
          </p:cNvPr>
          <p:cNvPicPr>
            <a:picLocks noChangeAspect="1"/>
          </p:cNvPicPr>
          <p:nvPr/>
        </p:nvPicPr>
        <p:blipFill rotWithShape="1">
          <a:blip r:embed="rId2"/>
          <a:srcRect l="14924" t="9002" r="2594" b="11110"/>
          <a:stretch/>
        </p:blipFill>
        <p:spPr>
          <a:xfrm>
            <a:off x="1" y="1"/>
            <a:ext cx="12192000" cy="6858000"/>
          </a:xfrm>
          <a:prstGeom prst="rect">
            <a:avLst/>
          </a:prstGeom>
        </p:spPr>
      </p:pic>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8928C658-DD3D-5829-7B0B-BB4EEE05611E}"/>
                  </a:ext>
                </a:extLst>
              </p:cNvPr>
              <p:cNvSpPr txBox="1"/>
              <p:nvPr/>
            </p:nvSpPr>
            <p:spPr>
              <a:xfrm>
                <a:off x="397164" y="1782619"/>
                <a:ext cx="2844799" cy="1221040"/>
              </a:xfrm>
              <a:prstGeom prst="rect">
                <a:avLst/>
              </a:prstGeom>
              <a:solidFill>
                <a:schemeClr val="bg1">
                  <a:alpha val="80000"/>
                </a:schemeClr>
              </a:solidFill>
              <a:effectLst>
                <a:softEdge rad="63500"/>
              </a:effectLst>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rPr>
                  <a:t>PhD at Oxford (2014-2018)</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err="1">
                    <a:ln>
                      <a:noFill/>
                    </a:ln>
                    <a:solidFill>
                      <a:prstClr val="black"/>
                    </a:solidFill>
                    <a:effectLst/>
                    <a:uLnTx/>
                    <a:uFillTx/>
                    <a:latin typeface="Aptos" panose="02110004020202020204"/>
                    <a:ea typeface="+mn-ea"/>
                    <a:cs typeface="+mn-cs"/>
                  </a:rPr>
                  <a:t>Multijet</a:t>
                </a:r>
                <a:r>
                  <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rPr>
                  <a:t> SUSY search</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14:m>
                  <m:oMath xmlns:m="http://schemas.openxmlformats.org/officeDocument/2006/math">
                    <m:sSubSup>
                      <m:sSubSupPr>
                        <m:ctrlPr>
                          <a:rPr kumimoji="0" lang="en-GB" sz="18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bSupPr>
                      <m:e>
                        <m:r>
                          <a:rPr kumimoji="0" lang="en-US" sz="18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𝐸</m:t>
                        </m:r>
                      </m:e>
                      <m:sub>
                        <m:r>
                          <m:rPr>
                            <m:sty m:val="p"/>
                          </m:rPr>
                          <a:rPr kumimoji="0" lang="en-US" sz="1800" b="0" i="0"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T</m:t>
                        </m:r>
                      </m:sub>
                      <m:sup>
                        <m:r>
                          <m:rPr>
                            <m:sty m:val="p"/>
                          </m:rPr>
                          <a:rPr kumimoji="0" lang="en-US" sz="1800" b="0" i="0"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miss</m:t>
                        </m:r>
                      </m:sup>
                    </m:sSubSup>
                  </m:oMath>
                </a14:m>
                <a:r>
                  <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rPr>
                  <a:t> trigger software manager</a:t>
                </a:r>
              </a:p>
            </p:txBody>
          </p:sp>
        </mc:Choice>
        <mc:Fallback xmlns="">
          <p:sp>
            <p:nvSpPr>
              <p:cNvPr id="6" name="TextBox 5">
                <a:extLst>
                  <a:ext uri="{FF2B5EF4-FFF2-40B4-BE49-F238E27FC236}">
                    <a16:creationId xmlns:a16="http://schemas.microsoft.com/office/drawing/2014/main" id="{8928C658-DD3D-5829-7B0B-BB4EEE05611E}"/>
                  </a:ext>
                </a:extLst>
              </p:cNvPr>
              <p:cNvSpPr txBox="1">
                <a:spLocks noRot="1" noChangeAspect="1" noMove="1" noResize="1" noEditPoints="1" noAdjustHandles="1" noChangeArrowheads="1" noChangeShapeType="1" noTextEdit="1"/>
              </p:cNvSpPr>
              <p:nvPr/>
            </p:nvSpPr>
            <p:spPr>
              <a:xfrm>
                <a:off x="397164" y="1782619"/>
                <a:ext cx="2844799" cy="1221040"/>
              </a:xfrm>
              <a:prstGeom prst="rect">
                <a:avLst/>
              </a:prstGeom>
              <a:blipFill>
                <a:blip r:embed="rId3"/>
                <a:stretch>
                  <a:fillRect l="-1713" t="-1990" b="-6965"/>
                </a:stretch>
              </a:blipFill>
              <a:effectLst>
                <a:softEdge rad="63500"/>
              </a:effectLst>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5290F0B2-393D-DD53-1CD4-7CA6F6399B9E}"/>
                  </a:ext>
                </a:extLst>
              </p:cNvPr>
              <p:cNvSpPr txBox="1"/>
              <p:nvPr/>
            </p:nvSpPr>
            <p:spPr>
              <a:xfrm>
                <a:off x="7827817" y="914075"/>
                <a:ext cx="3431309" cy="1775038"/>
              </a:xfrm>
              <a:prstGeom prst="rect">
                <a:avLst/>
              </a:prstGeom>
              <a:solidFill>
                <a:schemeClr val="bg1">
                  <a:alpha val="80000"/>
                </a:schemeClr>
              </a:solidFill>
              <a:effectLst>
                <a:softEdge rad="63500"/>
              </a:effectLst>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err="1">
                    <a:ln>
                      <a:noFill/>
                    </a:ln>
                    <a:solidFill>
                      <a:prstClr val="black"/>
                    </a:solidFill>
                    <a:effectLst/>
                    <a:uLnTx/>
                    <a:uFillTx/>
                    <a:latin typeface="Aptos" panose="02110004020202020204"/>
                    <a:ea typeface="+mn-ea"/>
                    <a:cs typeface="+mn-cs"/>
                  </a:rPr>
                  <a:t>PostDoc</a:t>
                </a:r>
                <a:r>
                  <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rPr>
                  <a:t> at DESY (2018-2021)</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14:m>
                  <m:oMath xmlns:m="http://schemas.openxmlformats.org/officeDocument/2006/math">
                    <m:sSubSup>
                      <m:sSubSupPr>
                        <m:ctrlPr>
                          <a:rPr kumimoji="0" lang="en-GB" sz="18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bSupPr>
                      <m:e>
                        <m:r>
                          <a:rPr kumimoji="0" lang="en-US" sz="18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𝐸</m:t>
                        </m:r>
                      </m:e>
                      <m:sub>
                        <m:r>
                          <m:rPr>
                            <m:sty m:val="p"/>
                          </m:rPr>
                          <a:rPr kumimoji="0" lang="en-US" sz="1800" b="0" i="0"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T</m:t>
                        </m:r>
                      </m:sub>
                      <m:sup>
                        <m:r>
                          <m:rPr>
                            <m:sty m:val="p"/>
                          </m:rPr>
                          <a:rPr kumimoji="0" lang="en-US" sz="1800" b="0" i="0"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miss</m:t>
                        </m:r>
                      </m:sup>
                    </m:sSubSup>
                  </m:oMath>
                </a14:m>
                <a:r>
                  <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rPr>
                  <a:t> trigger coordinato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rPr>
                  <a:t>Constructed and developed electrical tape testing robot for ATLAS upgrad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rPr>
                  <a:t>2 Higgs + Dark Matter search</a:t>
                </a:r>
              </a:p>
            </p:txBody>
          </p:sp>
        </mc:Choice>
        <mc:Fallback xmlns="">
          <p:sp>
            <p:nvSpPr>
              <p:cNvPr id="7" name="TextBox 6">
                <a:extLst>
                  <a:ext uri="{FF2B5EF4-FFF2-40B4-BE49-F238E27FC236}">
                    <a16:creationId xmlns:a16="http://schemas.microsoft.com/office/drawing/2014/main" id="{5290F0B2-393D-DD53-1CD4-7CA6F6399B9E}"/>
                  </a:ext>
                </a:extLst>
              </p:cNvPr>
              <p:cNvSpPr txBox="1">
                <a:spLocks noRot="1" noChangeAspect="1" noMove="1" noResize="1" noEditPoints="1" noAdjustHandles="1" noChangeArrowheads="1" noChangeShapeType="1" noTextEdit="1"/>
              </p:cNvSpPr>
              <p:nvPr/>
            </p:nvSpPr>
            <p:spPr>
              <a:xfrm>
                <a:off x="7827817" y="914075"/>
                <a:ext cx="3431309" cy="1775038"/>
              </a:xfrm>
              <a:prstGeom prst="rect">
                <a:avLst/>
              </a:prstGeom>
              <a:blipFill>
                <a:blip r:embed="rId4"/>
                <a:stretch>
                  <a:fillRect l="-1421" t="-1718" b="-4811"/>
                </a:stretch>
              </a:blipFill>
              <a:effectLst>
                <a:softEdge rad="63500"/>
              </a:effectLst>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8" name="TextBox 7">
                <a:extLst>
                  <a:ext uri="{FF2B5EF4-FFF2-40B4-BE49-F238E27FC236}">
                    <a16:creationId xmlns:a16="http://schemas.microsoft.com/office/drawing/2014/main" id="{6DCA6057-3511-DE29-EE69-F54C912D1D0C}"/>
                  </a:ext>
                </a:extLst>
              </p:cNvPr>
              <p:cNvSpPr txBox="1"/>
              <p:nvPr/>
            </p:nvSpPr>
            <p:spPr>
              <a:xfrm>
                <a:off x="3906982" y="69451"/>
                <a:ext cx="3666836" cy="1498039"/>
              </a:xfrm>
              <a:prstGeom prst="rect">
                <a:avLst/>
              </a:prstGeom>
              <a:solidFill>
                <a:schemeClr val="bg1">
                  <a:alpha val="80000"/>
                </a:schemeClr>
              </a:solidFill>
              <a:effectLst>
                <a:softEdge rad="63500"/>
              </a:effectLst>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err="1">
                    <a:ln>
                      <a:noFill/>
                    </a:ln>
                    <a:solidFill>
                      <a:prstClr val="black"/>
                    </a:solidFill>
                    <a:effectLst/>
                    <a:uLnTx/>
                    <a:uFillTx/>
                    <a:latin typeface="Aptos" panose="02110004020202020204"/>
                    <a:ea typeface="+mn-ea"/>
                    <a:cs typeface="+mn-cs"/>
                  </a:rPr>
                  <a:t>PostDoc</a:t>
                </a:r>
                <a:r>
                  <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rPr>
                  <a:t> at Cambridge (2021-2023)</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14:m>
                  <m:oMath xmlns:m="http://schemas.openxmlformats.org/officeDocument/2006/math">
                    <m:sSubSup>
                      <m:sSubSupPr>
                        <m:ctrlPr>
                          <a:rPr kumimoji="0" lang="en-GB" sz="18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bSupPr>
                      <m:e>
                        <m:r>
                          <a:rPr kumimoji="0" lang="en-US" sz="18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𝐸</m:t>
                        </m:r>
                      </m:e>
                      <m:sub>
                        <m:r>
                          <m:rPr>
                            <m:sty m:val="p"/>
                          </m:rPr>
                          <a:rPr kumimoji="0" lang="en-US" sz="1800" b="0" i="0"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T</m:t>
                        </m:r>
                      </m:sub>
                      <m:sup>
                        <m:r>
                          <m:rPr>
                            <m:sty m:val="p"/>
                          </m:rPr>
                          <a:rPr kumimoji="0" lang="en-US" sz="1800" b="0" i="0"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miss</m:t>
                        </m:r>
                      </m:sup>
                    </m:sSubSup>
                  </m:oMath>
                </a14:m>
                <a:r>
                  <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rPr>
                  <a:t> trigger coordinato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rPr>
                  <a:t>ANUBIS feasibility studi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err="1">
                    <a:ln>
                      <a:noFill/>
                    </a:ln>
                    <a:solidFill>
                      <a:prstClr val="black"/>
                    </a:solidFill>
                    <a:effectLst/>
                    <a:uLnTx/>
                    <a:uFillTx/>
                    <a:latin typeface="Aptos" panose="02110004020202020204"/>
                    <a:ea typeface="+mn-ea"/>
                    <a:cs typeface="+mn-cs"/>
                  </a:rPr>
                  <a:t>ProANUBIS</a:t>
                </a:r>
                <a:r>
                  <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rPr>
                  <a:t> detector construction and DAQ software</a:t>
                </a:r>
              </a:p>
            </p:txBody>
          </p:sp>
        </mc:Choice>
        <mc:Fallback xmlns="">
          <p:sp>
            <p:nvSpPr>
              <p:cNvPr id="8" name="TextBox 7">
                <a:extLst>
                  <a:ext uri="{FF2B5EF4-FFF2-40B4-BE49-F238E27FC236}">
                    <a16:creationId xmlns:a16="http://schemas.microsoft.com/office/drawing/2014/main" id="{6DCA6057-3511-DE29-EE69-F54C912D1D0C}"/>
                  </a:ext>
                </a:extLst>
              </p:cNvPr>
              <p:cNvSpPr txBox="1">
                <a:spLocks noRot="1" noChangeAspect="1" noMove="1" noResize="1" noEditPoints="1" noAdjustHandles="1" noChangeArrowheads="1" noChangeShapeType="1" noTextEdit="1"/>
              </p:cNvSpPr>
              <p:nvPr/>
            </p:nvSpPr>
            <p:spPr>
              <a:xfrm>
                <a:off x="3906982" y="69451"/>
                <a:ext cx="3666836" cy="1498039"/>
              </a:xfrm>
              <a:prstGeom prst="rect">
                <a:avLst/>
              </a:prstGeom>
              <a:blipFill>
                <a:blip r:embed="rId5"/>
                <a:stretch>
                  <a:fillRect l="-1498" t="-1626" r="-499" b="-5691"/>
                </a:stretch>
              </a:blipFill>
              <a:effectLst>
                <a:softEdge rad="63500"/>
              </a:effectLst>
            </p:spPr>
            <p:txBody>
              <a:bodyPr/>
              <a:lstStyle/>
              <a:p>
                <a:r>
                  <a:rPr lang="en-GB">
                    <a:noFill/>
                  </a:rPr>
                  <a:t> </a:t>
                </a:r>
              </a:p>
            </p:txBody>
          </p:sp>
        </mc:Fallback>
      </mc:AlternateContent>
      <p:pic>
        <p:nvPicPr>
          <p:cNvPr id="3" name="Picture 2">
            <a:extLst>
              <a:ext uri="{FF2B5EF4-FFF2-40B4-BE49-F238E27FC236}">
                <a16:creationId xmlns:a16="http://schemas.microsoft.com/office/drawing/2014/main" id="{74CB53A1-BBEE-116D-9E6A-DE3637F684A1}"/>
              </a:ext>
            </a:extLst>
          </p:cNvPr>
          <p:cNvPicPr>
            <a:picLocks noChangeAspect="1"/>
          </p:cNvPicPr>
          <p:nvPr/>
        </p:nvPicPr>
        <p:blipFill>
          <a:blip r:embed="rId6"/>
          <a:stretch>
            <a:fillRect/>
          </a:stretch>
        </p:blipFill>
        <p:spPr>
          <a:xfrm>
            <a:off x="3840294" y="2689113"/>
            <a:ext cx="5623746" cy="4150581"/>
          </a:xfrm>
          <a:prstGeom prst="rect">
            <a:avLst/>
          </a:prstGeom>
        </p:spPr>
      </p:pic>
    </p:spTree>
    <p:extLst>
      <p:ext uri="{BB962C8B-B14F-4D97-AF65-F5344CB8AC3E}">
        <p14:creationId xmlns:p14="http://schemas.microsoft.com/office/powerpoint/2010/main" val="319678989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zYMh2Rslo8IoDH79Mcl3F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lCaODsdagZZfgirzK99V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Aosnh2uyO6V.NDsnE803f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0AEMIkRqTuWwR45IxXpW9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EDfQJ6vBquFXr6Ml6iL2o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zYMh2Rslo8IoDH79Mcl3F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tgcodjFjYjeFTwd6eQPJ5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tgcodjFjYjeFTwd6eQPJ5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a:themeElements>
    <a:clrScheme name="Elmos 2020">
      <a:dk1>
        <a:srgbClr val="000000"/>
      </a:dk1>
      <a:lt1>
        <a:srgbClr val="FFFFFF"/>
      </a:lt1>
      <a:dk2>
        <a:srgbClr val="5F5F5F"/>
      </a:dk2>
      <a:lt2>
        <a:srgbClr val="E5E5E5"/>
      </a:lt2>
      <a:accent1>
        <a:srgbClr val="A9003D"/>
      </a:accent1>
      <a:accent2>
        <a:srgbClr val="8DABBB"/>
      </a:accent2>
      <a:accent3>
        <a:srgbClr val="152D43"/>
      </a:accent3>
      <a:accent4>
        <a:srgbClr val="AFC4D6"/>
      </a:accent4>
      <a:accent5>
        <a:srgbClr val="497094"/>
      </a:accent5>
      <a:accent6>
        <a:srgbClr val="DDE6EE"/>
      </a:accent6>
      <a:hlink>
        <a:srgbClr val="BECFDE"/>
      </a:hlink>
      <a:folHlink>
        <a:srgbClr val="90ADC7"/>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lmos Presentation Layout 2021.pptx" id="{B12AF199-BA92-4A6C-82E4-A2A959E18D96}" vid="{507AD0B0-5314-41F0-9AA1-A41301D602C8}"/>
    </a:ext>
  </a:ext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4.xml><?xml version="1.0" encoding="utf-8"?>
<a:theme xmlns:a="http://schemas.openxmlformats.org/drawingml/2006/main" name="Multiverse">
  <a:themeElements>
    <a:clrScheme name="Multiverse">
      <a:dk1>
        <a:srgbClr val="000000"/>
      </a:dk1>
      <a:lt1>
        <a:srgbClr val="FFFFFF"/>
      </a:lt1>
      <a:dk2>
        <a:srgbClr val="495FF7"/>
      </a:dk2>
      <a:lt2>
        <a:srgbClr val="F8F7F3"/>
      </a:lt2>
      <a:accent1>
        <a:srgbClr val="E6E8FE"/>
      </a:accent1>
      <a:accent2>
        <a:srgbClr val="DDFC9D"/>
      </a:accent2>
      <a:accent3>
        <a:srgbClr val="555553"/>
      </a:accent3>
      <a:accent4>
        <a:srgbClr val="FCD69D"/>
      </a:accent4>
      <a:accent5>
        <a:srgbClr val="2B326D"/>
      </a:accent5>
      <a:accent6>
        <a:srgbClr val="FBB348"/>
      </a:accent6>
      <a:hlink>
        <a:srgbClr val="8323FF"/>
      </a:hlink>
      <a:folHlink>
        <a:srgbClr val="8189BF"/>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Facet">
  <a:themeElements>
    <a:clrScheme name="Facet">
      <a:dk1>
        <a:sysClr val="windowText" lastClr="000000"/>
      </a:dk1>
      <a:lt1>
        <a:sysClr val="window" lastClr="FFFFFF"/>
      </a:lt1>
      <a:dk2>
        <a:srgbClr val="2C3C43"/>
      </a:dk2>
      <a:lt2>
        <a:srgbClr val="EBEBEB"/>
      </a:lt2>
      <a:accent1>
        <a:srgbClr val="90C226"/>
      </a:accent1>
      <a:accent2>
        <a:srgbClr val="54A021"/>
      </a:accent2>
      <a:accent3>
        <a:srgbClr val="E6B91E"/>
      </a:accent3>
      <a:accent4>
        <a:srgbClr val="E76618"/>
      </a:accent4>
      <a:accent5>
        <a:srgbClr val="C42F1A"/>
      </a:accent5>
      <a:accent6>
        <a:srgbClr val="918655"/>
      </a:accent6>
      <a:hlink>
        <a:srgbClr val="99CA3C"/>
      </a:hlink>
      <a:folHlink>
        <a:srgbClr val="B9D181"/>
      </a:folHlink>
    </a:clrScheme>
    <a:fontScheme name="Facet">
      <a:majorFont>
        <a:latin typeface="Trebuchet MS" panose="020B0603020202020204"/>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cet">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CFBC31BA-B70F-4F30-BCAA-4F3011E16C4D}"/>
    </a:ext>
  </a:extLst>
</a:theme>
</file>

<file path=ppt/theme/theme6.xml><?xml version="1.0" encoding="utf-8"?>
<a:theme xmlns:a="http://schemas.openxmlformats.org/drawingml/2006/main" name="Simple Light">
  <a:themeElements>
    <a:clrScheme name="Simple Light">
      <a:dk1>
        <a:srgbClr val="1F1F1F"/>
      </a:dk1>
      <a:lt1>
        <a:srgbClr val="FFFFFF"/>
      </a:lt1>
      <a:dk2>
        <a:srgbClr val="4E4E4E"/>
      </a:dk2>
      <a:lt2>
        <a:srgbClr val="DEE2FF"/>
      </a:lt2>
      <a:accent1>
        <a:srgbClr val="303052"/>
      </a:accent1>
      <a:accent2>
        <a:srgbClr val="3867FF"/>
      </a:accent2>
      <a:accent3>
        <a:srgbClr val="A580FF"/>
      </a:accent3>
      <a:accent4>
        <a:srgbClr val="FFAB40"/>
      </a:accent4>
      <a:accent5>
        <a:srgbClr val="FF7800"/>
      </a:accent5>
      <a:accent6>
        <a:srgbClr val="90929C"/>
      </a:accent6>
      <a:hlink>
        <a:srgbClr val="3867FF"/>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emplate/>
  <TotalTime>31</TotalTime>
  <Words>1755</Words>
  <Application>Microsoft Office PowerPoint</Application>
  <PresentationFormat>Widescreen</PresentationFormat>
  <Paragraphs>251</Paragraphs>
  <Slides>26</Slides>
  <Notes>13</Notes>
  <HiddenSlides>0</HiddenSlides>
  <MMClips>0</MMClips>
  <ScaleCrop>false</ScaleCrop>
  <HeadingPairs>
    <vt:vector size="8" baseType="variant">
      <vt:variant>
        <vt:lpstr>Fonts Used</vt:lpstr>
      </vt:variant>
      <vt:variant>
        <vt:i4>16</vt:i4>
      </vt:variant>
      <vt:variant>
        <vt:lpstr>Theme</vt:lpstr>
      </vt:variant>
      <vt:variant>
        <vt:i4>7</vt:i4>
      </vt:variant>
      <vt:variant>
        <vt:lpstr>Embedded OLE Servers</vt:lpstr>
      </vt:variant>
      <vt:variant>
        <vt:i4>1</vt:i4>
      </vt:variant>
      <vt:variant>
        <vt:lpstr>Slide Titles</vt:lpstr>
      </vt:variant>
      <vt:variant>
        <vt:i4>26</vt:i4>
      </vt:variant>
    </vt:vector>
  </HeadingPairs>
  <TitlesOfParts>
    <vt:vector size="50" baseType="lpstr">
      <vt:lpstr>Aptos</vt:lpstr>
      <vt:lpstr>Aptos Display</vt:lpstr>
      <vt:lpstr>Arial</vt:lpstr>
      <vt:lpstr>Calibri</vt:lpstr>
      <vt:lpstr>Calibri Light</vt:lpstr>
      <vt:lpstr>Cambria Math</vt:lpstr>
      <vt:lpstr>Courier New</vt:lpstr>
      <vt:lpstr>GDS Transport</vt:lpstr>
      <vt:lpstr>Inter</vt:lpstr>
      <vt:lpstr>Inter Medium</vt:lpstr>
      <vt:lpstr>Inter Tight</vt:lpstr>
      <vt:lpstr>Inter Tight SemiBold</vt:lpstr>
      <vt:lpstr>Symbol</vt:lpstr>
      <vt:lpstr>Trebuchet MS</vt:lpstr>
      <vt:lpstr>Wingdings</vt:lpstr>
      <vt:lpstr>Wingdings 3</vt:lpstr>
      <vt:lpstr>Office Theme</vt:lpstr>
      <vt:lpstr>Office</vt:lpstr>
      <vt:lpstr>1_Office Theme</vt:lpstr>
      <vt:lpstr>Multiverse</vt:lpstr>
      <vt:lpstr>Facet</vt:lpstr>
      <vt:lpstr>Simple Light</vt:lpstr>
      <vt:lpstr>2_Office Theme</vt:lpstr>
      <vt:lpstr>think-cell Folie</vt:lpstr>
      <vt:lpstr>Industry Panellist Introductions</vt:lpstr>
      <vt:lpstr>Karola Bejm</vt:lpstr>
      <vt:lpstr>Work opportunities for scientists in industry</vt:lpstr>
      <vt:lpstr>About me</vt:lpstr>
      <vt:lpstr>Project Management is more than planning…</vt:lpstr>
      <vt:lpstr>Jon Burr</vt:lpstr>
      <vt:lpstr>PowerPoint Presentation</vt:lpstr>
      <vt:lpstr>PowerPoint Presentation</vt:lpstr>
      <vt:lpstr>PowerPoint Presentation</vt:lpstr>
      <vt:lpstr>PowerPoint Presentation</vt:lpstr>
      <vt:lpstr>Alix Fell</vt:lpstr>
      <vt:lpstr>PowerPoint Presentation</vt:lpstr>
      <vt:lpstr>My Journey </vt:lpstr>
      <vt:lpstr>James Grundy</vt:lpstr>
      <vt:lpstr>PowerPoint Presentation</vt:lpstr>
      <vt:lpstr>PowerPoint Presentation</vt:lpstr>
      <vt:lpstr>Martha Hilton</vt:lpstr>
      <vt:lpstr>My path through academia</vt:lpstr>
      <vt:lpstr>My career in the public sector</vt:lpstr>
      <vt:lpstr>Mike Nels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Holly Pacey</dc:creator>
  <cp:lastModifiedBy>Holly Pacey</cp:lastModifiedBy>
  <cp:revision>2</cp:revision>
  <dcterms:created xsi:type="dcterms:W3CDTF">2024-06-23T20:45:32Z</dcterms:created>
  <dcterms:modified xsi:type="dcterms:W3CDTF">2024-06-23T21:17:06Z</dcterms:modified>
</cp:coreProperties>
</file>